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2.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notesSlides/notesSlide1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0.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447" r:id="rId4"/>
    <p:sldMasterId id="2147485841" r:id="rId5"/>
    <p:sldMasterId id="2147485892" r:id="rId6"/>
  </p:sldMasterIdLst>
  <p:notesMasterIdLst>
    <p:notesMasterId r:id="rId97"/>
  </p:notesMasterIdLst>
  <p:handoutMasterIdLst>
    <p:handoutMasterId r:id="rId98"/>
  </p:handoutMasterIdLst>
  <p:sldIdLst>
    <p:sldId id="2147482456" r:id="rId7"/>
    <p:sldId id="2147482451" r:id="rId8"/>
    <p:sldId id="283" r:id="rId9"/>
    <p:sldId id="2147482463" r:id="rId10"/>
    <p:sldId id="2147482466" r:id="rId11"/>
    <p:sldId id="2147482464" r:id="rId12"/>
    <p:sldId id="2147483621" r:id="rId13"/>
    <p:sldId id="2147483622" r:id="rId14"/>
    <p:sldId id="2147483629" r:id="rId15"/>
    <p:sldId id="2147483625" r:id="rId16"/>
    <p:sldId id="2147483626" r:id="rId17"/>
    <p:sldId id="2147483627" r:id="rId18"/>
    <p:sldId id="276" r:id="rId19"/>
    <p:sldId id="278" r:id="rId20"/>
    <p:sldId id="2147479608" r:id="rId21"/>
    <p:sldId id="2147479647" r:id="rId22"/>
    <p:sldId id="2147479648" r:id="rId23"/>
    <p:sldId id="2147479649" r:id="rId24"/>
    <p:sldId id="2147479651" r:id="rId25"/>
    <p:sldId id="2147479652" r:id="rId26"/>
    <p:sldId id="2147479609" r:id="rId27"/>
    <p:sldId id="2147479611" r:id="rId28"/>
    <p:sldId id="2147479635" r:id="rId29"/>
    <p:sldId id="2147483646" r:id="rId30"/>
    <p:sldId id="2147483647" r:id="rId31"/>
    <p:sldId id="290" r:id="rId32"/>
    <p:sldId id="291" r:id="rId33"/>
    <p:sldId id="297" r:id="rId34"/>
    <p:sldId id="256" r:id="rId35"/>
    <p:sldId id="309" r:id="rId36"/>
    <p:sldId id="2147483630" r:id="rId37"/>
    <p:sldId id="2147482458" r:id="rId38"/>
    <p:sldId id="300" r:id="rId39"/>
    <p:sldId id="2147483631" r:id="rId40"/>
    <p:sldId id="2147483619" r:id="rId41"/>
    <p:sldId id="302" r:id="rId42"/>
    <p:sldId id="2147483618" r:id="rId43"/>
    <p:sldId id="298" r:id="rId44"/>
    <p:sldId id="299" r:id="rId45"/>
    <p:sldId id="306" r:id="rId46"/>
    <p:sldId id="305" r:id="rId47"/>
    <p:sldId id="285" r:id="rId48"/>
    <p:sldId id="279" r:id="rId49"/>
    <p:sldId id="2147483640" r:id="rId50"/>
    <p:sldId id="287" r:id="rId51"/>
    <p:sldId id="2147483644" r:id="rId52"/>
    <p:sldId id="292" r:id="rId53"/>
    <p:sldId id="2147483635" r:id="rId54"/>
    <p:sldId id="2147483636" r:id="rId55"/>
    <p:sldId id="2147483637" r:id="rId56"/>
    <p:sldId id="2147483638" r:id="rId57"/>
    <p:sldId id="260" r:id="rId58"/>
    <p:sldId id="280" r:id="rId59"/>
    <p:sldId id="308" r:id="rId60"/>
    <p:sldId id="301" r:id="rId61"/>
    <p:sldId id="2147483642" r:id="rId62"/>
    <p:sldId id="2147483634" r:id="rId63"/>
    <p:sldId id="2147483645" r:id="rId64"/>
    <p:sldId id="258" r:id="rId65"/>
    <p:sldId id="2147482478" r:id="rId66"/>
    <p:sldId id="257" r:id="rId67"/>
    <p:sldId id="261" r:id="rId68"/>
    <p:sldId id="262" r:id="rId69"/>
    <p:sldId id="264" r:id="rId70"/>
    <p:sldId id="281" r:id="rId71"/>
    <p:sldId id="265" r:id="rId72"/>
    <p:sldId id="286" r:id="rId73"/>
    <p:sldId id="307" r:id="rId74"/>
    <p:sldId id="2147482479" r:id="rId75"/>
    <p:sldId id="263" r:id="rId76"/>
    <p:sldId id="259" r:id="rId77"/>
    <p:sldId id="270" r:id="rId78"/>
    <p:sldId id="304" r:id="rId79"/>
    <p:sldId id="288" r:id="rId80"/>
    <p:sldId id="269" r:id="rId81"/>
    <p:sldId id="271" r:id="rId82"/>
    <p:sldId id="272" r:id="rId83"/>
    <p:sldId id="289" r:id="rId84"/>
    <p:sldId id="266" r:id="rId85"/>
    <p:sldId id="273" r:id="rId86"/>
    <p:sldId id="274" r:id="rId87"/>
    <p:sldId id="277" r:id="rId88"/>
    <p:sldId id="268" r:id="rId89"/>
    <p:sldId id="267" r:id="rId90"/>
    <p:sldId id="2147482472" r:id="rId91"/>
    <p:sldId id="2147482459" r:id="rId92"/>
    <p:sldId id="282" r:id="rId93"/>
    <p:sldId id="2147482462" r:id="rId94"/>
    <p:sldId id="2147482471" r:id="rId95"/>
    <p:sldId id="2147482470" r:id="rId96"/>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Diapositives de MW Customer Hub" id="{0CB07BD8-A729-44C3-AF36-735DAE1433D6}">
          <p14:sldIdLst>
            <p14:sldId id="2147482456"/>
            <p14:sldId id="2147482451"/>
            <p14:sldId id="283"/>
            <p14:sldId id="2147482463"/>
            <p14:sldId id="2147482466"/>
            <p14:sldId id="2147482464"/>
            <p14:sldId id="2147483621"/>
            <p14:sldId id="2147483622"/>
            <p14:sldId id="2147483629"/>
            <p14:sldId id="2147483625"/>
            <p14:sldId id="2147483626"/>
            <p14:sldId id="2147483627"/>
            <p14:sldId id="276"/>
            <p14:sldId id="278"/>
            <p14:sldId id="2147479608"/>
            <p14:sldId id="2147479647"/>
            <p14:sldId id="2147479648"/>
            <p14:sldId id="2147479649"/>
            <p14:sldId id="2147479651"/>
            <p14:sldId id="2147479652"/>
            <p14:sldId id="2147479609"/>
            <p14:sldId id="2147479611"/>
            <p14:sldId id="2147479635"/>
            <p14:sldId id="2147483646"/>
            <p14:sldId id="2147483647"/>
            <p14:sldId id="290"/>
            <p14:sldId id="291"/>
            <p14:sldId id="297"/>
            <p14:sldId id="256"/>
            <p14:sldId id="309"/>
            <p14:sldId id="2147483630"/>
            <p14:sldId id="2147482458"/>
            <p14:sldId id="300"/>
            <p14:sldId id="2147483631"/>
            <p14:sldId id="2147483619"/>
            <p14:sldId id="302"/>
            <p14:sldId id="2147483618"/>
            <p14:sldId id="298"/>
            <p14:sldId id="299"/>
            <p14:sldId id="306"/>
            <p14:sldId id="305"/>
            <p14:sldId id="285"/>
            <p14:sldId id="279"/>
            <p14:sldId id="2147483640"/>
            <p14:sldId id="287"/>
            <p14:sldId id="2147483644"/>
            <p14:sldId id="292"/>
            <p14:sldId id="2147483635"/>
            <p14:sldId id="2147483636"/>
            <p14:sldId id="2147483637"/>
            <p14:sldId id="2147483638"/>
            <p14:sldId id="260"/>
            <p14:sldId id="280"/>
            <p14:sldId id="308"/>
            <p14:sldId id="301"/>
            <p14:sldId id="2147483642"/>
            <p14:sldId id="2147483634"/>
            <p14:sldId id="2147483645"/>
            <p14:sldId id="258"/>
            <p14:sldId id="2147482478"/>
            <p14:sldId id="257"/>
            <p14:sldId id="261"/>
            <p14:sldId id="262"/>
            <p14:sldId id="264"/>
            <p14:sldId id="281"/>
            <p14:sldId id="265"/>
            <p14:sldId id="286"/>
            <p14:sldId id="307"/>
            <p14:sldId id="2147482479"/>
            <p14:sldId id="263"/>
            <p14:sldId id="259"/>
            <p14:sldId id="270"/>
            <p14:sldId id="304"/>
            <p14:sldId id="288"/>
            <p14:sldId id="269"/>
            <p14:sldId id="271"/>
            <p14:sldId id="272"/>
            <p14:sldId id="289"/>
            <p14:sldId id="266"/>
            <p14:sldId id="273"/>
            <p14:sldId id="274"/>
            <p14:sldId id="277"/>
            <p14:sldId id="268"/>
            <p14:sldId id="267"/>
            <p14:sldId id="2147482472"/>
            <p14:sldId id="2147482459"/>
            <p14:sldId id="282"/>
            <p14:sldId id="2147482462"/>
            <p14:sldId id="2147482471"/>
            <p14:sldId id="2147482470"/>
          </p14:sldIdLst>
        </p14:section>
      </p14:sectionLst>
    </p:ext>
    <p:ext uri="{EFAFB233-063F-42B5-8137-9DF3F51BA10A}">
      <p15:sldGuideLst xmlns:p15="http://schemas.microsoft.com/office/powerpoint/2012/main">
        <p15:guide id="1" orient="horz" pos="528" userDrawn="1">
          <p15:clr>
            <a:srgbClr val="A4A3A4"/>
          </p15:clr>
        </p15:guide>
        <p15:guide id="2" orient="horz" pos="960" userDrawn="1">
          <p15:clr>
            <a:srgbClr val="A4A3A4"/>
          </p15:clr>
        </p15:guide>
        <p15:guide id="3" pos="5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03C9203-E7AA-6A1A-6AB9-9D4395238D91}" name="Tobias Heim" initials="TH" userId="S::toheim@microsoft.com::e706bc59-35ab-44e1-8133-88b83e8aa14d" providerId="AD"/>
  <p188:author id="{6CD43406-CA54-AAFE-918E-DE5E08F80856}" name="Iman Boukly" initials="IB" userId="S::imanbo@microsoft.com::ae6a6284-fb04-4a2f-a0e2-33102a430e92" providerId="AD"/>
  <p188:author id="{68F95D0D-0218-923E-ABAD-EC4D73DDC450}" name="Scott Adams" initials="SA" userId="S::scadam@microsoft.com::2e0bb53a-50f4-4ef4-b3ed-4327e607901e" providerId="AD"/>
  <p188:author id="{5F0FAD1C-6E7B-E47A-4E30-B07C3CBE20EF}" name="Shreesh babu Thassu Srinivasan" initials="ST" userId="S::shreeshbabut@microsoft.com::e29862a3-c20f-4cc5-a7c7-c42f68ae3bb1" providerId="AD"/>
  <p188:author id="{0531392E-A5DF-BBF0-70C7-610272F7DC87}" name="Jyoti Rathod" initials="JR" userId="S::jyrathod@microsoft.com::9b91ecaf-5f8a-4a12-a9c9-51a52c265f69" providerId="AD"/>
  <p188:author id="{5E98544A-6BB2-702B-1814-44F3D6513A6B}" name="Raghav BN" initials="RB" userId="S::rananjai@microsoft.com::00416034-07a8-4594-b796-523d61f57b17" providerId="AD"/>
  <p188:author id="{C67D584A-1E98-17F3-56EA-AD4D026AF9D9}" name="Ken Young" initials="KY" userId="S::kenyoun@microsoft.com::581544e3-f76f-46f0-b74d-165a39e56b95" providerId="AD"/>
  <p188:author id="{22E50E6F-EAA7-12AE-CA17-D9B6D1923892}" name="Pamela Martinez" initials="PM" userId="S::pamarti@microsoft.com::b39a542b-fbf5-4fb1-9883-c294c7e3214e" providerId="AD"/>
  <p188:author id="{E45D227C-DD9A-9FCD-CD34-CD50625CD106}" name="Tavo Adame (SIMPLICITY CONSULTING INC)" initials="TA" userId="S::v-tadame@microsoft.com::bfcf9539-9748-450c-a5e5-cd9a8efcfa1a" providerId="AD"/>
  <p188:author id="{EB743598-6934-A9A6-5B2F-292910E40ACC}" name="Pete Puustinen" initials="PP" userId="S::petrip@microsoft.com::afdc5376-b007-4d8e-9c19-07b3fbb81413" providerId="AD"/>
  <p188:author id="{F2709498-A04C-E0B7-6180-202D121EF24A}" name="Mike Bennett" initials="MB" userId="S::mibennet@microsoft.com::5407ebdc-0b12-45bd-bd0c-572d036e4581" providerId="AD"/>
  <p188:author id="{029BBA9C-7C8E-D4FC-419B-D07A082BA1CE}" name="Tina Ying" initials="TY" userId="S::juying@microsoft.com::1da9fe39-9117-4426-a723-84e692e91d64" providerId="AD"/>
  <p188:author id="{55AF939D-306C-F0E7-56D3-E15986F88A63}" name="Elisabeth Laschon" initials="EL" userId="S::elilas@microsoft.com::0b6c7030-3f53-41a5-849b-86871f2417fe" providerId="AD"/>
  <p188:author id="{EBA9DF9D-87EA-6B39-A87B-CB1B65BF9312}" name="Lori Mahoney (SIMPLICITY CONSULTING INC)" initials="LI" userId="S::v-lmahoney@microsoft.com::90d51f6a-163f-4992-b484-af052976e220" providerId="AD"/>
  <p188:author id="{4ACC95A1-35E7-199E-C8D8-A60F70482912}" name="Tierney Cunningham" initials="TC" userId="S::ticunnin@microsoft.com::62f4f650-5c68-4535-8517-3a3a0205aaef" providerId="AD"/>
  <p188:author id="{9DAEABB8-2A5D-94F8-4A96-A46AC652DE54}" name="Brett Johnson (GBB)" initials="B(" userId="S::brettjo@microsoft.com::ad51252c-820d-4333-9a8a-f9ef3b7ff2e6" providerId="AD"/>
  <p188:author id="{9388AAB9-85FC-659B-1DC5-4555A91B93FA}" name="Jim Wray" initials="JW" userId="S::jameswray@microsoft.com::88760589-64c9-4b2e-8a57-c692178d77d5" providerId="AD"/>
  <p188:author id="{4A7A3BD1-DD43-8DBB-6DEC-2ECC8760C411}" name="David Griffith" initials="DG" userId="S::davidg@silverfoxprod.com::d098c8ac-700f-46f0-bf84-2134bdb9d901" providerId="AD"/>
  <p188:author id="{6AFA61D8-796F-555E-A395-B33F90AAF99E}" name="Monica Lueder" initials="ML" userId="S::monical@microsoft.com::75969e72-ba9c-4e32-a4ac-c8f3aeff9ba2" providerId="AD"/>
  <p188:author id="{9CDA5DFB-7FFB-AD18-9126-D4FF6DE06BE8}" name="Luciano Fonzi" initials="LF" userId="S::lufonzi@microsoft.com::841076e1-bc82-47cc-a295-71d7657a6cc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E47"/>
    <a:srgbClr val="091F2C"/>
    <a:srgbClr val="3F3C3E"/>
    <a:srgbClr val="FEFEFF"/>
    <a:srgbClr val="E9F2F8"/>
    <a:srgbClr val="2A446F"/>
    <a:srgbClr val="94D8FE"/>
    <a:srgbClr val="C03BC4"/>
    <a:srgbClr val="FF5C39"/>
    <a:srgbClr val="FFE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6" d="100"/>
          <a:sy n="66" d="100"/>
        </p:scale>
        <p:origin x="31" y="518"/>
      </p:cViewPr>
      <p:guideLst>
        <p:guide orient="horz" pos="528"/>
        <p:guide orient="horz" pos="960"/>
        <p:guide pos="552"/>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theme" Target="theme/theme1.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103"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commentAuthors" Target="commentAuthors.xml"/><Relationship Id="rId10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notesMaster" Target="notesMasters/notesMaster1.xml"/><Relationship Id="rId104" Type="http://schemas.microsoft.com/office/2018/10/relationships/authors" Target="authors.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handoutMaster" Target="handoutMasters/handoutMaster1.xml"/><Relationship Id="rId3" Type="http://schemas.openxmlformats.org/officeDocument/2006/relationships/customXml" Target="../customXml/item3.xml"/></Relationships>
</file>

<file path=ppt/diagrams/_rels/data1.xml.rels><?xml version="1.0" encoding="UTF-8" standalone="yes"?>
<Relationships xmlns="http://schemas.openxmlformats.org/package/2006/relationships"><Relationship Id="rId8" Type="http://schemas.openxmlformats.org/officeDocument/2006/relationships/image" Target="../media/image215.svg"/><Relationship Id="rId3" Type="http://schemas.openxmlformats.org/officeDocument/2006/relationships/hyperlink" Target="https://www.microsoft.com/en-us/power-platform/blog/2025/07/21/agent-costs-controls/?msockid=0d6b521cf0d1644f346046eaf18f6547" TargetMode="External"/><Relationship Id="rId7" Type="http://schemas.openxmlformats.org/officeDocument/2006/relationships/image" Target="../media/image214.svg"/><Relationship Id="rId2" Type="http://schemas.openxmlformats.org/officeDocument/2006/relationships/hyperlink" Target="https://aka.ms/MSFTAgentGovCustZero" TargetMode="External"/><Relationship Id="rId1" Type="http://schemas.openxmlformats.org/officeDocument/2006/relationships/hyperlink" Target="https://www.microsoft.com/en-us/power-platform/blog/it-pro/confidently-adopt-and-administer-microsoft-copilot-studio-with-managed-security-and-governance/" TargetMode="External"/><Relationship Id="rId6" Type="http://schemas.openxmlformats.org/officeDocument/2006/relationships/image" Target="../media/image213.svg"/><Relationship Id="rId5" Type="http://schemas.openxmlformats.org/officeDocument/2006/relationships/hyperlink" Target="https://aka.ms/AgentCostManagement_Ebook" TargetMode="External"/><Relationship Id="rId10" Type="http://schemas.openxmlformats.org/officeDocument/2006/relationships/image" Target="../media/image217.svg"/><Relationship Id="rId4" Type="http://schemas.openxmlformats.org/officeDocument/2006/relationships/hyperlink" Target="https://aka.ms/AgentGovernanceAndSecurity" TargetMode="External"/><Relationship Id="rId9" Type="http://schemas.openxmlformats.org/officeDocument/2006/relationships/image" Target="../media/image216.svg"/></Relationships>
</file>

<file path=ppt/diagrams/_rels/drawing1.xml.rels><?xml version="1.0" encoding="UTF-8" standalone="yes"?>
<Relationships xmlns="http://schemas.openxmlformats.org/package/2006/relationships"><Relationship Id="rId8" Type="http://schemas.openxmlformats.org/officeDocument/2006/relationships/hyperlink" Target="https://www.microsoft.com/en-us/power-platform/blog/2025/07/21/agent-costs-controls/?msockid=0d6b521cf0d1644f346046eaf18f6547" TargetMode="External"/><Relationship Id="rId3" Type="http://schemas.openxmlformats.org/officeDocument/2006/relationships/image" Target="../media/image214.svg"/><Relationship Id="rId7" Type="http://schemas.openxmlformats.org/officeDocument/2006/relationships/image" Target="../media/image216.svg"/><Relationship Id="rId2" Type="http://schemas.openxmlformats.org/officeDocument/2006/relationships/hyperlink" Target="https://aka.ms/AgentGovernanceAndSecurity" TargetMode="External"/><Relationship Id="rId1" Type="http://schemas.openxmlformats.org/officeDocument/2006/relationships/image" Target="../media/image213.svg"/><Relationship Id="rId6" Type="http://schemas.openxmlformats.org/officeDocument/2006/relationships/hyperlink" Target="https://aka.ms/MSFTAgentGovCustZero" TargetMode="External"/><Relationship Id="rId5" Type="http://schemas.openxmlformats.org/officeDocument/2006/relationships/image" Target="../media/image215.svg"/><Relationship Id="rId10" Type="http://schemas.openxmlformats.org/officeDocument/2006/relationships/hyperlink" Target="https://aka.ms/AgentCostManagement_Ebook" TargetMode="External"/><Relationship Id="rId4" Type="http://schemas.openxmlformats.org/officeDocument/2006/relationships/hyperlink" Target="https://www.microsoft.com/en-us/power-platform/blog/it-pro/confidently-adopt-and-administer-microsoft-copilot-studio-with-managed-security-and-governance/" TargetMode="External"/><Relationship Id="rId9" Type="http://schemas.openxmlformats.org/officeDocument/2006/relationships/image" Target="../media/image217.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D5D36D2-33B3-439B-AEAE-9572A6507624}"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EC5269D1-358D-4D81-B28F-0AD6F55B1467}">
      <dgm:prSet/>
      <dgm:spPr/>
      <dgm:t>
        <a:bodyPr/>
        <a:lstStyle/>
        <a:p>
          <a:pPr>
            <a:lnSpc>
              <a:spcPct val="100000"/>
            </a:lnSpc>
          </a:pPr>
          <a:r>
            <a:rPr lang="fr-fr">
              <a:hlinkClick xmlns:r="http://schemas.openxmlformats.org/officeDocument/2006/relationships" r:id="rId1"/>
            </a:rPr>
            <a:t>Confidently adopt and administer Microsoft Copilot Studio with managed security and governance</a:t>
          </a:r>
          <a:endParaRPr lang="en-US"/>
        </a:p>
      </dgm:t>
    </dgm:pt>
    <dgm:pt modelId="{8ACDD7B8-ABBC-48D7-AB33-6579FAA75153}" type="parTrans" cxnId="{E2948123-37D4-4E59-874A-538F43A6942B}">
      <dgm:prSet/>
      <dgm:spPr/>
      <dgm:t>
        <a:bodyPr/>
        <a:lstStyle/>
        <a:p>
          <a:endParaRPr lang="en-US"/>
        </a:p>
      </dgm:t>
    </dgm:pt>
    <dgm:pt modelId="{F9D00B46-CA60-4152-86C0-E385B0FDE91C}" type="sibTrans" cxnId="{E2948123-37D4-4E59-874A-538F43A6942B}">
      <dgm:prSet/>
      <dgm:spPr/>
      <dgm:t>
        <a:bodyPr/>
        <a:lstStyle/>
        <a:p>
          <a:endParaRPr lang="en-US"/>
        </a:p>
      </dgm:t>
    </dgm:pt>
    <dgm:pt modelId="{E15E9A19-CD99-4165-A249-1D15DA5B9FCB}">
      <dgm:prSet/>
      <dgm:spPr/>
      <dgm:t>
        <a:bodyPr/>
        <a:lstStyle/>
        <a:p>
          <a:pPr>
            <a:lnSpc>
              <a:spcPct val="100000"/>
            </a:lnSpc>
          </a:pPr>
          <a:r>
            <a:rPr lang="fr-fr">
              <a:hlinkClick xmlns:r="http://schemas.openxmlformats.org/officeDocument/2006/relationships" r:id="rId2"/>
            </a:rPr>
            <a:t>Microsoft as Customer Zero: The Employee Self-Service Agent Roll Out</a:t>
          </a:r>
          <a:endParaRPr lang="en-US"/>
        </a:p>
      </dgm:t>
    </dgm:pt>
    <dgm:pt modelId="{5D718EBB-12C3-4E60-B25D-FF58344B0CC9}" type="parTrans" cxnId="{0CBE580F-C6B7-4A75-8378-E76129BC1E0A}">
      <dgm:prSet/>
      <dgm:spPr/>
      <dgm:t>
        <a:bodyPr/>
        <a:lstStyle/>
        <a:p>
          <a:endParaRPr lang="en-US"/>
        </a:p>
      </dgm:t>
    </dgm:pt>
    <dgm:pt modelId="{E1FF2E0F-81B9-4556-9FDA-E7327308C28F}" type="sibTrans" cxnId="{0CBE580F-C6B7-4A75-8378-E76129BC1E0A}">
      <dgm:prSet/>
      <dgm:spPr/>
      <dgm:t>
        <a:bodyPr/>
        <a:lstStyle/>
        <a:p>
          <a:endParaRPr lang="en-US"/>
        </a:p>
      </dgm:t>
    </dgm:pt>
    <dgm:pt modelId="{89BCF98B-2BC9-48D6-B676-D9250E2182CC}">
      <dgm:prSet/>
      <dgm:spPr/>
      <dgm:t>
        <a:bodyPr/>
        <a:lstStyle/>
        <a:p>
          <a:pPr>
            <a:lnSpc>
              <a:spcPct val="100000"/>
            </a:lnSpc>
          </a:pPr>
          <a:r>
            <a:rPr lang="fr-fr">
              <a:hlinkClick xmlns:r="http://schemas.openxmlformats.org/officeDocument/2006/relationships" r:id="rId3"/>
            </a:rPr>
            <a:t>Cost Control Blog : Take Control of Agent Costs</a:t>
          </a:r>
          <a:endParaRPr lang="en-US"/>
        </a:p>
      </dgm:t>
    </dgm:pt>
    <dgm:pt modelId="{FBDE80CE-35A3-4291-A6A7-425944FADB36}" type="parTrans" cxnId="{ACEE00C3-F161-406E-AD2A-B14A21E2113B}">
      <dgm:prSet/>
      <dgm:spPr/>
      <dgm:t>
        <a:bodyPr/>
        <a:lstStyle/>
        <a:p>
          <a:endParaRPr lang="en-US"/>
        </a:p>
      </dgm:t>
    </dgm:pt>
    <dgm:pt modelId="{D1AADC8C-7520-49BF-96A8-0D734F8F7C03}" type="sibTrans" cxnId="{ACEE00C3-F161-406E-AD2A-B14A21E2113B}">
      <dgm:prSet/>
      <dgm:spPr/>
      <dgm:t>
        <a:bodyPr/>
        <a:lstStyle/>
        <a:p>
          <a:endParaRPr lang="en-US"/>
        </a:p>
      </dgm:t>
    </dgm:pt>
    <dgm:pt modelId="{4C090860-3FC6-41ED-BCA8-F4936B4B6561}">
      <dgm:prSet/>
      <dgm:spPr/>
      <dgm:t>
        <a:bodyPr/>
        <a:lstStyle/>
        <a:p>
          <a:pPr>
            <a:lnSpc>
              <a:spcPct val="100000"/>
            </a:lnSpc>
          </a:pPr>
          <a:r>
            <a:rPr lang="fr-fr">
              <a:hlinkClick xmlns:r="http://schemas.openxmlformats.org/officeDocument/2006/relationships" r:id="rId4"/>
            </a:rPr>
            <a:t>Administering &amp; Governing Agents E-book</a:t>
          </a:r>
          <a:endParaRPr lang="en-US"/>
        </a:p>
      </dgm:t>
    </dgm:pt>
    <dgm:pt modelId="{A87AF075-F8B2-4AD2-B502-C2B3FA86BD72}" type="parTrans" cxnId="{B0198C4B-BB91-4B63-B142-26F50AB2C938}">
      <dgm:prSet/>
      <dgm:spPr/>
      <dgm:t>
        <a:bodyPr/>
        <a:lstStyle/>
        <a:p>
          <a:endParaRPr lang="en-US"/>
        </a:p>
      </dgm:t>
    </dgm:pt>
    <dgm:pt modelId="{D1DDB153-4A7B-48EE-B792-A2B94AFA654A}" type="sibTrans" cxnId="{B0198C4B-BB91-4B63-B142-26F50AB2C938}">
      <dgm:prSet/>
      <dgm:spPr/>
      <dgm:t>
        <a:bodyPr/>
        <a:lstStyle/>
        <a:p>
          <a:endParaRPr lang="en-US"/>
        </a:p>
      </dgm:t>
    </dgm:pt>
    <dgm:pt modelId="{6118C95E-DAF1-4A17-AE97-FA465BF65647}">
      <dgm:prSet/>
      <dgm:spPr/>
      <dgm:t>
        <a:bodyPr/>
        <a:lstStyle/>
        <a:p>
          <a:pPr>
            <a:lnSpc>
              <a:spcPct val="100000"/>
            </a:lnSpc>
          </a:pPr>
          <a:r>
            <a:rPr lang="fr-fr">
              <a:hlinkClick xmlns:r="http://schemas.openxmlformats.org/officeDocument/2006/relationships" r:id="rId5"/>
            </a:rPr>
            <a:t>Cost Control Ebook : Agent Cost Management</a:t>
          </a:r>
          <a:endParaRPr lang="en-US"/>
        </a:p>
      </dgm:t>
    </dgm:pt>
    <dgm:pt modelId="{885B6C3E-2900-49B3-99F5-5D2A751B91DD}" type="parTrans" cxnId="{5730B846-54F6-488B-BD96-0DEDFBE61704}">
      <dgm:prSet/>
      <dgm:spPr/>
      <dgm:t>
        <a:bodyPr/>
        <a:lstStyle/>
        <a:p>
          <a:endParaRPr lang="en-US"/>
        </a:p>
      </dgm:t>
    </dgm:pt>
    <dgm:pt modelId="{E4D0ABFC-1BFC-4BB8-85E9-154BAEB203F7}" type="sibTrans" cxnId="{5730B846-54F6-488B-BD96-0DEDFBE61704}">
      <dgm:prSet/>
      <dgm:spPr/>
      <dgm:t>
        <a:bodyPr/>
        <a:lstStyle/>
        <a:p>
          <a:endParaRPr lang="en-US"/>
        </a:p>
      </dgm:t>
    </dgm:pt>
    <dgm:pt modelId="{AE09F341-591E-4ADE-8166-DD96ACB9297A}" type="pres">
      <dgm:prSet presAssocID="{1D5D36D2-33B3-439B-AEAE-9572A6507624}" presName="root" presStyleCnt="0">
        <dgm:presLayoutVars>
          <dgm:dir/>
          <dgm:resizeHandles val="exact"/>
        </dgm:presLayoutVars>
      </dgm:prSet>
      <dgm:spPr/>
    </dgm:pt>
    <dgm:pt modelId="{3BFA7DC9-E5C8-4D60-A857-41DC5BDC5818}" type="pres">
      <dgm:prSet presAssocID="{4C090860-3FC6-41ED-BCA8-F4936B4B6561}" presName="compNode" presStyleCnt="0"/>
      <dgm:spPr/>
    </dgm:pt>
    <dgm:pt modelId="{4B5676C0-F5E0-4225-8522-70FF68F649AC}" type="pres">
      <dgm:prSet presAssocID="{4C090860-3FC6-41ED-BCA8-F4936B4B6561}" presName="bgRect" presStyleLbl="bgShp" presStyleIdx="0" presStyleCnt="5"/>
      <dgm:spPr/>
    </dgm:pt>
    <dgm:pt modelId="{3BC6A3C0-110D-43A6-BFE2-170618F0B592}" type="pres">
      <dgm:prSet presAssocID="{4C090860-3FC6-41ED-BCA8-F4936B4B6561}" presName="iconRect" presStyleLbl="node1" presStyleIdx="0" presStyleCnt="5"/>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Diploma Roll"/>
        </a:ext>
      </dgm:extLst>
    </dgm:pt>
    <dgm:pt modelId="{363B7EE5-40C6-489C-9F9C-FACCDAE62B77}" type="pres">
      <dgm:prSet presAssocID="{4C090860-3FC6-41ED-BCA8-F4936B4B6561}" presName="spaceRect" presStyleCnt="0"/>
      <dgm:spPr/>
    </dgm:pt>
    <dgm:pt modelId="{FC29E780-8EA2-47DB-9E78-ABE1761E3803}" type="pres">
      <dgm:prSet presAssocID="{4C090860-3FC6-41ED-BCA8-F4936B4B6561}" presName="parTx" presStyleLbl="revTx" presStyleIdx="0" presStyleCnt="5">
        <dgm:presLayoutVars>
          <dgm:chMax val="0"/>
          <dgm:chPref val="0"/>
        </dgm:presLayoutVars>
      </dgm:prSet>
      <dgm:spPr/>
    </dgm:pt>
    <dgm:pt modelId="{4BF69B56-4198-49BA-886C-A0D3ADA09B30}" type="pres">
      <dgm:prSet presAssocID="{D1DDB153-4A7B-48EE-B792-A2B94AFA654A}" presName="sibTrans" presStyleCnt="0"/>
      <dgm:spPr/>
    </dgm:pt>
    <dgm:pt modelId="{748F8E4D-565F-4A01-B259-A3BB807B0932}" type="pres">
      <dgm:prSet presAssocID="{EC5269D1-358D-4D81-B28F-0AD6F55B1467}" presName="compNode" presStyleCnt="0"/>
      <dgm:spPr/>
    </dgm:pt>
    <dgm:pt modelId="{71DDF223-7F91-440D-A192-7D33203DFC63}" type="pres">
      <dgm:prSet presAssocID="{EC5269D1-358D-4D81-B28F-0AD6F55B1467}" presName="bgRect" presStyleLbl="bgShp" presStyleIdx="1" presStyleCnt="5"/>
      <dgm:spPr/>
    </dgm:pt>
    <dgm:pt modelId="{1191AD97-0D91-49BC-922C-394C57276CD7}" type="pres">
      <dgm:prSet presAssocID="{EC5269D1-358D-4D81-B28F-0AD6F55B1467}" presName="iconRect" presStyleLbl="node1" presStyleIdx="1" presStyleCnt="5"/>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dgm:spPr>
      <dgm:extLst>
        <a:ext uri="{E40237B7-FDA0-4F09-8148-C483321AD2D9}">
          <dgm14:cNvPr xmlns:dgm14="http://schemas.microsoft.com/office/drawing/2010/diagram" id="0" name="" descr="Checkmark"/>
        </a:ext>
      </dgm:extLst>
    </dgm:pt>
    <dgm:pt modelId="{FE00BCB6-AAB6-4C2E-B66D-96D46E43E3D9}" type="pres">
      <dgm:prSet presAssocID="{EC5269D1-358D-4D81-B28F-0AD6F55B1467}" presName="spaceRect" presStyleCnt="0"/>
      <dgm:spPr/>
    </dgm:pt>
    <dgm:pt modelId="{D3ADFFBD-9388-4DE5-B392-B44D65A52AA1}" type="pres">
      <dgm:prSet presAssocID="{EC5269D1-358D-4D81-B28F-0AD6F55B1467}" presName="parTx" presStyleLbl="revTx" presStyleIdx="1" presStyleCnt="5">
        <dgm:presLayoutVars>
          <dgm:chMax val="0"/>
          <dgm:chPref val="0"/>
        </dgm:presLayoutVars>
      </dgm:prSet>
      <dgm:spPr/>
    </dgm:pt>
    <dgm:pt modelId="{E682BD87-9952-4D0C-8A0F-43AEAD37C812}" type="pres">
      <dgm:prSet presAssocID="{F9D00B46-CA60-4152-86C0-E385B0FDE91C}" presName="sibTrans" presStyleCnt="0"/>
      <dgm:spPr/>
    </dgm:pt>
    <dgm:pt modelId="{A9D07627-F0CD-49DA-AD56-BCB8260CC252}" type="pres">
      <dgm:prSet presAssocID="{E15E9A19-CD99-4165-A249-1D15DA5B9FCB}" presName="compNode" presStyleCnt="0"/>
      <dgm:spPr/>
    </dgm:pt>
    <dgm:pt modelId="{7FB8DC94-339D-4B57-90CA-2B9C83B3E34F}" type="pres">
      <dgm:prSet presAssocID="{E15E9A19-CD99-4165-A249-1D15DA5B9FCB}" presName="bgRect" presStyleLbl="bgShp" presStyleIdx="2" presStyleCnt="5"/>
      <dgm:spPr/>
    </dgm:pt>
    <dgm:pt modelId="{79B1BD2B-9234-40E6-BD34-89A83831009D}" type="pres">
      <dgm:prSet presAssocID="{E15E9A19-CD99-4165-A249-1D15DA5B9FCB}" presName="iconRect" presStyleLbl="node1" presStyleIdx="2" presStyleCnt="5"/>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Call center"/>
        </a:ext>
      </dgm:extLst>
    </dgm:pt>
    <dgm:pt modelId="{B3DAD55D-322C-4C2B-9858-2E4875279DD3}" type="pres">
      <dgm:prSet presAssocID="{E15E9A19-CD99-4165-A249-1D15DA5B9FCB}" presName="spaceRect" presStyleCnt="0"/>
      <dgm:spPr/>
    </dgm:pt>
    <dgm:pt modelId="{99F6DB6C-9CD5-4375-B671-0B50CBC25D9C}" type="pres">
      <dgm:prSet presAssocID="{E15E9A19-CD99-4165-A249-1D15DA5B9FCB}" presName="parTx" presStyleLbl="revTx" presStyleIdx="2" presStyleCnt="5">
        <dgm:presLayoutVars>
          <dgm:chMax val="0"/>
          <dgm:chPref val="0"/>
        </dgm:presLayoutVars>
      </dgm:prSet>
      <dgm:spPr/>
    </dgm:pt>
    <dgm:pt modelId="{51316977-EFDB-486B-A710-908E72BEA417}" type="pres">
      <dgm:prSet presAssocID="{E1FF2E0F-81B9-4556-9FDA-E7327308C28F}" presName="sibTrans" presStyleCnt="0"/>
      <dgm:spPr/>
    </dgm:pt>
    <dgm:pt modelId="{4E3B789A-F649-4DE4-97C7-05FD44FFFF00}" type="pres">
      <dgm:prSet presAssocID="{89BCF98B-2BC9-48D6-B676-D9250E2182CC}" presName="compNode" presStyleCnt="0"/>
      <dgm:spPr/>
    </dgm:pt>
    <dgm:pt modelId="{31D2A3FE-E12C-40BF-877E-1D2F00A1B432}" type="pres">
      <dgm:prSet presAssocID="{89BCF98B-2BC9-48D6-B676-D9250E2182CC}" presName="bgRect" presStyleLbl="bgShp" presStyleIdx="3" presStyleCnt="5"/>
      <dgm:spPr/>
    </dgm:pt>
    <dgm:pt modelId="{855C4969-284D-4D1A-AE83-9F69BB65CB03}" type="pres">
      <dgm:prSet presAssocID="{89BCF98B-2BC9-48D6-B676-D9250E2182CC}" presName="iconRect" presStyleLbl="node1" presStyleIdx="3" presStyleCnt="5"/>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dgm:spPr>
      <dgm:extLst>
        <a:ext uri="{E40237B7-FDA0-4F09-8148-C483321AD2D9}">
          <dgm14:cNvPr xmlns:dgm14="http://schemas.microsoft.com/office/drawing/2010/diagram" id="0" name="" descr="Podcast"/>
        </a:ext>
      </dgm:extLst>
    </dgm:pt>
    <dgm:pt modelId="{78E164C4-DCB7-47D3-9639-F2848DF1CBC9}" type="pres">
      <dgm:prSet presAssocID="{89BCF98B-2BC9-48D6-B676-D9250E2182CC}" presName="spaceRect" presStyleCnt="0"/>
      <dgm:spPr/>
    </dgm:pt>
    <dgm:pt modelId="{274F0026-6889-49F0-BBE5-1FF9AA427138}" type="pres">
      <dgm:prSet presAssocID="{89BCF98B-2BC9-48D6-B676-D9250E2182CC}" presName="parTx" presStyleLbl="revTx" presStyleIdx="3" presStyleCnt="5">
        <dgm:presLayoutVars>
          <dgm:chMax val="0"/>
          <dgm:chPref val="0"/>
        </dgm:presLayoutVars>
      </dgm:prSet>
      <dgm:spPr/>
    </dgm:pt>
    <dgm:pt modelId="{8528EEFC-08F0-40B8-9EFF-556D4D28DE64}" type="pres">
      <dgm:prSet presAssocID="{D1AADC8C-7520-49BF-96A8-0D734F8F7C03}" presName="sibTrans" presStyleCnt="0"/>
      <dgm:spPr/>
    </dgm:pt>
    <dgm:pt modelId="{EC1BA42C-13D5-4632-B58D-CA25A2621522}" type="pres">
      <dgm:prSet presAssocID="{6118C95E-DAF1-4A17-AE97-FA465BF65647}" presName="compNode" presStyleCnt="0"/>
      <dgm:spPr/>
    </dgm:pt>
    <dgm:pt modelId="{38420487-385B-4120-B504-3368EE34D151}" type="pres">
      <dgm:prSet presAssocID="{6118C95E-DAF1-4A17-AE97-FA465BF65647}" presName="bgRect" presStyleLbl="bgShp" presStyleIdx="4" presStyleCnt="5" custLinFactNeighborX="-19302" custLinFactNeighborY="10287"/>
      <dgm:spPr/>
    </dgm:pt>
    <dgm:pt modelId="{9A0F09DD-F061-47BD-907F-61BD88C063BD}" type="pres">
      <dgm:prSet presAssocID="{6118C95E-DAF1-4A17-AE97-FA465BF65647}" presName="iconRect" presStyleLbl="node1" presStyleIdx="4" presStyleCnt="5"/>
      <dgm:spPr>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Books on Shelf"/>
        </a:ext>
      </dgm:extLst>
    </dgm:pt>
    <dgm:pt modelId="{62611BA4-045A-4189-AF7D-88C18E3288EA}" type="pres">
      <dgm:prSet presAssocID="{6118C95E-DAF1-4A17-AE97-FA465BF65647}" presName="spaceRect" presStyleCnt="0"/>
      <dgm:spPr/>
    </dgm:pt>
    <dgm:pt modelId="{E426804C-E443-4DD9-AC47-BF55000A56B5}" type="pres">
      <dgm:prSet presAssocID="{6118C95E-DAF1-4A17-AE97-FA465BF65647}" presName="parTx" presStyleLbl="revTx" presStyleIdx="4" presStyleCnt="5">
        <dgm:presLayoutVars>
          <dgm:chMax val="0"/>
          <dgm:chPref val="0"/>
        </dgm:presLayoutVars>
      </dgm:prSet>
      <dgm:spPr/>
    </dgm:pt>
  </dgm:ptLst>
  <dgm:cxnLst>
    <dgm:cxn modelId="{0CBE580F-C6B7-4A75-8378-E76129BC1E0A}" srcId="{1D5D36D2-33B3-439B-AEAE-9572A6507624}" destId="{E15E9A19-CD99-4165-A249-1D15DA5B9FCB}" srcOrd="2" destOrd="0" parTransId="{5D718EBB-12C3-4E60-B25D-FF58344B0CC9}" sibTransId="{E1FF2E0F-81B9-4556-9FDA-E7327308C28F}"/>
    <dgm:cxn modelId="{E2948123-37D4-4E59-874A-538F43A6942B}" srcId="{1D5D36D2-33B3-439B-AEAE-9572A6507624}" destId="{EC5269D1-358D-4D81-B28F-0AD6F55B1467}" srcOrd="1" destOrd="0" parTransId="{8ACDD7B8-ABBC-48D7-AB33-6579FAA75153}" sibTransId="{F9D00B46-CA60-4152-86C0-E385B0FDE91C}"/>
    <dgm:cxn modelId="{B8C7D82E-5EDA-46E5-B3FC-DF62AC5CE7B9}" type="presOf" srcId="{4C090860-3FC6-41ED-BCA8-F4936B4B6561}" destId="{FC29E780-8EA2-47DB-9E78-ABE1761E3803}" srcOrd="0" destOrd="0" presId="urn:microsoft.com/office/officeart/2018/2/layout/IconVerticalSolidList"/>
    <dgm:cxn modelId="{6AC0A140-4A6C-40F4-98E7-810B536045D0}" type="presOf" srcId="{1D5D36D2-33B3-439B-AEAE-9572A6507624}" destId="{AE09F341-591E-4ADE-8166-DD96ACB9297A}" srcOrd="0" destOrd="0" presId="urn:microsoft.com/office/officeart/2018/2/layout/IconVerticalSolidList"/>
    <dgm:cxn modelId="{5730B846-54F6-488B-BD96-0DEDFBE61704}" srcId="{1D5D36D2-33B3-439B-AEAE-9572A6507624}" destId="{6118C95E-DAF1-4A17-AE97-FA465BF65647}" srcOrd="4" destOrd="0" parTransId="{885B6C3E-2900-49B3-99F5-5D2A751B91DD}" sibTransId="{E4D0ABFC-1BFC-4BB8-85E9-154BAEB203F7}"/>
    <dgm:cxn modelId="{B0198C4B-BB91-4B63-B142-26F50AB2C938}" srcId="{1D5D36D2-33B3-439B-AEAE-9572A6507624}" destId="{4C090860-3FC6-41ED-BCA8-F4936B4B6561}" srcOrd="0" destOrd="0" parTransId="{A87AF075-F8B2-4AD2-B502-C2B3FA86BD72}" sibTransId="{D1DDB153-4A7B-48EE-B792-A2B94AFA654A}"/>
    <dgm:cxn modelId="{7072C88E-17C1-4DC8-A6F8-356331D79291}" type="presOf" srcId="{E15E9A19-CD99-4165-A249-1D15DA5B9FCB}" destId="{99F6DB6C-9CD5-4375-B671-0B50CBC25D9C}" srcOrd="0" destOrd="0" presId="urn:microsoft.com/office/officeart/2018/2/layout/IconVerticalSolidList"/>
    <dgm:cxn modelId="{3EC13E8F-C6C6-46A3-ACBA-802D33362D03}" type="presOf" srcId="{EC5269D1-358D-4D81-B28F-0AD6F55B1467}" destId="{D3ADFFBD-9388-4DE5-B392-B44D65A52AA1}" srcOrd="0" destOrd="0" presId="urn:microsoft.com/office/officeart/2018/2/layout/IconVerticalSolidList"/>
    <dgm:cxn modelId="{ACEE00C3-F161-406E-AD2A-B14A21E2113B}" srcId="{1D5D36D2-33B3-439B-AEAE-9572A6507624}" destId="{89BCF98B-2BC9-48D6-B676-D9250E2182CC}" srcOrd="3" destOrd="0" parTransId="{FBDE80CE-35A3-4291-A6A7-425944FADB36}" sibTransId="{D1AADC8C-7520-49BF-96A8-0D734F8F7C03}"/>
    <dgm:cxn modelId="{B91AC5CF-27BF-4082-AEA3-8F07B780A8C8}" type="presOf" srcId="{89BCF98B-2BC9-48D6-B676-D9250E2182CC}" destId="{274F0026-6889-49F0-BBE5-1FF9AA427138}" srcOrd="0" destOrd="0" presId="urn:microsoft.com/office/officeart/2018/2/layout/IconVerticalSolidList"/>
    <dgm:cxn modelId="{975849E0-6C30-43FE-87E7-11A16A00D03C}" type="presOf" srcId="{6118C95E-DAF1-4A17-AE97-FA465BF65647}" destId="{E426804C-E443-4DD9-AC47-BF55000A56B5}" srcOrd="0" destOrd="0" presId="urn:microsoft.com/office/officeart/2018/2/layout/IconVerticalSolidList"/>
    <dgm:cxn modelId="{EF368D45-D2E1-4F96-B2E2-D7DE470C5778}" type="presParOf" srcId="{AE09F341-591E-4ADE-8166-DD96ACB9297A}" destId="{3BFA7DC9-E5C8-4D60-A857-41DC5BDC5818}" srcOrd="0" destOrd="0" presId="urn:microsoft.com/office/officeart/2018/2/layout/IconVerticalSolidList"/>
    <dgm:cxn modelId="{E5B9B31C-E8A7-4A42-9F20-FF491E125425}" type="presParOf" srcId="{3BFA7DC9-E5C8-4D60-A857-41DC5BDC5818}" destId="{4B5676C0-F5E0-4225-8522-70FF68F649AC}" srcOrd="0" destOrd="0" presId="urn:microsoft.com/office/officeart/2018/2/layout/IconVerticalSolidList"/>
    <dgm:cxn modelId="{FB84CECD-7B9F-4AF4-9FA2-B0520CF58842}" type="presParOf" srcId="{3BFA7DC9-E5C8-4D60-A857-41DC5BDC5818}" destId="{3BC6A3C0-110D-43A6-BFE2-170618F0B592}" srcOrd="1" destOrd="0" presId="urn:microsoft.com/office/officeart/2018/2/layout/IconVerticalSolidList"/>
    <dgm:cxn modelId="{6122B18E-497D-4F94-9EE4-B60C89846722}" type="presParOf" srcId="{3BFA7DC9-E5C8-4D60-A857-41DC5BDC5818}" destId="{363B7EE5-40C6-489C-9F9C-FACCDAE62B77}" srcOrd="2" destOrd="0" presId="urn:microsoft.com/office/officeart/2018/2/layout/IconVerticalSolidList"/>
    <dgm:cxn modelId="{4A63F0C0-E015-4B76-8DD6-2BA018409380}" type="presParOf" srcId="{3BFA7DC9-E5C8-4D60-A857-41DC5BDC5818}" destId="{FC29E780-8EA2-47DB-9E78-ABE1761E3803}" srcOrd="3" destOrd="0" presId="urn:microsoft.com/office/officeart/2018/2/layout/IconVerticalSolidList"/>
    <dgm:cxn modelId="{D72ACBC6-4040-42A1-AE29-166A7A82CFFD}" type="presParOf" srcId="{AE09F341-591E-4ADE-8166-DD96ACB9297A}" destId="{4BF69B56-4198-49BA-886C-A0D3ADA09B30}" srcOrd="1" destOrd="0" presId="urn:microsoft.com/office/officeart/2018/2/layout/IconVerticalSolidList"/>
    <dgm:cxn modelId="{7E778450-DEC5-43CA-AD03-D3E37D4D6743}" type="presParOf" srcId="{AE09F341-591E-4ADE-8166-DD96ACB9297A}" destId="{748F8E4D-565F-4A01-B259-A3BB807B0932}" srcOrd="2" destOrd="0" presId="urn:microsoft.com/office/officeart/2018/2/layout/IconVerticalSolidList"/>
    <dgm:cxn modelId="{5DBBEA17-557B-48AF-BE8D-D6E336BCBD0B}" type="presParOf" srcId="{748F8E4D-565F-4A01-B259-A3BB807B0932}" destId="{71DDF223-7F91-440D-A192-7D33203DFC63}" srcOrd="0" destOrd="0" presId="urn:microsoft.com/office/officeart/2018/2/layout/IconVerticalSolidList"/>
    <dgm:cxn modelId="{9CBC18F0-F0FD-428A-839B-F33512878926}" type="presParOf" srcId="{748F8E4D-565F-4A01-B259-A3BB807B0932}" destId="{1191AD97-0D91-49BC-922C-394C57276CD7}" srcOrd="1" destOrd="0" presId="urn:microsoft.com/office/officeart/2018/2/layout/IconVerticalSolidList"/>
    <dgm:cxn modelId="{14CA9798-44A6-45B4-BC12-923E794C94B3}" type="presParOf" srcId="{748F8E4D-565F-4A01-B259-A3BB807B0932}" destId="{FE00BCB6-AAB6-4C2E-B66D-96D46E43E3D9}" srcOrd="2" destOrd="0" presId="urn:microsoft.com/office/officeart/2018/2/layout/IconVerticalSolidList"/>
    <dgm:cxn modelId="{1AE671D8-2711-46C5-94E9-E7CB8949E337}" type="presParOf" srcId="{748F8E4D-565F-4A01-B259-A3BB807B0932}" destId="{D3ADFFBD-9388-4DE5-B392-B44D65A52AA1}" srcOrd="3" destOrd="0" presId="urn:microsoft.com/office/officeart/2018/2/layout/IconVerticalSolidList"/>
    <dgm:cxn modelId="{07A0FDA9-F459-4D90-9185-C4CB5F0B4666}" type="presParOf" srcId="{AE09F341-591E-4ADE-8166-DD96ACB9297A}" destId="{E682BD87-9952-4D0C-8A0F-43AEAD37C812}" srcOrd="3" destOrd="0" presId="urn:microsoft.com/office/officeart/2018/2/layout/IconVerticalSolidList"/>
    <dgm:cxn modelId="{EA99D0EA-2C13-4326-BC2C-6D004ABD48D8}" type="presParOf" srcId="{AE09F341-591E-4ADE-8166-DD96ACB9297A}" destId="{A9D07627-F0CD-49DA-AD56-BCB8260CC252}" srcOrd="4" destOrd="0" presId="urn:microsoft.com/office/officeart/2018/2/layout/IconVerticalSolidList"/>
    <dgm:cxn modelId="{8625C06C-D280-481B-9709-B4FDB676C129}" type="presParOf" srcId="{A9D07627-F0CD-49DA-AD56-BCB8260CC252}" destId="{7FB8DC94-339D-4B57-90CA-2B9C83B3E34F}" srcOrd="0" destOrd="0" presId="urn:microsoft.com/office/officeart/2018/2/layout/IconVerticalSolidList"/>
    <dgm:cxn modelId="{DE4FEE9C-511A-4408-BA43-3D8744D224E4}" type="presParOf" srcId="{A9D07627-F0CD-49DA-AD56-BCB8260CC252}" destId="{79B1BD2B-9234-40E6-BD34-89A83831009D}" srcOrd="1" destOrd="0" presId="urn:microsoft.com/office/officeart/2018/2/layout/IconVerticalSolidList"/>
    <dgm:cxn modelId="{D3A6FFB0-5C40-4212-918F-D9F4D5F380FF}" type="presParOf" srcId="{A9D07627-F0CD-49DA-AD56-BCB8260CC252}" destId="{B3DAD55D-322C-4C2B-9858-2E4875279DD3}" srcOrd="2" destOrd="0" presId="urn:microsoft.com/office/officeart/2018/2/layout/IconVerticalSolidList"/>
    <dgm:cxn modelId="{A8C2A868-1F14-4E73-A730-43EF306981A3}" type="presParOf" srcId="{A9D07627-F0CD-49DA-AD56-BCB8260CC252}" destId="{99F6DB6C-9CD5-4375-B671-0B50CBC25D9C}" srcOrd="3" destOrd="0" presId="urn:microsoft.com/office/officeart/2018/2/layout/IconVerticalSolidList"/>
    <dgm:cxn modelId="{DCF279B3-CD82-42B2-B3A5-5499927F79CA}" type="presParOf" srcId="{AE09F341-591E-4ADE-8166-DD96ACB9297A}" destId="{51316977-EFDB-486B-A710-908E72BEA417}" srcOrd="5" destOrd="0" presId="urn:microsoft.com/office/officeart/2018/2/layout/IconVerticalSolidList"/>
    <dgm:cxn modelId="{B4772586-4A74-4CB7-AFC5-DC68B0AE34A1}" type="presParOf" srcId="{AE09F341-591E-4ADE-8166-DD96ACB9297A}" destId="{4E3B789A-F649-4DE4-97C7-05FD44FFFF00}" srcOrd="6" destOrd="0" presId="urn:microsoft.com/office/officeart/2018/2/layout/IconVerticalSolidList"/>
    <dgm:cxn modelId="{CB46440F-E765-4441-B396-0F9477989790}" type="presParOf" srcId="{4E3B789A-F649-4DE4-97C7-05FD44FFFF00}" destId="{31D2A3FE-E12C-40BF-877E-1D2F00A1B432}" srcOrd="0" destOrd="0" presId="urn:microsoft.com/office/officeart/2018/2/layout/IconVerticalSolidList"/>
    <dgm:cxn modelId="{250CA682-82AF-4E2A-801F-74D6E00C0656}" type="presParOf" srcId="{4E3B789A-F649-4DE4-97C7-05FD44FFFF00}" destId="{855C4969-284D-4D1A-AE83-9F69BB65CB03}" srcOrd="1" destOrd="0" presId="urn:microsoft.com/office/officeart/2018/2/layout/IconVerticalSolidList"/>
    <dgm:cxn modelId="{3666F132-B3FE-4019-8124-D9CF52EB3DFB}" type="presParOf" srcId="{4E3B789A-F649-4DE4-97C7-05FD44FFFF00}" destId="{78E164C4-DCB7-47D3-9639-F2848DF1CBC9}" srcOrd="2" destOrd="0" presId="urn:microsoft.com/office/officeart/2018/2/layout/IconVerticalSolidList"/>
    <dgm:cxn modelId="{D8491B4B-1BED-4FEB-B1F2-0D0F12D93F6F}" type="presParOf" srcId="{4E3B789A-F649-4DE4-97C7-05FD44FFFF00}" destId="{274F0026-6889-49F0-BBE5-1FF9AA427138}" srcOrd="3" destOrd="0" presId="urn:microsoft.com/office/officeart/2018/2/layout/IconVerticalSolidList"/>
    <dgm:cxn modelId="{B69D7B3D-3DC0-4351-9DD0-A14C98E32155}" type="presParOf" srcId="{AE09F341-591E-4ADE-8166-DD96ACB9297A}" destId="{8528EEFC-08F0-40B8-9EFF-556D4D28DE64}" srcOrd="7" destOrd="0" presId="urn:microsoft.com/office/officeart/2018/2/layout/IconVerticalSolidList"/>
    <dgm:cxn modelId="{51457603-0067-40C6-8671-4B4003CAE23A}" type="presParOf" srcId="{AE09F341-591E-4ADE-8166-DD96ACB9297A}" destId="{EC1BA42C-13D5-4632-B58D-CA25A2621522}" srcOrd="8" destOrd="0" presId="urn:microsoft.com/office/officeart/2018/2/layout/IconVerticalSolidList"/>
    <dgm:cxn modelId="{AD9B527C-F886-424B-AD96-778C4AA9F914}" type="presParOf" srcId="{EC1BA42C-13D5-4632-B58D-CA25A2621522}" destId="{38420487-385B-4120-B504-3368EE34D151}" srcOrd="0" destOrd="0" presId="urn:microsoft.com/office/officeart/2018/2/layout/IconVerticalSolidList"/>
    <dgm:cxn modelId="{688D35C3-B455-4933-A8BB-AB02539EF646}" type="presParOf" srcId="{EC1BA42C-13D5-4632-B58D-CA25A2621522}" destId="{9A0F09DD-F061-47BD-907F-61BD88C063BD}" srcOrd="1" destOrd="0" presId="urn:microsoft.com/office/officeart/2018/2/layout/IconVerticalSolidList"/>
    <dgm:cxn modelId="{80862189-3EEF-4F74-89CD-92F8A3B79004}" type="presParOf" srcId="{EC1BA42C-13D5-4632-B58D-CA25A2621522}" destId="{62611BA4-045A-4189-AF7D-88C18E3288EA}" srcOrd="2" destOrd="0" presId="urn:microsoft.com/office/officeart/2018/2/layout/IconVerticalSolidList"/>
    <dgm:cxn modelId="{BF4DCEBB-42D7-471F-85CE-8FD506C15614}" type="presParOf" srcId="{EC1BA42C-13D5-4632-B58D-CA25A2621522}" destId="{E426804C-E443-4DD9-AC47-BF55000A56B5}"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5676C0-F5E0-4225-8522-70FF68F649AC}">
      <dsp:nvSpPr>
        <dsp:cNvPr id="0" name=""/>
        <dsp:cNvSpPr/>
      </dsp:nvSpPr>
      <dsp:spPr>
        <a:xfrm>
          <a:off x="0" y="3053"/>
          <a:ext cx="11018520" cy="650442"/>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BC6A3C0-110D-43A6-BFE2-170618F0B592}">
      <dsp:nvSpPr>
        <dsp:cNvPr id="0" name=""/>
        <dsp:cNvSpPr/>
      </dsp:nvSpPr>
      <dsp:spPr>
        <a:xfrm>
          <a:off x="196758" y="149403"/>
          <a:ext cx="357743" cy="357743"/>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1"/>
              </a:ext>
            </a:extLst>
          </a:blip>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C29E780-8EA2-47DB-9E78-ABE1761E3803}">
      <dsp:nvSpPr>
        <dsp:cNvPr id="0" name=""/>
        <dsp:cNvSpPr/>
      </dsp:nvSpPr>
      <dsp:spPr>
        <a:xfrm>
          <a:off x="751261" y="3053"/>
          <a:ext cx="10267258" cy="6504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838" tIns="68838" rIns="68838" bIns="68838" numCol="1" spcCol="1270" anchor="ctr" anchorCtr="0">
          <a:noAutofit/>
        </a:bodyPr>
        <a:lstStyle/>
        <a:p>
          <a:pPr marL="0" lvl="0" indent="0" algn="l" defTabSz="800100">
            <a:lnSpc>
              <a:spcPct val="100000"/>
            </a:lnSpc>
            <a:spcBef>
              <a:spcPct val="0"/>
            </a:spcBef>
            <a:spcAft>
              <a:spcPct val="35000"/>
            </a:spcAft>
            <a:buNone/>
          </a:pPr>
          <a:r>
            <a:rPr lang="fr-fr" sz="1800" kern="1200">
              <a:hlinkClick xmlns:r="http://schemas.openxmlformats.org/officeDocument/2006/relationships" r:id="rId2"/>
            </a:rPr>
            <a:t>Administering &amp; Governing Agents E-book</a:t>
          </a:r>
          <a:endParaRPr lang="en-US" sz="1800" kern="1200"/>
        </a:p>
      </dsp:txBody>
      <dsp:txXfrm>
        <a:off x="751261" y="3053"/>
        <a:ext cx="10267258" cy="650442"/>
      </dsp:txXfrm>
    </dsp:sp>
    <dsp:sp modelId="{71DDF223-7F91-440D-A192-7D33203DFC63}">
      <dsp:nvSpPr>
        <dsp:cNvPr id="0" name=""/>
        <dsp:cNvSpPr/>
      </dsp:nvSpPr>
      <dsp:spPr>
        <a:xfrm>
          <a:off x="0" y="816106"/>
          <a:ext cx="11018520" cy="650442"/>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191AD97-0D91-49BC-922C-394C57276CD7}">
      <dsp:nvSpPr>
        <dsp:cNvPr id="0" name=""/>
        <dsp:cNvSpPr/>
      </dsp:nvSpPr>
      <dsp:spPr>
        <a:xfrm>
          <a:off x="196758" y="962456"/>
          <a:ext cx="357743" cy="357743"/>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3ADFFBD-9388-4DE5-B392-B44D65A52AA1}">
      <dsp:nvSpPr>
        <dsp:cNvPr id="0" name=""/>
        <dsp:cNvSpPr/>
      </dsp:nvSpPr>
      <dsp:spPr>
        <a:xfrm>
          <a:off x="751261" y="816106"/>
          <a:ext cx="10267258" cy="6504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838" tIns="68838" rIns="68838" bIns="68838" numCol="1" spcCol="1270" anchor="ctr" anchorCtr="0">
          <a:noAutofit/>
        </a:bodyPr>
        <a:lstStyle/>
        <a:p>
          <a:pPr marL="0" lvl="0" indent="0" algn="l" defTabSz="800100">
            <a:lnSpc>
              <a:spcPct val="100000"/>
            </a:lnSpc>
            <a:spcBef>
              <a:spcPct val="0"/>
            </a:spcBef>
            <a:spcAft>
              <a:spcPct val="35000"/>
            </a:spcAft>
            <a:buNone/>
          </a:pPr>
          <a:r>
            <a:rPr lang="fr-fr" sz="1800" kern="1200">
              <a:hlinkClick xmlns:r="http://schemas.openxmlformats.org/officeDocument/2006/relationships" r:id="rId4"/>
            </a:rPr>
            <a:t>Confidently adopt and administer Microsoft Copilot Studio with managed security and governance</a:t>
          </a:r>
          <a:endParaRPr lang="en-US" sz="1800" kern="1200"/>
        </a:p>
      </dsp:txBody>
      <dsp:txXfrm>
        <a:off x="751261" y="816106"/>
        <a:ext cx="10267258" cy="650442"/>
      </dsp:txXfrm>
    </dsp:sp>
    <dsp:sp modelId="{7FB8DC94-339D-4B57-90CA-2B9C83B3E34F}">
      <dsp:nvSpPr>
        <dsp:cNvPr id="0" name=""/>
        <dsp:cNvSpPr/>
      </dsp:nvSpPr>
      <dsp:spPr>
        <a:xfrm>
          <a:off x="0" y="1629159"/>
          <a:ext cx="11018520" cy="650442"/>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9B1BD2B-9234-40E6-BD34-89A83831009D}">
      <dsp:nvSpPr>
        <dsp:cNvPr id="0" name=""/>
        <dsp:cNvSpPr/>
      </dsp:nvSpPr>
      <dsp:spPr>
        <a:xfrm>
          <a:off x="196758" y="1775509"/>
          <a:ext cx="357743" cy="357743"/>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9F6DB6C-9CD5-4375-B671-0B50CBC25D9C}">
      <dsp:nvSpPr>
        <dsp:cNvPr id="0" name=""/>
        <dsp:cNvSpPr/>
      </dsp:nvSpPr>
      <dsp:spPr>
        <a:xfrm>
          <a:off x="751261" y="1629159"/>
          <a:ext cx="10267258" cy="6504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838" tIns="68838" rIns="68838" bIns="68838" numCol="1" spcCol="1270" anchor="ctr" anchorCtr="0">
          <a:noAutofit/>
        </a:bodyPr>
        <a:lstStyle/>
        <a:p>
          <a:pPr marL="0" lvl="0" indent="0" algn="l" defTabSz="800100">
            <a:lnSpc>
              <a:spcPct val="100000"/>
            </a:lnSpc>
            <a:spcBef>
              <a:spcPct val="0"/>
            </a:spcBef>
            <a:spcAft>
              <a:spcPct val="35000"/>
            </a:spcAft>
            <a:buNone/>
          </a:pPr>
          <a:r>
            <a:rPr lang="fr-fr" sz="1800" kern="1200">
              <a:hlinkClick xmlns:r="http://schemas.openxmlformats.org/officeDocument/2006/relationships" r:id="rId6"/>
            </a:rPr>
            <a:t>Microsoft as Customer Zero: The Employee Self-Service Agent Roll Out</a:t>
          </a:r>
          <a:endParaRPr lang="en-US" sz="1800" kern="1200"/>
        </a:p>
      </dsp:txBody>
      <dsp:txXfrm>
        <a:off x="751261" y="1629159"/>
        <a:ext cx="10267258" cy="650442"/>
      </dsp:txXfrm>
    </dsp:sp>
    <dsp:sp modelId="{31D2A3FE-E12C-40BF-877E-1D2F00A1B432}">
      <dsp:nvSpPr>
        <dsp:cNvPr id="0" name=""/>
        <dsp:cNvSpPr/>
      </dsp:nvSpPr>
      <dsp:spPr>
        <a:xfrm>
          <a:off x="0" y="2442212"/>
          <a:ext cx="11018520" cy="650442"/>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55C4969-284D-4D1A-AE83-9F69BB65CB03}">
      <dsp:nvSpPr>
        <dsp:cNvPr id="0" name=""/>
        <dsp:cNvSpPr/>
      </dsp:nvSpPr>
      <dsp:spPr>
        <a:xfrm>
          <a:off x="196758" y="2588562"/>
          <a:ext cx="357743" cy="357743"/>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74F0026-6889-49F0-BBE5-1FF9AA427138}">
      <dsp:nvSpPr>
        <dsp:cNvPr id="0" name=""/>
        <dsp:cNvSpPr/>
      </dsp:nvSpPr>
      <dsp:spPr>
        <a:xfrm>
          <a:off x="751261" y="2442212"/>
          <a:ext cx="10267258" cy="6504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838" tIns="68838" rIns="68838" bIns="68838" numCol="1" spcCol="1270" anchor="ctr" anchorCtr="0">
          <a:noAutofit/>
        </a:bodyPr>
        <a:lstStyle/>
        <a:p>
          <a:pPr marL="0" lvl="0" indent="0" algn="l" defTabSz="800100">
            <a:lnSpc>
              <a:spcPct val="100000"/>
            </a:lnSpc>
            <a:spcBef>
              <a:spcPct val="0"/>
            </a:spcBef>
            <a:spcAft>
              <a:spcPct val="35000"/>
            </a:spcAft>
            <a:buNone/>
          </a:pPr>
          <a:r>
            <a:rPr lang="fr-fr" sz="1800" kern="1200">
              <a:hlinkClick xmlns:r="http://schemas.openxmlformats.org/officeDocument/2006/relationships" r:id="rId8"/>
            </a:rPr>
            <a:t>Cost Control Blog : Take Control of Agent Costs</a:t>
          </a:r>
          <a:endParaRPr lang="en-US" sz="1800" kern="1200"/>
        </a:p>
      </dsp:txBody>
      <dsp:txXfrm>
        <a:off x="751261" y="2442212"/>
        <a:ext cx="10267258" cy="650442"/>
      </dsp:txXfrm>
    </dsp:sp>
    <dsp:sp modelId="{38420487-385B-4120-B504-3368EE34D151}">
      <dsp:nvSpPr>
        <dsp:cNvPr id="0" name=""/>
        <dsp:cNvSpPr/>
      </dsp:nvSpPr>
      <dsp:spPr>
        <a:xfrm>
          <a:off x="0" y="3258319"/>
          <a:ext cx="11018520" cy="650442"/>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A0F09DD-F061-47BD-907F-61BD88C063BD}">
      <dsp:nvSpPr>
        <dsp:cNvPr id="0" name=""/>
        <dsp:cNvSpPr/>
      </dsp:nvSpPr>
      <dsp:spPr>
        <a:xfrm>
          <a:off x="196758" y="3401615"/>
          <a:ext cx="357743" cy="357743"/>
        </a:xfrm>
        <a:prstGeom prst="rect">
          <a:avLst/>
        </a:prstGeom>
        <a:blipFill>
          <a:blip xmlns:r="http://schemas.openxmlformats.org/officeDocument/2006/relationships">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426804C-E443-4DD9-AC47-BF55000A56B5}">
      <dsp:nvSpPr>
        <dsp:cNvPr id="0" name=""/>
        <dsp:cNvSpPr/>
      </dsp:nvSpPr>
      <dsp:spPr>
        <a:xfrm>
          <a:off x="751261" y="3255265"/>
          <a:ext cx="10267258" cy="6504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838" tIns="68838" rIns="68838" bIns="68838" numCol="1" spcCol="1270" anchor="ctr" anchorCtr="0">
          <a:noAutofit/>
        </a:bodyPr>
        <a:lstStyle/>
        <a:p>
          <a:pPr marL="0" lvl="0" indent="0" algn="l" defTabSz="800100">
            <a:lnSpc>
              <a:spcPct val="100000"/>
            </a:lnSpc>
            <a:spcBef>
              <a:spcPct val="0"/>
            </a:spcBef>
            <a:spcAft>
              <a:spcPct val="35000"/>
            </a:spcAft>
            <a:buNone/>
          </a:pPr>
          <a:r>
            <a:rPr lang="fr-fr" sz="1800" kern="1200">
              <a:hlinkClick xmlns:r="http://schemas.openxmlformats.org/officeDocument/2006/relationships" r:id="rId10"/>
            </a:rPr>
            <a:t>Cost Control Ebook : Agent Cost Management</a:t>
          </a:r>
          <a:endParaRPr lang="en-US" sz="1800" kern="1200"/>
        </a:p>
      </dsp:txBody>
      <dsp:txXfrm>
        <a:off x="751261" y="3255265"/>
        <a:ext cx="10267258" cy="650442"/>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Sans Display" pitchFamily="2"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Sans Display" pitchFamily="2" charset="0"/>
              </a:rPr>
              <a:t>6/29/2026 9:38 AM</a:t>
            </a:fld>
            <a:endParaRPr lang="en-US">
              <a:latin typeface="Segoe Sans Display" pitchFamily="2"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Sans Display" pitchFamily="2" charset="0"/>
              </a:rPr>
              <a:t>‹#›</a:t>
            </a:fld>
            <a:endParaRPr lang="en-US">
              <a:latin typeface="Segoe Sans Display" pitchFamily="2"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Sans Display" pitchFamily="2"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atin typeface="Segoe Sans Display" pitchFamily="2" charset="0"/>
                <a:cs typeface="Segoe Sans Display" pitchFamily="2" charset="0"/>
              </a:defRPr>
            </a:lvl1p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Sans Display" pitchFamily="2" charset="0"/>
              </a:defRPr>
            </a:lvl1pPr>
          </a:lstStyle>
          <a:p>
            <a:fld id="{386CE63F-9E7F-4C04-9D0D-FCA25A8E9E86}" type="datetime8">
              <a:rPr lang="en-US" smtClean="0"/>
              <a:pPr/>
              <a:t>6/29/2026 9:38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Sans Display" pitchFamily="2"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Sans Display" pitchFamily="2"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Bonjour et bienvenue a tous sur le Hub client Microsoft. Aujourd’hui, nous allons parler d’un sujet essentiel pour toute organisation qui deploie des agents IA : la gouvernance. Installez-vous confortablement, cette session sera riche en contenu pratiqu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4502175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41821-7D62-F9B9-A3C0-BE52B154FD9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D541B5-51F7-6345-5675-D0151700B6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2D01AD-3720-D37C-BA7F-C6F5F2B34765}"/>
              </a:ext>
            </a:extLst>
          </p:cNvPr>
          <p:cNvSpPr>
            <a:spLocks noGrp="1"/>
          </p:cNvSpPr>
          <p:nvPr>
            <p:ph type="body" idx="1"/>
          </p:nvPr>
        </p:nvSpPr>
        <p:spPr/>
        <p:txBody>
          <a:bodyPr/>
          <a:lstStyle/>
          <a:p>
            <a:r>
              <a:rPr lang="fr-FR" dirty="0"/>
              <a:t>Parlons licences. Copilot Studio fonctionne avec un systeme d’unites d’engagement. Il y a trois modeles principaux : la licence M365 Copilot a environ 30 dollars par utilisateur par mois, les packs de credits prepayes a 200 dollars par mois pour 25 000 credits, et le paiement a l’usage a environ un centime par credit.</a:t>
            </a:r>
          </a:p>
        </p:txBody>
      </p:sp>
      <p:sp>
        <p:nvSpPr>
          <p:cNvPr id="4" name="Header Placeholder 3">
            <a:extLst>
              <a:ext uri="{FF2B5EF4-FFF2-40B4-BE49-F238E27FC236}">
                <a16:creationId xmlns:a16="http://schemas.microsoft.com/office/drawing/2014/main" id="{D3480022-FA6F-7A1C-7AAD-B33C65FD1869}"/>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C173AC15-6372-1028-F512-DCE704A4F6E2}"/>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6DE834AD-CAC3-9B71-216B-77FAD92F2A8D}"/>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BF3F2CAD-882A-5D34-F489-E9685509C945}"/>
              </a:ext>
            </a:extLst>
          </p:cNvPr>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0966579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3C4B2D-0922-DDD4-0F1E-8161010E97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BC3693-7935-9656-FD8F-F1C33736A9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EE34A5-3A91-37AF-A7A4-FC012B261D87}"/>
              </a:ext>
            </a:extLst>
          </p:cNvPr>
          <p:cNvSpPr>
            <a:spLocks noGrp="1"/>
          </p:cNvSpPr>
          <p:nvPr>
            <p:ph type="body" idx="1"/>
          </p:nvPr>
        </p:nvSpPr>
        <p:spPr/>
        <p:txBody>
          <a:bodyPr/>
          <a:lstStyle/>
          <a:p>
            <a:r>
              <a:rPr lang="fr-FR" dirty="0"/>
              <a:t>Voici le detail des tarifs de facturation avec les credits Copilot. Le tableau distingue les utilisateurs disposant d’une licence M365 Copilot de ceux qui n’en ont pas. On peut combiner credits prepayes et paiement a l’usage pour une approche hybride optimisee.</a:t>
            </a:r>
          </a:p>
        </p:txBody>
      </p:sp>
      <p:sp>
        <p:nvSpPr>
          <p:cNvPr id="4" name="Header Placeholder 3">
            <a:extLst>
              <a:ext uri="{FF2B5EF4-FFF2-40B4-BE49-F238E27FC236}">
                <a16:creationId xmlns:a16="http://schemas.microsoft.com/office/drawing/2014/main" id="{6F5439B3-834C-F9B7-B5F5-A401210C1AD3}"/>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C2FBFA5D-D209-D13B-F9AD-6E272DBF5CA1}"/>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D6F98953-320C-FC8C-CE9F-13DB8A5B51A3}"/>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6E183CDE-7C7F-0DBA-6FEF-DB6235BA04B2}"/>
              </a:ext>
            </a:extLst>
          </p:cNvPr>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32742244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FD1DD-D215-B4A4-2428-DD0B493DF6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FB2409-827C-4978-661D-3C24552914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45C664-40B3-8F23-9BE5-140409E85CE2}"/>
              </a:ext>
            </a:extLst>
          </p:cNvPr>
          <p:cNvSpPr>
            <a:spLocks noGrp="1"/>
          </p:cNvSpPr>
          <p:nvPr>
            <p:ph type="body" idx="1"/>
          </p:nvPr>
        </p:nvSpPr>
        <p:spPr/>
        <p:txBody>
          <a:bodyPr/>
          <a:lstStyle/>
          <a:p>
            <a:r>
              <a:rPr lang="fr-FR" dirty="0"/>
              <a:t>Suite des details de tarification. Un nouveau modele de remise sur volume a recemment ete introduit, ce qui est particulierement interessant pour les grandes organisations. N’hesitez pas a contacter votre equipe de compte Microsoft pour une estimation personnalisee.</a:t>
            </a:r>
          </a:p>
        </p:txBody>
      </p:sp>
      <p:sp>
        <p:nvSpPr>
          <p:cNvPr id="4" name="Header Placeholder 3">
            <a:extLst>
              <a:ext uri="{FF2B5EF4-FFF2-40B4-BE49-F238E27FC236}">
                <a16:creationId xmlns:a16="http://schemas.microsoft.com/office/drawing/2014/main" id="{9A07A636-B836-606D-0E12-92B175CE45FB}"/>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44EB6B16-5E6C-F891-C695-2C4E8C632376}"/>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54D10855-5D32-7D6A-C8DA-0F54FD93FEAE}"/>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F15AAFFE-908B-81AB-330B-6732C61AAE72}"/>
              </a:ext>
            </a:extLst>
          </p:cNvPr>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19357415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BDF945-DE7E-BA52-3F3E-1BAD0C01D0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AFFF76-BA0C-5E05-E7C3-9BFC11B388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885560-15AC-F604-E62B-1B754D9135E0}"/>
              </a:ext>
            </a:extLst>
          </p:cNvPr>
          <p:cNvSpPr>
            <a:spLocks noGrp="1"/>
          </p:cNvSpPr>
          <p:nvPr>
            <p:ph type="body" idx="1"/>
          </p:nvPr>
        </p:nvSpPr>
        <p:spPr/>
        <p:txBody>
          <a:bodyPr/>
          <a:lstStyle/>
          <a:p>
            <a:r>
              <a:rPr lang="fr-FR" dirty="0"/>
              <a:t>Pour vous aider a estimer vos couts, Microsoft met a disposition un outil de calcul des couts. Cet outil vous permet de simuler differents scenarios d’usage et de choisir le modele de licence le plus adapte a votre organisation.</a:t>
            </a:r>
          </a:p>
        </p:txBody>
      </p:sp>
      <p:sp>
        <p:nvSpPr>
          <p:cNvPr id="4" name="Header Placeholder 3">
            <a:extLst>
              <a:ext uri="{FF2B5EF4-FFF2-40B4-BE49-F238E27FC236}">
                <a16:creationId xmlns:a16="http://schemas.microsoft.com/office/drawing/2014/main" id="{D0526371-B030-D5BD-A56F-515CFB29F49F}"/>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A680F3F8-C9D4-BC86-C0B6-4E01D5D7DD14}"/>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53FD5C09-0D7A-AC0B-5DE0-E0B22955ADD0}"/>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BACC3733-87B1-D445-EFB2-1DAEAC2075F5}"/>
              </a:ext>
            </a:extLst>
          </p:cNvPr>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8120364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EA6E92-00B4-086A-FAF4-6A1B1A22DC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AD2361-236E-C36A-0C3D-6DD527EFC603}"/>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ECBF75B9-CA06-2118-6EE1-EB185B648117}"/>
              </a:ext>
            </a:extLst>
          </p:cNvPr>
          <p:cNvSpPr>
            <a:spLocks noGrp="1"/>
          </p:cNvSpPr>
          <p:nvPr>
            <p:ph type="body" idx="1"/>
          </p:nvPr>
        </p:nvSpPr>
        <p:spPr/>
        <p:txBody>
          <a:bodyPr/>
          <a:lstStyle/>
          <a:p>
            <a:r>
              <a:rPr lang="fr-FR" dirty="0"/>
              <a:t>Nous passons maintenant a la partie la plus importante de cette session : la presentation de Microsoft Agent 365. C’est une nouvelle plateforme dediee au controle et a la gestion de vos agents.</a:t>
            </a:r>
          </a:p>
        </p:txBody>
      </p:sp>
      <p:sp>
        <p:nvSpPr>
          <p:cNvPr id="4" name="Slide Number Placeholder 3">
            <a:extLst>
              <a:ext uri="{FF2B5EF4-FFF2-40B4-BE49-F238E27FC236}">
                <a16:creationId xmlns:a16="http://schemas.microsoft.com/office/drawing/2014/main" id="{9020B847-FE93-A4D4-C314-21BE49FE751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5FABD56-7E30-471F-B77B-F411599753D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773086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44DD73-9FC6-F80D-8843-B5A9C99DD9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6FC158-580D-C775-B840-CFD6E1D00FFF}"/>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D59F6BFB-AB24-FA47-DBE5-463EAFF405B7}"/>
              </a:ext>
            </a:extLst>
          </p:cNvPr>
          <p:cNvSpPr>
            <a:spLocks noGrp="1"/>
          </p:cNvSpPr>
          <p:nvPr>
            <p:ph type="body" idx="1"/>
          </p:nvPr>
        </p:nvSpPr>
        <p:spPr/>
        <p:txBody>
          <a:bodyPr/>
          <a:lstStyle/>
          <a:p>
            <a:r>
              <a:rPr lang="fr-FR" dirty="0"/>
              <a:t>Agent 365 repose sur cinq piliers essentiels. Le premier est le Registre, qui vous permet de visualiser tous les agents deployes dans votre organisation. C’est le point de depart pour toute strategie de gouvernance.</a:t>
            </a:r>
          </a:p>
        </p:txBody>
      </p:sp>
      <p:sp>
        <p:nvSpPr>
          <p:cNvPr id="4" name="Slide Number Placeholder 3">
            <a:extLst>
              <a:ext uri="{FF2B5EF4-FFF2-40B4-BE49-F238E27FC236}">
                <a16:creationId xmlns:a16="http://schemas.microsoft.com/office/drawing/2014/main" id="{AC8F4A95-EBF7-3AA0-16BB-14F111555F5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5FABD56-7E30-471F-B77B-F411599753D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834920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4D9908-79E0-23BE-0B86-094CD16DB0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C17A47-5AE2-3B77-8E32-F5466F023E14}"/>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6E914DD5-BC92-12BE-A1BC-E03D1C2F0660}"/>
              </a:ext>
            </a:extLst>
          </p:cNvPr>
          <p:cNvSpPr>
            <a:spLocks noGrp="1"/>
          </p:cNvSpPr>
          <p:nvPr>
            <p:ph type="body" idx="1"/>
          </p:nvPr>
        </p:nvSpPr>
        <p:spPr/>
        <p:txBody>
          <a:bodyPr/>
          <a:lstStyle/>
          <a:p>
            <a:r>
              <a:rPr lang="fr-FR" dirty="0"/>
              <a:t>Le deuxieme pilier est le Controle d’acces. Il vous permet de gouverner qui a acces a quels agents, avec des politiques granulaires adaptees a votre organisation.</a:t>
            </a:r>
          </a:p>
        </p:txBody>
      </p:sp>
      <p:sp>
        <p:nvSpPr>
          <p:cNvPr id="4" name="Slide Number Placeholder 3">
            <a:extLst>
              <a:ext uri="{FF2B5EF4-FFF2-40B4-BE49-F238E27FC236}">
                <a16:creationId xmlns:a16="http://schemas.microsoft.com/office/drawing/2014/main" id="{A3EA0F56-39F1-68F7-ACA1-B3A7F3CB5752}"/>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5FABD56-7E30-471F-B77B-F411599753D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386537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72100B-6067-C7F5-6185-1BC3C7E678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9BCD94-30B3-3B16-4FD6-87FD9D904E6D}"/>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6D2A4CFB-C8BF-6B2E-8AAC-86E0380DBBDA}"/>
              </a:ext>
            </a:extLst>
          </p:cNvPr>
          <p:cNvSpPr>
            <a:spLocks noGrp="1"/>
          </p:cNvSpPr>
          <p:nvPr>
            <p:ph type="body" idx="1"/>
          </p:nvPr>
        </p:nvSpPr>
        <p:spPr/>
        <p:txBody>
          <a:bodyPr/>
          <a:lstStyle/>
          <a:p>
            <a:r>
              <a:rPr lang="fr-FR" dirty="0"/>
              <a:t>Le troisieme pilier est la Visibilite. Vous disposez d’analyses detaillees sur l’utilisation et la performance de vos agents, ce qui est essentiel pour mesurer le retour sur investissement.</a:t>
            </a:r>
          </a:p>
        </p:txBody>
      </p:sp>
      <p:sp>
        <p:nvSpPr>
          <p:cNvPr id="4" name="Slide Number Placeholder 3">
            <a:extLst>
              <a:ext uri="{FF2B5EF4-FFF2-40B4-BE49-F238E27FC236}">
                <a16:creationId xmlns:a16="http://schemas.microsoft.com/office/drawing/2014/main" id="{6028C974-B13B-69BF-DB57-2367FAC16F8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5FABD56-7E30-471F-B77B-F411599753D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561442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22CEF3-9FD7-5E4D-F4BB-D5D6708710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8EF919-2106-BEEF-4D24-A697EE0D9FD7}"/>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FF38731A-6195-1612-6B1E-F72E4EFEFE9B}"/>
              </a:ext>
            </a:extLst>
          </p:cNvPr>
          <p:cNvSpPr>
            <a:spLocks noGrp="1"/>
          </p:cNvSpPr>
          <p:nvPr>
            <p:ph type="body" idx="1"/>
          </p:nvPr>
        </p:nvSpPr>
        <p:spPr/>
        <p:txBody>
          <a:bodyPr/>
          <a:lstStyle/>
          <a:p>
            <a:r>
              <a:rPr lang="fr-FR" dirty="0"/>
              <a:t>Le quatrieme pilier est l’Interoperabilite. Il permet a vos agents d’accomplir des taches concretes en interagissant avec d’autres systemes et services de votre ecosysteme.</a:t>
            </a:r>
          </a:p>
        </p:txBody>
      </p:sp>
      <p:sp>
        <p:nvSpPr>
          <p:cNvPr id="4" name="Slide Number Placeholder 3">
            <a:extLst>
              <a:ext uri="{FF2B5EF4-FFF2-40B4-BE49-F238E27FC236}">
                <a16:creationId xmlns:a16="http://schemas.microsoft.com/office/drawing/2014/main" id="{539B578E-F20B-2D32-6B8F-15A2F601898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5FABD56-7E30-471F-B77B-F411599753D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835922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9DCC92-8A8A-9C6A-F44B-BE513C6042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A52214-9E39-3EA3-0A2B-FDB1448AC6D7}"/>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9B8EB919-5C09-E0D0-FDAF-C1F13D5176B5}"/>
              </a:ext>
            </a:extLst>
          </p:cNvPr>
          <p:cNvSpPr>
            <a:spLocks noGrp="1"/>
          </p:cNvSpPr>
          <p:nvPr>
            <p:ph type="body" idx="1"/>
          </p:nvPr>
        </p:nvSpPr>
        <p:spPr/>
        <p:txBody>
          <a:bodyPr/>
          <a:lstStyle/>
          <a:p>
            <a:r>
              <a:rPr lang="fr-FR" dirty="0"/>
              <a:t>Enfin, le cinquieme pilier est la Securite. Il couvre la protection des donnees et l’isolation des tenants. Vos donnees restent dans votre tenant, ne sont jamais utilisees pour entrainer des modeles, et ne quittent jamais votre organisation.</a:t>
            </a:r>
          </a:p>
        </p:txBody>
      </p:sp>
      <p:sp>
        <p:nvSpPr>
          <p:cNvPr id="4" name="Slide Number Placeholder 3">
            <a:extLst>
              <a:ext uri="{FF2B5EF4-FFF2-40B4-BE49-F238E27FC236}">
                <a16:creationId xmlns:a16="http://schemas.microsoft.com/office/drawing/2014/main" id="{DB62C373-7882-72C1-7D50-AED0267FAD06}"/>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5FABD56-7E30-471F-B77B-F411599753D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788864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Cette session est consacree a la gouvernance des agents dans l’ecosysteme Microsoft Copilot. Nous allons couvrir la gamme d’agents disponibles, les controles de gestion, la securite, et surtout la nouvelle plateforme Agent 365. Ce contenu est confidentiel Microsoft, merci de ne pas le redistribue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6105836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65D967-922F-E9BB-53EA-B9511541E0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C00868-BBD1-6383-E153-1452D838CB14}"/>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09411D14-AF87-CC6B-735B-30AB2B4266FF}"/>
              </a:ext>
            </a:extLst>
          </p:cNvPr>
          <p:cNvSpPr>
            <a:spLocks noGrp="1"/>
          </p:cNvSpPr>
          <p:nvPr>
            <p:ph type="body" idx="1"/>
          </p:nvPr>
        </p:nvSpPr>
        <p:spPr/>
        <p:txBody>
          <a:bodyPr/>
          <a:lstStyle/>
          <a:p>
            <a:r>
              <a:rPr lang="fr-FR" dirty="0"/>
              <a:t>Pour resumer, Agent 365 offre une vue unifiee de ces cinq piliers. C’est une plateforme complete qui vous donne le controle sur l’ensemble du cycle de vie de vos agents, de leur creation a leur surveillance en continu.</a:t>
            </a:r>
          </a:p>
        </p:txBody>
      </p:sp>
      <p:sp>
        <p:nvSpPr>
          <p:cNvPr id="4" name="Slide Number Placeholder 3">
            <a:extLst>
              <a:ext uri="{FF2B5EF4-FFF2-40B4-BE49-F238E27FC236}">
                <a16:creationId xmlns:a16="http://schemas.microsoft.com/office/drawing/2014/main" id="{85CD878A-C3FB-B21A-ED75-910FC7896FE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5FABD56-7E30-471F-B77B-F411599753D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79775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9D60C6-0396-8AB4-014C-D054077399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C5C5A6-CF77-75BB-E8D9-23704A56EDE1}"/>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BE42131C-AC8A-F8E9-0F3F-ABC5A1DDEBF6}"/>
              </a:ext>
            </a:extLst>
          </p:cNvPr>
          <p:cNvSpPr>
            <a:spLocks noGrp="1"/>
          </p:cNvSpPr>
          <p:nvPr>
            <p:ph type="body" idx="1"/>
          </p:nvPr>
        </p:nvSpPr>
        <p:spPr/>
        <p:txBody>
          <a:bodyPr/>
          <a:lstStyle/>
          <a:p>
            <a:r>
              <a:rPr lang="fr-FR" dirty="0"/>
              <a:t>Point important : tous les types d’agents peuvent etre actives pour Agent 365, qu’ils soient crees avec Agent Builder, SharePoint, Copilot Studios ou Azure AI Foundry. C’est une plateforme veritablement unifiee.</a:t>
            </a:r>
          </a:p>
        </p:txBody>
      </p:sp>
      <p:sp>
        <p:nvSpPr>
          <p:cNvPr id="4" name="Slide Number Placeholder 3">
            <a:extLst>
              <a:ext uri="{FF2B5EF4-FFF2-40B4-BE49-F238E27FC236}">
                <a16:creationId xmlns:a16="http://schemas.microsoft.com/office/drawing/2014/main" id="{C48BBE57-1D15-EF2B-2833-872AB42047C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5FABD56-7E30-471F-B77B-F411599753D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427136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Clarifions un malentendu courant. Agent 365 n’est pas simplement le centre d’administration Microsoft 365. C’est bien plus que cela. Ce n’est pas non plus un agent en soi, mais une plateforme de controle et de ges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13850175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1CAE87-4933-2F8E-78F0-F3D20E5087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6C9162-D79F-C5AD-7197-30DAE798BF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2E7048-068D-9187-A564-9E83DE5775E8}"/>
              </a:ext>
            </a:extLst>
          </p:cNvPr>
          <p:cNvSpPr>
            <a:spLocks noGrp="1"/>
          </p:cNvSpPr>
          <p:nvPr>
            <p:ph type="body" idx="1"/>
          </p:nvPr>
        </p:nvSpPr>
        <p:spPr/>
        <p:txBody>
          <a:bodyPr/>
          <a:lstStyle/>
          <a:p>
            <a:r>
              <a:rPr lang="fr-FR" dirty="0"/>
              <a:t>Agent 365 est une suite de gestion des agents complete et independante. Elle regroupe tous les outils necessaires pour administrer, securiser et surveiller vos agents a travers l’ensemble de votre organisation.</a:t>
            </a:r>
          </a:p>
        </p:txBody>
      </p:sp>
      <p:sp>
        <p:nvSpPr>
          <p:cNvPr id="4" name="Header Placeholder 3">
            <a:extLst>
              <a:ext uri="{FF2B5EF4-FFF2-40B4-BE49-F238E27FC236}">
                <a16:creationId xmlns:a16="http://schemas.microsoft.com/office/drawing/2014/main" id="{94F29674-966C-E934-99A8-ABED9967937B}"/>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a:extLst>
              <a:ext uri="{FF2B5EF4-FFF2-40B4-BE49-F238E27FC236}">
                <a16:creationId xmlns:a16="http://schemas.microsoft.com/office/drawing/2014/main" id="{8D073B5C-68E0-E1FE-A7E8-8FD4524A0710}"/>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fr-fr"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2014AD24-1136-B283-7318-1FB6EF576880}"/>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9/2026 9:38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a:extLst>
              <a:ext uri="{FF2B5EF4-FFF2-40B4-BE49-F238E27FC236}">
                <a16:creationId xmlns:a16="http://schemas.microsoft.com/office/drawing/2014/main" id="{4B258900-FFBA-7C4D-D0F2-6618141B230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35186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4D58C6-198D-4A9C-E71C-25320F7A31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24F127-AB1C-1196-B62F-895C2B437C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DC91B5-2A8B-D13D-D26F-753BAC90B05E}"/>
              </a:ext>
            </a:extLst>
          </p:cNvPr>
          <p:cNvSpPr>
            <a:spLocks noGrp="1"/>
          </p:cNvSpPr>
          <p:nvPr>
            <p:ph type="body" idx="1"/>
          </p:nvPr>
        </p:nvSpPr>
        <p:spPr/>
        <p:txBody>
          <a:bodyPr/>
          <a:lstStyle/>
          <a:p>
            <a:r>
              <a:rPr lang="fr-FR" dirty="0"/>
              <a:t>Voyons maintenant comment Agent 365 s’integre dans le centre d’administration Microsoft 365. Vous y retrouvez les controles de securite, la gestion des acces et la supervision des agents, le tout depuis une interface que vous connaissez deja.</a:t>
            </a:r>
          </a:p>
        </p:txBody>
      </p:sp>
      <p:sp>
        <p:nvSpPr>
          <p:cNvPr id="4" name="Slide Number Placeholder 3">
            <a:extLst>
              <a:ext uri="{FF2B5EF4-FFF2-40B4-BE49-F238E27FC236}">
                <a16:creationId xmlns:a16="http://schemas.microsoft.com/office/drawing/2014/main" id="{42535CEB-1A90-6240-A9AF-BA9C4143A8A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6464B-1106-4C47-8F8B-E8B84E916FAD}" type="slidenum">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CA"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882433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96973D-5B1A-B2A7-815B-C5FA61F2BC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F0B171-4D46-E601-B38A-56DEC2EF07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EADEAB-756E-A316-45BB-C3D566E6F550}"/>
              </a:ext>
            </a:extLst>
          </p:cNvPr>
          <p:cNvSpPr>
            <a:spLocks noGrp="1"/>
          </p:cNvSpPr>
          <p:nvPr>
            <p:ph type="body" idx="1"/>
          </p:nvPr>
        </p:nvSpPr>
        <p:spPr/>
        <p:txBody>
          <a:bodyPr/>
          <a:lstStyle/>
          <a:p>
            <a:r>
              <a:rPr lang="fr-FR" dirty="0"/>
              <a:t>Microsoft Purview joue un role cle dans la gouvernance des agents. Il permet aux equipes de securite de gerer les risques lies aux agents, notamment en matiere de conformite et de protection des informations sensibles.</a:t>
            </a:r>
          </a:p>
        </p:txBody>
      </p:sp>
      <p:sp>
        <p:nvSpPr>
          <p:cNvPr id="4" name="Slide Number Placeholder 3">
            <a:extLst>
              <a:ext uri="{FF2B5EF4-FFF2-40B4-BE49-F238E27FC236}">
                <a16:creationId xmlns:a16="http://schemas.microsoft.com/office/drawing/2014/main" id="{7CDF5163-F9DB-7F5E-29E9-EC0086BCBE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6464B-1106-4C47-8F8B-E8B84E916FAD}" type="slidenum">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CA"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090165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6883C6-E291-4586-DD52-88532F0DE6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624087-D2F9-7F30-4364-8FDE35AABB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EF43D6-B199-06F1-742D-C277C9AAAE72}"/>
              </a:ext>
            </a:extLst>
          </p:cNvPr>
          <p:cNvSpPr>
            <a:spLocks noGrp="1"/>
          </p:cNvSpPr>
          <p:nvPr>
            <p:ph type="body" idx="1"/>
          </p:nvPr>
        </p:nvSpPr>
        <p:spPr/>
        <p:txBody>
          <a:bodyPr/>
          <a:lstStyle/>
          <a:p>
            <a:r>
              <a:rPr lang="fr-FR" dirty="0"/>
              <a:t>La gouvernance responsable des donnees est au coeur de l’IA agentique. Il est essentiel de s’assurer que les agents n’accodent qu’aux donnees auxquelles ils sont autorises, et que toute interaction est tracee et auditable.</a:t>
            </a:r>
          </a:p>
        </p:txBody>
      </p:sp>
      <p:sp>
        <p:nvSpPr>
          <p:cNvPr id="4" name="Slide Number Placeholder 3">
            <a:extLst>
              <a:ext uri="{FF2B5EF4-FFF2-40B4-BE49-F238E27FC236}">
                <a16:creationId xmlns:a16="http://schemas.microsoft.com/office/drawing/2014/main" id="{C3E8582B-B5E0-B848-A5A1-012A75DE619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6464B-1106-4C47-8F8B-E8B84E916FAD}" type="slidenum">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CA"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151738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0120C3-16D9-1B2E-6CC2-0C9F1AEA13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890084-B266-FD86-68C6-F1AF930FA4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23CAFE6-ADDB-678F-519B-FC306B966F4C}"/>
              </a:ext>
            </a:extLst>
          </p:cNvPr>
          <p:cNvSpPr>
            <a:spLocks noGrp="1"/>
          </p:cNvSpPr>
          <p:nvPr>
            <p:ph type="body" idx="1"/>
          </p:nvPr>
        </p:nvSpPr>
        <p:spPr/>
        <p:txBody>
          <a:bodyPr/>
          <a:lstStyle/>
          <a:p>
            <a:r>
              <a:rPr lang="fr-FR" dirty="0"/>
              <a:t>Purview offre aux equipes de securite une vue centralisee pour gerer les risques lies aux agents. Cela inclut la detection des anomalies, le suivi des activites et la mise en place de politiques de prevention des pertes de donnees.</a:t>
            </a:r>
          </a:p>
        </p:txBody>
      </p:sp>
      <p:sp>
        <p:nvSpPr>
          <p:cNvPr id="4" name="Slide Number Placeholder 3">
            <a:extLst>
              <a:ext uri="{FF2B5EF4-FFF2-40B4-BE49-F238E27FC236}">
                <a16:creationId xmlns:a16="http://schemas.microsoft.com/office/drawing/2014/main" id="{F5ECE042-2A20-C3F3-0A1C-D9AFA728DB3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6464B-1106-4C47-8F8B-E8B84E916FAD}" type="slidenum">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CA"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288047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1EBAE7-2A38-081C-403C-16CDFF4840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F29465-FBA7-9DE2-736B-6343A45AFB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1E4180-E022-1C00-F9AD-D5859855BE51}"/>
              </a:ext>
            </a:extLst>
          </p:cNvPr>
          <p:cNvSpPr>
            <a:spLocks noGrp="1"/>
          </p:cNvSpPr>
          <p:nvPr>
            <p:ph type="body" idx="1"/>
          </p:nvPr>
        </p:nvSpPr>
        <p:spPr/>
        <p:txBody>
          <a:bodyPr/>
          <a:lstStyle/>
          <a:p>
            <a:r>
              <a:rPr lang="fr-FR" dirty="0"/>
              <a:t>Microsoft Defender entre en jeu pour proteger les services d’IA agentique. Il fournit une couche de securite supplementaire qui detecte et repond aux menaces en temps reel, assurant ainsi la protection de vos agents en production.</a:t>
            </a:r>
          </a:p>
        </p:txBody>
      </p:sp>
      <p:sp>
        <p:nvSpPr>
          <p:cNvPr id="4" name="Slide Number Placeholder 3">
            <a:extLst>
              <a:ext uri="{FF2B5EF4-FFF2-40B4-BE49-F238E27FC236}">
                <a16:creationId xmlns:a16="http://schemas.microsoft.com/office/drawing/2014/main" id="{120B0AA9-F8E9-7556-A81A-718D3A510A6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6464B-1106-4C47-8F8B-E8B84E916FAD}" type="slidenum">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CA"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875997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C24B9A-F617-A8AA-0BC5-75DE1F2111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229889-22F3-9EA3-7924-7928C414D0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B8272F-D86A-BE5F-B86C-F00E656EADB8}"/>
              </a:ext>
            </a:extLst>
          </p:cNvPr>
          <p:cNvSpPr>
            <a:spLocks noGrp="1"/>
          </p:cNvSpPr>
          <p:nvPr>
            <p:ph type="body" idx="1"/>
          </p:nvPr>
        </p:nvSpPr>
        <p:spPr/>
        <p:txBody>
          <a:bodyPr/>
          <a:lstStyle/>
          <a:p>
            <a:r>
              <a:rPr lang="fr-FR" dirty="0"/>
              <a:t>Pour conclure cette section sur Purview, retenez que la securite des agents est un effort continu. Les equipes de securite doivent avoir une visibilite totale sur les agents deployes et les donnees qu’ils manipulent, et Purview leur fournit exactement ces outils.</a:t>
            </a:r>
          </a:p>
        </p:txBody>
      </p:sp>
      <p:sp>
        <p:nvSpPr>
          <p:cNvPr id="4" name="Slide Number Placeholder 3">
            <a:extLst>
              <a:ext uri="{FF2B5EF4-FFF2-40B4-BE49-F238E27FC236}">
                <a16:creationId xmlns:a16="http://schemas.microsoft.com/office/drawing/2014/main" id="{8C50AE75-A32C-04C7-5BDD-B0966488623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6464B-1106-4C47-8F8B-E8B84E916FAD}" type="slidenum">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CA"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715972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F5A94C-404F-1B31-56F7-9D8A020861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A62563-E112-2CC1-7275-8B4EFC9D00A7}"/>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B2F559B2-2E9E-6601-18D7-6A9C6D5E4055}"/>
              </a:ext>
            </a:extLst>
          </p:cNvPr>
          <p:cNvSpPr>
            <a:spLocks noGrp="1"/>
          </p:cNvSpPr>
          <p:nvPr>
            <p:ph type="body" idx="1"/>
          </p:nvPr>
        </p:nvSpPr>
        <p:spPr/>
        <p:txBody>
          <a:bodyPr/>
          <a:lstStyle/>
          <a:p>
            <a:r>
              <a:rPr lang="fr-FR" dirty="0"/>
              <a:t>Permettez-moi de presenter nos intervenants aujourd’hui. Nous avons Theodore Golan, Ludivine Montaudoin et Bouthaina Chammakhi, tous architectes de solutions Cloud chez Microsoft. Chacun apporte une expertise complementaire sur la gouvernance et l’administration des agents.</a:t>
            </a:r>
          </a:p>
        </p:txBody>
      </p:sp>
      <p:sp>
        <p:nvSpPr>
          <p:cNvPr id="4" name="Header Placeholder 3">
            <a:extLst>
              <a:ext uri="{FF2B5EF4-FFF2-40B4-BE49-F238E27FC236}">
                <a16:creationId xmlns:a16="http://schemas.microsoft.com/office/drawing/2014/main" id="{CC2B816E-76D3-E934-B826-7870B84ACD09}"/>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4B63D3A9-F951-56B5-7F07-D1C247246240}"/>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fr-fr"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8E6642BB-FD85-FF46-D15C-229AC4D02380}"/>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9/2026 9: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5B41F45-408B-553D-9152-B40A4C24B5E1}"/>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80704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3D007-F278-B1C8-D7F9-36A69EE805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1ECC1C-FAD8-1EF5-E0B9-3F270CD6FB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5DE30C-2017-EAA1-4CE4-9EA3A4AE8450}"/>
              </a:ext>
            </a:extLst>
          </p:cNvPr>
          <p:cNvSpPr>
            <a:spLocks noGrp="1"/>
          </p:cNvSpPr>
          <p:nvPr>
            <p:ph type="body" idx="1"/>
          </p:nvPr>
        </p:nvSpPr>
        <p:spPr/>
        <p:txBody>
          <a:bodyPr/>
          <a:lstStyle/>
          <a:p>
            <a:r>
              <a:rPr lang="fr-FR" dirty="0"/>
              <a:t>Microsoft Entra vous permet de gérer les identités de vos agents exactement comme vous le faites pour vos utilisateurs et vos applications. Accès conditionnel, contrôles basés sur la localisation, visibilité complète sur l’ensemble des agents, quelle que soit la plateforme utilisée. C’est le même socle de sécurité Entra que vous connaissez déjà, étendu au monde des agents.</a:t>
            </a:r>
          </a:p>
        </p:txBody>
      </p:sp>
      <p:sp>
        <p:nvSpPr>
          <p:cNvPr id="4" name="Slide Number Placeholder 3">
            <a:extLst>
              <a:ext uri="{FF2B5EF4-FFF2-40B4-BE49-F238E27FC236}">
                <a16:creationId xmlns:a16="http://schemas.microsoft.com/office/drawing/2014/main" id="{5831D75E-2E9F-A42F-1B88-4581C63212B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6464B-1106-4C47-8F8B-E8B84E916FAD}" type="slidenum">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CA"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96919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C86ED7-5DAD-A301-DDDB-21D2EA02A5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4D5595-DBC5-450E-3E8E-14A5AD2FD1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8C2311-6CFE-4D09-FFC7-79255E2C14CE}"/>
              </a:ext>
            </a:extLst>
          </p:cNvPr>
          <p:cNvSpPr>
            <a:spLocks noGrp="1"/>
          </p:cNvSpPr>
          <p:nvPr>
            <p:ph type="body" idx="1"/>
          </p:nvPr>
        </p:nvSpPr>
        <p:spPr/>
        <p:txBody>
          <a:bodyPr/>
          <a:lstStyle/>
          <a:p>
            <a:r>
              <a:rPr lang="fr-FR" dirty="0"/>
              <a:t>Voici le système de contrôle global pour Copilot et les agents. Il regroupe l’ensemble des leviers à votre disposition pour encadrer l’utilisation, la création et le déploiement des agents dans votre organisation. On va détailler chacun de ces contrôles dans les slides qui suivent.</a:t>
            </a:r>
          </a:p>
        </p:txBody>
      </p:sp>
      <p:sp>
        <p:nvSpPr>
          <p:cNvPr id="4" name="Header Placeholder 3">
            <a:extLst>
              <a:ext uri="{FF2B5EF4-FFF2-40B4-BE49-F238E27FC236}">
                <a16:creationId xmlns:a16="http://schemas.microsoft.com/office/drawing/2014/main" id="{BAF8F1CB-5D64-AC1E-EA19-438B4CF781B3}"/>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5F682331-C03A-9AF8-5D64-EA4658577A2C}"/>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E089FB01-27D9-2F75-5BDF-12FA377195F4}"/>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B4A935CB-81F2-CA96-5CCB-C14B10D96922}"/>
              </a:ext>
            </a:extLst>
          </p:cNvPr>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38455394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On entre maintenant dans la partie contrôles de gestion. C’est ici qu’on va voir tous les outils concrets dont disposent les administrateurs pour encadrer le cycle de vie des agents au quotidie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23589847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Le registre des agents, c’est votre vue centralisée dans le centre d’administration M365. Vous y retrouvez tous les agents, qu’ils soient Microsoft, partenaires, créés par les utilisateurs ou publiés par l’organisation. </a:t>
            </a:r>
            <a:r>
              <a:rPr lang="fr-fr"/>
              <a:t>Les API Microsoft Graph sont </a:t>
            </a:r>
            <a:r>
              <a:rPr lang="fr-FR" dirty="0"/>
              <a:t>également </a:t>
            </a:r>
            <a:r>
              <a:rPr lang="fr-fr"/>
              <a:t>disponibles en préversion</a:t>
            </a:r>
            <a:r>
              <a:rPr lang="fr-FR" dirty="0"/>
              <a:t> pour automatiser la ges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2658346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167D65-89D8-03C9-0B32-5DF053E270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DC5312-4AF8-BE2E-56CC-28093459E9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521B9F-E76E-F302-44C3-DE9B43677B22}"/>
              </a:ext>
            </a:extLst>
          </p:cNvPr>
          <p:cNvSpPr>
            <a:spLocks noGrp="1"/>
          </p:cNvSpPr>
          <p:nvPr>
            <p:ph type="body" idx="1"/>
          </p:nvPr>
        </p:nvSpPr>
        <p:spPr/>
        <p:txBody>
          <a:bodyPr/>
          <a:lstStyle/>
          <a:p>
            <a:r>
              <a:rPr lang="fr-FR" dirty="0"/>
              <a:t>Quand un créateur publie un </a:t>
            </a:r>
            <a:r>
              <a:rPr lang="fr-fr"/>
              <a:t>agent </a:t>
            </a:r>
            <a:r>
              <a:rPr lang="fr-FR" dirty="0"/>
              <a:t>depuis Copilot Studios ou Agent Builder</a:t>
            </a:r>
            <a:r>
              <a:rPr lang="fr-fr"/>
              <a:t>, </a:t>
            </a:r>
            <a:r>
              <a:rPr lang="fr-FR" dirty="0"/>
              <a:t>l’administrateur reçoit </a:t>
            </a:r>
            <a:r>
              <a:rPr lang="fr-fr"/>
              <a:t>une notification et </a:t>
            </a:r>
            <a:r>
              <a:rPr lang="fr-FR" dirty="0"/>
              <a:t>peut </a:t>
            </a:r>
            <a:r>
              <a:rPr lang="fr-fr"/>
              <a:t>approuver ou rejeter </a:t>
            </a:r>
            <a:r>
              <a:rPr lang="fr-FR" dirty="0"/>
              <a:t>la </a:t>
            </a:r>
            <a:r>
              <a:rPr lang="fr-fr"/>
              <a:t>publication</a:t>
            </a:r>
            <a:r>
              <a:rPr lang="fr-FR" dirty="0"/>
              <a:t>. Il peut aussi modifier l’audience cible. C’est un contrôle continu</a:t>
            </a:r>
            <a:r>
              <a:rPr lang="fr-fr"/>
              <a:t>, </a:t>
            </a:r>
            <a:r>
              <a:rPr lang="fr-FR" dirty="0"/>
              <a:t>car chaque nouvelle version de l’agent nécessite une nouvelle approbation</a:t>
            </a:r>
            <a:r>
              <a:rPr lang="fr-fr"/>
              <a:t>.</a:t>
            </a:r>
            <a:endParaRPr lang="fr-FR" dirty="0"/>
          </a:p>
        </p:txBody>
      </p:sp>
      <p:sp>
        <p:nvSpPr>
          <p:cNvPr id="4" name="Header Placeholder 3">
            <a:extLst>
              <a:ext uri="{FF2B5EF4-FFF2-40B4-BE49-F238E27FC236}">
                <a16:creationId xmlns:a16="http://schemas.microsoft.com/office/drawing/2014/main" id="{E12D0C06-0571-63B5-B6E2-1B3B58E753C8}"/>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CD512300-D4B7-108D-CA8B-91B15E1ABC1C}"/>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F67BB99E-67F4-202F-1EE2-E94E4052D91B}"/>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DB4DA886-FA3D-82CE-37B9-BDCF2FB3CFAF}"/>
              </a:ext>
            </a:extLst>
          </p:cNvPr>
          <p:cNvSpPr>
            <a:spLocks noGrp="1"/>
          </p:cNvSpPr>
          <p:nvPr>
            <p:ph type="sldNum" sz="quarter" idx="5"/>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5795893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Dans les métadonnées </a:t>
            </a:r>
            <a:r>
              <a:rPr lang="fr-fr"/>
              <a:t>de </a:t>
            </a:r>
            <a:r>
              <a:rPr lang="fr-FR" dirty="0"/>
              <a:t>chaque agent, vous avez deux onglets clés. L’onglet vue d’ensemble affiche </a:t>
            </a:r>
            <a:r>
              <a:rPr lang="fr-fr"/>
              <a:t>l’éditeur, la version</a:t>
            </a:r>
            <a:r>
              <a:rPr lang="fr-FR" dirty="0"/>
              <a:t> et la description. L’onglet données et outils détaille </a:t>
            </a:r>
            <a:r>
              <a:rPr lang="fr-fr"/>
              <a:t>les capacités, les sources de connaissances et les </a:t>
            </a:r>
            <a:r>
              <a:rPr lang="fr-FR" dirty="0"/>
              <a:t>connecteurs utilisés</a:t>
            </a:r>
            <a:r>
              <a:rPr lang="fr-fr"/>
              <a:t>.</a:t>
            </a:r>
            <a:r>
              <a:rPr lang="fr-FR" dirty="0"/>
              <a:t> C’est essentiel </a:t>
            </a:r>
            <a:r>
              <a:rPr lang="fr-fr"/>
              <a:t>pour </a:t>
            </a:r>
            <a:r>
              <a:rPr lang="fr-FR" dirty="0"/>
              <a:t>évaluer ce qu’un agent peut réellement faire avant </a:t>
            </a:r>
            <a:r>
              <a:rPr lang="fr-fr"/>
              <a:t>de </a:t>
            </a:r>
            <a:r>
              <a:rPr lang="fr-FR" dirty="0"/>
              <a:t>l’approuver</a:t>
            </a:r>
            <a:r>
              <a:rPr lang="fr-fr"/>
              <a:t>.</a:t>
            </a:r>
            <a:endParaRPr lang="fr-FR"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25453161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0A1EA5-48CC-4606-A377-F1AF274480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AD8EC1-907D-689F-E65A-A9CA2E05C2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DD0B13-AC12-14D9-2ED0-14CDF7B34732}"/>
              </a:ext>
            </a:extLst>
          </p:cNvPr>
          <p:cNvSpPr>
            <a:spLocks noGrp="1"/>
          </p:cNvSpPr>
          <p:nvPr>
            <p:ph type="body" idx="1"/>
          </p:nvPr>
        </p:nvSpPr>
        <p:spPr/>
        <p:txBody>
          <a:bodyPr/>
          <a:lstStyle/>
          <a:p>
            <a:r>
              <a:rPr lang="fr-FR" dirty="0"/>
              <a:t>Depuis </a:t>
            </a:r>
            <a:r>
              <a:rPr lang="fr-fr"/>
              <a:t>le registre</a:t>
            </a:r>
            <a:r>
              <a:rPr lang="fr-FR" dirty="0"/>
              <a:t>, l’administrateur dispose de plusieurs actions</a:t>
            </a:r>
            <a:r>
              <a:rPr lang="fr-fr"/>
              <a:t>. </a:t>
            </a:r>
            <a:r>
              <a:rPr lang="fr-FR" dirty="0"/>
              <a:t>Supprimer un agent, le supprimer définitivement pour effacer les fichiers associés, le bloquer pour empêcher son utilisation sans le supprimer, réassigner le propriétaire si le créateur quitte l’organisation, </a:t>
            </a:r>
            <a:r>
              <a:rPr lang="fr-fr"/>
              <a:t>ou </a:t>
            </a:r>
            <a:r>
              <a:rPr lang="fr-FR" dirty="0"/>
              <a:t>encore exporter l’inventaire complet pour vos audits.</a:t>
            </a:r>
          </a:p>
        </p:txBody>
      </p:sp>
      <p:sp>
        <p:nvSpPr>
          <p:cNvPr id="4" name="Header Placeholder 3">
            <a:extLst>
              <a:ext uri="{FF2B5EF4-FFF2-40B4-BE49-F238E27FC236}">
                <a16:creationId xmlns:a16="http://schemas.microsoft.com/office/drawing/2014/main" id="{8FAFCC12-9D7E-E632-4E3F-3945B7C2D202}"/>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C20DE48C-3484-7791-EBF2-F525B666BDA4}"/>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962D6533-BBF4-D0EE-FF1C-45C779049111}"/>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8D972A9E-8A92-C70D-5BC7-813AA2B546D4}"/>
              </a:ext>
            </a:extLst>
          </p:cNvPr>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26877282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Vous pouvez contrôler qui peut créer et utiliser des </a:t>
            </a:r>
            <a:r>
              <a:rPr lang="fr-fr"/>
              <a:t>agents dans </a:t>
            </a:r>
            <a:r>
              <a:rPr lang="fr-FR" dirty="0"/>
              <a:t>Copilot</a:t>
            </a:r>
            <a:r>
              <a:rPr lang="fr-fr"/>
              <a:t> Chat, </a:t>
            </a:r>
            <a:r>
              <a:rPr lang="fr-FR" dirty="0"/>
              <a:t>avec trois options de granularité. Tous les utilisateurs, personne, ou des groupes spécifiques. Attention, si vous autorisez l’utilisation, la création suit automatiquement. Notez que les agents Recherche, Analyste et Designer restent disponibles </a:t>
            </a:r>
            <a:r>
              <a:rPr lang="fr-fr"/>
              <a:t>même </a:t>
            </a:r>
            <a:r>
              <a:rPr lang="fr-FR" dirty="0"/>
              <a:t>quand</a:t>
            </a:r>
            <a:r>
              <a:rPr lang="fr-fr"/>
              <a:t> les agents sont désactivés.</a:t>
            </a:r>
            <a:endParaRPr lang="fr-FR"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117920036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Vous pouvez contrôler quels types d’agents apparaissent dans le catalogue. Trois catégories sont disponibles. Les agents First Party de Microsoft, les agents Third Party d’éditeurs externes, et les agents Custom créés par votre organisation. Cela vous permet de filtrer précisément ce que vos utilisateurs voien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5716922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Concernant le partage des agents dans Agent Builder, vous pouvez bloquer le partage à l’échelle de l’organisation. Mais attention, les utilisateurs peuvent toujours partager un agent via un lien direct. C’est un point important à garder en tête dans votre stratégie de gouvernanc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40017024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Quelques regles pratiques pour cette session. Gardez votre micro coupe pendant la presentation. Pour vos questions, utilisez la section Q&amp;A du chat. Nous repondrons aux questions en direct ou a la fin de la session. Vous pouvez aussi lever la main si vous souhaitez interveni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6094684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La fonctionnalité Computer Use permet à l’agent Recherche d’utiliser un ordinateur virtuel pour interagir avec des sites web qui nécessitent une authentification ou des téléchargements. Vous pouvez configurer cette fonctionnalité par groupes d’utilisateurs et définir des listes d’URL autorisées ou bloqué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10926587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Les agents connectés permettent d’étendre les capacités de l’agent Recherche en le reliant à d’autres agents internes. Vous pouvez connecter jusqu’à 10 agents pour enrichir les réponses avec des données et des compétences spécifiques à votre organisa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235295936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B37E27-B937-3B24-B1C1-73789134E4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963474-1CFD-147D-4099-6DB8BA245E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E40780-E85C-0FD1-30CE-86458C0C7876}"/>
              </a:ext>
            </a:extLst>
          </p:cNvPr>
          <p:cNvSpPr>
            <a:spLocks noGrp="1"/>
          </p:cNvSpPr>
          <p:nvPr>
            <p:ph type="body" idx="1"/>
          </p:nvPr>
        </p:nvSpPr>
        <p:spPr/>
        <p:txBody>
          <a:bodyPr/>
          <a:lstStyle/>
          <a:p>
            <a:r>
              <a:rPr lang="fr-FR" dirty="0"/>
              <a:t>Les outils déterminent comment le modèle IA interagit avec les systèmes externes. C’est un concept fondamental à comprendre pour la gouvernance, car c’est par les outils que les agents accèdent aux données et exécutent des actions en dehors de leur périmètre natif.</a:t>
            </a:r>
          </a:p>
        </p:txBody>
      </p:sp>
      <p:sp>
        <p:nvSpPr>
          <p:cNvPr id="4" name="Header Placeholder 3">
            <a:extLst>
              <a:ext uri="{FF2B5EF4-FFF2-40B4-BE49-F238E27FC236}">
                <a16:creationId xmlns:a16="http://schemas.microsoft.com/office/drawing/2014/main" id="{2BBAD345-063D-92CD-481C-EE3D9E83AE8A}"/>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03C7E091-284F-4A19-7DF6-F6F86C6457F0}"/>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9AFB8F30-30C5-82CE-3DB4-0738A24E0708}"/>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49756A04-CBE0-B649-604F-A304A202564D}"/>
              </a:ext>
            </a:extLst>
          </p:cNvPr>
          <p:cNvSpPr>
            <a:spLocks noGrp="1"/>
          </p:cNvSpPr>
          <p:nvPr>
            <p:ph type="sldNum" sz="quarter" idx="5"/>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408739337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3B1797-62CB-BEAE-947A-5D7C4B61FD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93EA34-6B47-283C-6B3D-0A0DC05717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CF8FA0-6960-A6B0-99DC-1D1B5195412A}"/>
              </a:ext>
            </a:extLst>
          </p:cNvPr>
          <p:cNvSpPr>
            <a:spLocks noGrp="1"/>
          </p:cNvSpPr>
          <p:nvPr>
            <p:ph type="body" idx="1"/>
          </p:nvPr>
        </p:nvSpPr>
        <p:spPr/>
        <p:txBody>
          <a:bodyPr/>
          <a:lstStyle/>
          <a:p>
            <a:r>
              <a:rPr lang="fr-FR" dirty="0"/>
              <a:t>Vous pouvez épingler jusqu’à 3 agents dans la barre latérale de Copilot Chat. Par défaut, Researcher et Analyst sont déjà épinglés. Pensez à réserver des emplacements pour vos agents métier les plus importants afin qu’ils soient facilement accessibles pour vos utilisateurs.</a:t>
            </a:r>
          </a:p>
        </p:txBody>
      </p:sp>
      <p:sp>
        <p:nvSpPr>
          <p:cNvPr id="4" name="Header Placeholder 3">
            <a:extLst>
              <a:ext uri="{FF2B5EF4-FFF2-40B4-BE49-F238E27FC236}">
                <a16:creationId xmlns:a16="http://schemas.microsoft.com/office/drawing/2014/main" id="{DA68A509-1F25-4FB2-F849-8673C3C8BEA6}"/>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75FDF892-DE1B-1A1A-E0A3-06DCFE5C063E}"/>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E812E230-2243-CEEE-A023-3F00AE55B118}"/>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138B9149-CCC8-D714-24B4-0C4A6BFE7BA9}"/>
              </a:ext>
            </a:extLst>
          </p:cNvPr>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32640482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E3D4A4-77A1-FE82-3972-DBA4A74D7D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BE1C04-DADD-D457-BE1D-9167339B15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068E28-FFDF-54EB-7FC6-477C16A024F1}"/>
              </a:ext>
            </a:extLst>
          </p:cNvPr>
          <p:cNvSpPr>
            <a:spLocks noGrp="1"/>
          </p:cNvSpPr>
          <p:nvPr>
            <p:ph type="body" idx="1"/>
          </p:nvPr>
        </p:nvSpPr>
        <p:spPr/>
        <p:txBody>
          <a:bodyPr/>
          <a:lstStyle/>
          <a:p>
            <a:r>
              <a:rPr lang="fr-FR" dirty="0"/>
              <a:t>Les politiques de facturation à l’utilisation fonctionnent via un abonnement Azure en prérequis. Vous pouvez créer jusqu’à </a:t>
            </a:r>
            <a:r>
              <a:rPr lang="fr-fr"/>
              <a:t>10</a:t>
            </a:r>
            <a:r>
              <a:rPr lang="fr-FR" dirty="0"/>
              <a:t> politiques par tenant, ce qui permet de segmenter la facturation par département ou par groupe. C’est le modèle pay-as-you-go qui s’applique ici.</a:t>
            </a:r>
            <a:endParaRPr lang="fr-fr"/>
          </a:p>
        </p:txBody>
      </p:sp>
      <p:sp>
        <p:nvSpPr>
          <p:cNvPr id="4" name="Header Placeholder 3">
            <a:extLst>
              <a:ext uri="{FF2B5EF4-FFF2-40B4-BE49-F238E27FC236}">
                <a16:creationId xmlns:a16="http://schemas.microsoft.com/office/drawing/2014/main" id="{5D261F6A-F2E6-1D77-6978-23ED7E994D3C}"/>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F1363FE6-29A0-F6C2-6F90-51B17149220F}"/>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812A94C3-6BAF-226E-9D45-5AE0EDBC0CA0}"/>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4204CBC8-9C5F-B059-BAFF-6C0A732561D5}"/>
              </a:ext>
            </a:extLst>
          </p:cNvPr>
          <p:cNvSpPr>
            <a:spLocks noGrp="1"/>
          </p:cNvSpPr>
          <p:nvPr>
            <p:ph type="sldNum" sz="quarter" idx="5"/>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5208518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03B2AC-870B-D5A5-189F-395BA05C2F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51ADC6-FE0B-EE72-857F-FDEAA77083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7AB4C6-C200-0CE7-F4A3-B3ED2727F3F3}"/>
              </a:ext>
            </a:extLst>
          </p:cNvPr>
          <p:cNvSpPr>
            <a:spLocks noGrp="1"/>
          </p:cNvSpPr>
          <p:nvPr>
            <p:ph type="body" idx="1"/>
          </p:nvPr>
        </p:nvSpPr>
        <p:spPr/>
        <p:txBody>
          <a:bodyPr/>
          <a:lstStyle/>
          <a:p>
            <a:r>
              <a:rPr lang="fr-FR" dirty="0"/>
              <a:t>L’approche hybride vous permet de combiner des crédits prépayés Copilot avec la facturation à l’utilisation. Les crédits sont consommés en priorité, puis le système bascule automatiquement sur le pay-as-you-go. C’est une manière souple de gérer vos coûts tout en garantissant la continuité de service.</a:t>
            </a:r>
          </a:p>
        </p:txBody>
      </p:sp>
      <p:sp>
        <p:nvSpPr>
          <p:cNvPr id="4" name="Header Placeholder 3">
            <a:extLst>
              <a:ext uri="{FF2B5EF4-FFF2-40B4-BE49-F238E27FC236}">
                <a16:creationId xmlns:a16="http://schemas.microsoft.com/office/drawing/2014/main" id="{73788A92-A1C6-A5EE-3379-221BF3F35E6B}"/>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BEB78F8A-94DE-22EA-A512-43DBE7312F56}"/>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4FAA732E-3C73-3175-657E-F57AA1244BF3}"/>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413EAB20-ABB3-F3F5-4471-2BFDA651DCB6}"/>
              </a:ext>
            </a:extLst>
          </p:cNvPr>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9516269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E3423B-F586-028A-ACAC-DA46CEFDD9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396DA6-231A-EE55-8576-83F355C6D9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9DFA2F-3463-9A1D-8F23-DD27666891B8}"/>
              </a:ext>
            </a:extLst>
          </p:cNvPr>
          <p:cNvSpPr>
            <a:spLocks noGrp="1"/>
          </p:cNvSpPr>
          <p:nvPr>
            <p:ph type="body" idx="1"/>
          </p:nvPr>
        </p:nvSpPr>
        <p:spPr/>
        <p:txBody>
          <a:bodyPr/>
          <a:lstStyle/>
          <a:p>
            <a:r>
              <a:rPr lang="fr-FR" dirty="0"/>
              <a:t>Vous pouvez définir des limites budgétaires et recevoir des alertes par e-mail à des seuils configurables. On recommande de paramétrer des alertes à 80% et 90% du budget. Attention, l’alerte ne stoppe pas automatiquement l’agent, c’est un signal pour vous permettre d’intervenir.</a:t>
            </a:r>
          </a:p>
        </p:txBody>
      </p:sp>
      <p:sp>
        <p:nvSpPr>
          <p:cNvPr id="4" name="Header Placeholder 3">
            <a:extLst>
              <a:ext uri="{FF2B5EF4-FFF2-40B4-BE49-F238E27FC236}">
                <a16:creationId xmlns:a16="http://schemas.microsoft.com/office/drawing/2014/main" id="{9FBFCE75-D338-9FCE-2A55-BFF1ECC4D822}"/>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D5B1D6C0-A651-4064-DAFF-5CC4727A74A4}"/>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896EBB62-7589-78AE-8617-78C76FB9AA0E}"/>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1A310B16-E82D-376D-5349-A160037187DE}"/>
              </a:ext>
            </a:extLst>
          </p:cNvPr>
          <p:cNvSpPr>
            <a:spLocks noGrp="1"/>
          </p:cNvSpPr>
          <p:nvPr>
            <p:ph type="sldNum" sz="quarter" idx="5"/>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241922506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2F4C0E-B075-E2F4-26DE-271FDD26B3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5E3120-9EF8-618D-E535-0C17CC12BD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8C2547-E9F4-266E-D59F-93C0087BFCB5}"/>
              </a:ext>
            </a:extLst>
          </p:cNvPr>
          <p:cNvSpPr>
            <a:spLocks noGrp="1"/>
          </p:cNvSpPr>
          <p:nvPr>
            <p:ph type="body" idx="1"/>
          </p:nvPr>
        </p:nvSpPr>
        <p:spPr/>
        <p:txBody>
          <a:bodyPr/>
          <a:lstStyle/>
          <a:p>
            <a:r>
              <a:rPr lang="fr-FR" dirty="0"/>
              <a:t>Pour les agents créés dans Copilot Studio, la facturation se gère dans le Power Platform Admin Center. C’est la même logique pay-as-you-go, avec un maximum de </a:t>
            </a:r>
            <a:r>
              <a:rPr lang="fr-fr"/>
              <a:t>10</a:t>
            </a:r>
            <a:r>
              <a:rPr lang="fr-FR" dirty="0"/>
              <a:t> politiques de facturation. La gestion est séparée mais le principe reste identique.</a:t>
            </a:r>
            <a:endParaRPr lang="fr-fr"/>
          </a:p>
        </p:txBody>
      </p:sp>
      <p:sp>
        <p:nvSpPr>
          <p:cNvPr id="4" name="Header Placeholder 3">
            <a:extLst>
              <a:ext uri="{FF2B5EF4-FFF2-40B4-BE49-F238E27FC236}">
                <a16:creationId xmlns:a16="http://schemas.microsoft.com/office/drawing/2014/main" id="{377A2648-97CF-C537-F891-99E2CFCDEE29}"/>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DDFD6EB2-FF90-1536-A5D7-3BF57734F97A}"/>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9E7152CD-9DDD-B74F-C262-EE5B5395F4F9}"/>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0163758F-D1C3-0DBF-714D-6F561613CB09}"/>
              </a:ext>
            </a:extLst>
          </p:cNvPr>
          <p:cNvSpPr>
            <a:spLocks noGrp="1"/>
          </p:cNvSpPr>
          <p:nvPr>
            <p:ph type="sldNum" sz="quarter" idx="5"/>
          </p:nvPr>
        </p:nvSpPr>
        <p:spPr/>
        <p:txBody>
          <a:bodyPr/>
          <a:lstStyle/>
          <a:p>
            <a:fld id="{B4008EB6-D09E-4580-8CD6-DDB14511944F}" type="slidenum">
              <a:rPr lang="en-US" smtClean="0"/>
              <a:pPr/>
              <a:t>47</a:t>
            </a:fld>
            <a:endParaRPr lang="en-US"/>
          </a:p>
        </p:txBody>
      </p:sp>
    </p:spTree>
    <p:extLst>
      <p:ext uri="{BB962C8B-B14F-4D97-AF65-F5344CB8AC3E}">
        <p14:creationId xmlns:p14="http://schemas.microsoft.com/office/powerpoint/2010/main" val="227925796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A23664-DBB3-BB58-E31D-0894BCDDA0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FDD456-9E19-3329-C532-500123868E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A4B7E2-4F18-8D23-059A-AA65A8B5BAED}"/>
              </a:ext>
            </a:extLst>
          </p:cNvPr>
          <p:cNvSpPr>
            <a:spLocks noGrp="1"/>
          </p:cNvSpPr>
          <p:nvPr>
            <p:ph type="body" idx="1"/>
          </p:nvPr>
        </p:nvSpPr>
        <p:spPr/>
        <p:txBody>
          <a:bodyPr/>
          <a:lstStyle/>
          <a:p>
            <a:r>
              <a:rPr lang="fr-fr"/>
              <a:t>Les </a:t>
            </a:r>
            <a:r>
              <a:rPr lang="fr-FR" dirty="0"/>
              <a:t>environnements </a:t>
            </a:r>
            <a:r>
              <a:rPr lang="fr-fr"/>
              <a:t>Power Platform</a:t>
            </a:r>
            <a:r>
              <a:rPr lang="fr-FR" dirty="0"/>
              <a:t> sont des conteneurs </a:t>
            </a:r>
            <a:r>
              <a:rPr lang="fr-fr"/>
              <a:t>pour </a:t>
            </a:r>
            <a:r>
              <a:rPr lang="fr-FR" dirty="0"/>
              <a:t>vos </a:t>
            </a:r>
            <a:r>
              <a:rPr lang="fr-fr"/>
              <a:t>données et applications. Les agents </a:t>
            </a:r>
            <a:r>
              <a:rPr lang="fr-FR" dirty="0"/>
              <a:t>Copilot</a:t>
            </a:r>
            <a:r>
              <a:rPr lang="fr-fr"/>
              <a:t> Studio </a:t>
            </a:r>
            <a:r>
              <a:rPr lang="fr-FR" dirty="0"/>
              <a:t>y </a:t>
            </a:r>
            <a:r>
              <a:rPr lang="fr-fr"/>
              <a:t>sont </a:t>
            </a:r>
            <a:r>
              <a:rPr lang="fr-FR" dirty="0"/>
              <a:t>stockés </a:t>
            </a:r>
            <a:r>
              <a:rPr lang="fr-fr"/>
              <a:t>et </a:t>
            </a:r>
            <a:r>
              <a:rPr lang="fr-FR" dirty="0"/>
              <a:t>gérés</a:t>
            </a:r>
            <a:r>
              <a:rPr lang="fr-fr"/>
              <a:t>. Les environnements managés offrent des capacités de gouvernance premium, </a:t>
            </a:r>
            <a:r>
              <a:rPr lang="fr-FR" dirty="0"/>
              <a:t>et </a:t>
            </a:r>
            <a:r>
              <a:rPr lang="fr-fr"/>
              <a:t>les groupes d’environnements</a:t>
            </a:r>
            <a:r>
              <a:rPr lang="fr-FR" dirty="0"/>
              <a:t> permettent d’appliquer des règles à plusieurs </a:t>
            </a:r>
            <a:r>
              <a:rPr lang="fr-fr"/>
              <a:t>environnements </a:t>
            </a:r>
            <a:r>
              <a:rPr lang="fr-FR" dirty="0"/>
              <a:t>en même temps</a:t>
            </a:r>
            <a:r>
              <a:rPr lang="fr-fr"/>
              <a:t>.</a:t>
            </a:r>
            <a:endParaRPr lang="fr-FR" dirty="0"/>
          </a:p>
        </p:txBody>
      </p:sp>
      <p:sp>
        <p:nvSpPr>
          <p:cNvPr id="4" name="Header Placeholder 3">
            <a:extLst>
              <a:ext uri="{FF2B5EF4-FFF2-40B4-BE49-F238E27FC236}">
                <a16:creationId xmlns:a16="http://schemas.microsoft.com/office/drawing/2014/main" id="{5F850E07-837A-ED00-7489-A30D653F2003}"/>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4775901D-D5BA-B29A-B2EC-AF1F129A278C}"/>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4BE1F6BC-6B68-D606-2CB3-716CA8FD5F87}"/>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CC15C576-F3A3-5805-28B8-7F359D34B7EE}"/>
              </a:ext>
            </a:extLst>
          </p:cNvPr>
          <p:cNvSpPr>
            <a:spLocks noGrp="1"/>
          </p:cNvSpPr>
          <p:nvPr>
            <p:ph type="sldNum" sz="quarter" idx="5"/>
          </p:nvPr>
        </p:nvSpPr>
        <p:spPr/>
        <p:txBody>
          <a:bodyPr/>
          <a:lstStyle/>
          <a:p>
            <a:fld id="{B4008EB6-D09E-4580-8CD6-DDB14511944F}" type="slidenum">
              <a:rPr lang="en-US" smtClean="0"/>
              <a:pPr/>
              <a:t>48</a:t>
            </a:fld>
            <a:endParaRPr lang="en-US"/>
          </a:p>
        </p:txBody>
      </p:sp>
    </p:spTree>
    <p:extLst>
      <p:ext uri="{BB962C8B-B14F-4D97-AF65-F5344CB8AC3E}">
        <p14:creationId xmlns:p14="http://schemas.microsoft.com/office/powerpoint/2010/main" val="327950387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227394-A4B6-3B9F-F7DD-D6A724D77C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DCBEA6-E5BE-CA34-7388-F2FBAE0E4B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47505F-6EA1-6038-83BB-B027B2FABBB4}"/>
              </a:ext>
            </a:extLst>
          </p:cNvPr>
          <p:cNvSpPr>
            <a:spLocks noGrp="1"/>
          </p:cNvSpPr>
          <p:nvPr>
            <p:ph type="body" idx="1"/>
          </p:nvPr>
        </p:nvSpPr>
        <p:spPr/>
        <p:txBody>
          <a:bodyPr/>
          <a:lstStyle/>
          <a:p>
            <a:r>
              <a:rPr lang="fr-FR" dirty="0"/>
              <a:t>Pour le partage des </a:t>
            </a:r>
            <a:r>
              <a:rPr lang="fr-fr"/>
              <a:t>agents </a:t>
            </a:r>
            <a:r>
              <a:rPr lang="fr-FR" dirty="0"/>
              <a:t>Copilot</a:t>
            </a:r>
            <a:r>
              <a:rPr lang="fr-fr"/>
              <a:t> Studio</a:t>
            </a:r>
            <a:r>
              <a:rPr lang="fr-FR" dirty="0"/>
              <a:t>, vous disposez</a:t>
            </a:r>
            <a:r>
              <a:rPr lang="fr-fr"/>
              <a:t> de </a:t>
            </a:r>
            <a:r>
              <a:rPr lang="fr-FR" dirty="0"/>
              <a:t>quatre leviers. Contrôler les éditeurs, </a:t>
            </a:r>
            <a:r>
              <a:rPr lang="fr-fr"/>
              <a:t>les </a:t>
            </a:r>
            <a:r>
              <a:rPr lang="fr-FR" dirty="0"/>
              <a:t>lecteurs individuels</a:t>
            </a:r>
            <a:r>
              <a:rPr lang="fr-fr"/>
              <a:t>, les </a:t>
            </a:r>
            <a:r>
              <a:rPr lang="fr-FR" dirty="0"/>
              <a:t>groupes </a:t>
            </a:r>
            <a:r>
              <a:rPr lang="fr-fr"/>
              <a:t>de </a:t>
            </a:r>
            <a:r>
              <a:rPr lang="fr-FR" dirty="0"/>
              <a:t>sécurité</a:t>
            </a:r>
            <a:r>
              <a:rPr lang="fr-fr"/>
              <a:t>, et </a:t>
            </a:r>
            <a:r>
              <a:rPr lang="fr-FR" dirty="0"/>
              <a:t>définir </a:t>
            </a:r>
            <a:r>
              <a:rPr lang="fr-fr"/>
              <a:t>des </a:t>
            </a:r>
            <a:r>
              <a:rPr lang="fr-FR" dirty="0"/>
              <a:t>limites numériques</a:t>
            </a:r>
            <a:r>
              <a:rPr lang="fr-fr"/>
              <a:t>, </a:t>
            </a:r>
            <a:r>
              <a:rPr lang="fr-FR" dirty="0"/>
              <a:t>par exemple 50 lecteurs </a:t>
            </a:r>
            <a:r>
              <a:rPr lang="fr-fr"/>
              <a:t>maximum </a:t>
            </a:r>
            <a:r>
              <a:rPr lang="fr-FR" dirty="0"/>
              <a:t>par agent</a:t>
            </a:r>
            <a:r>
              <a:rPr lang="fr-fr"/>
              <a:t>.</a:t>
            </a:r>
            <a:r>
              <a:rPr lang="fr-FR" dirty="0"/>
              <a:t> Ces contrôles n’affectent pas </a:t>
            </a:r>
            <a:r>
              <a:rPr lang="fr-fr"/>
              <a:t>la publication dans le catalogue d’applications.</a:t>
            </a:r>
            <a:endParaRPr lang="fr-FR" dirty="0"/>
          </a:p>
        </p:txBody>
      </p:sp>
      <p:sp>
        <p:nvSpPr>
          <p:cNvPr id="4" name="Header Placeholder 3">
            <a:extLst>
              <a:ext uri="{FF2B5EF4-FFF2-40B4-BE49-F238E27FC236}">
                <a16:creationId xmlns:a16="http://schemas.microsoft.com/office/drawing/2014/main" id="{3E75BA03-D241-DDC3-B1FC-FD6C3F78D6CA}"/>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087397EA-6F36-CD5F-4E27-F67C93272251}"/>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C3A83BE2-CE17-B78B-1738-640083357D82}"/>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9FF4C278-25E7-3849-384B-AEAB0F6921AA}"/>
              </a:ext>
            </a:extLst>
          </p:cNvPr>
          <p:cNvSpPr>
            <a:spLocks noGrp="1"/>
          </p:cNvSpPr>
          <p:nvPr>
            <p:ph type="sldNum" sz="quarter" idx="5"/>
          </p:nvPr>
        </p:nvSpPr>
        <p:spPr/>
        <p:txBody>
          <a:bodyPr/>
          <a:lstStyle/>
          <a:p>
            <a:fld id="{B4008EB6-D09E-4580-8CD6-DDB14511944F}" type="slidenum">
              <a:rPr lang="en-US" smtClean="0"/>
              <a:pPr/>
              <a:t>49</a:t>
            </a:fld>
            <a:endParaRPr lang="en-US"/>
          </a:p>
        </p:txBody>
      </p:sp>
    </p:spTree>
    <p:extLst>
      <p:ext uri="{BB962C8B-B14F-4D97-AF65-F5344CB8AC3E}">
        <p14:creationId xmlns:p14="http://schemas.microsoft.com/office/powerpoint/2010/main" val="8442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Voici le programme de notre session. Nous commencerons par la gamme d’agents disponibles, puis nous aborderons les controles de gestion, la securite et la gouvernance, la mesure et le suivi, avant de plonger dans Agent 365 et les ressources util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31769519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739B8B-4D71-CE95-709C-9A0A7E5333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D725F4-8908-DE5A-96C3-5CA8DC367B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738221-9608-7988-4C87-298D77431874}"/>
              </a:ext>
            </a:extLst>
          </p:cNvPr>
          <p:cNvSpPr>
            <a:spLocks noGrp="1"/>
          </p:cNvSpPr>
          <p:nvPr>
            <p:ph type="body" idx="1"/>
          </p:nvPr>
        </p:nvSpPr>
        <p:spPr/>
        <p:txBody>
          <a:bodyPr/>
          <a:lstStyle/>
          <a:p>
            <a:r>
              <a:rPr lang="fr-FR" dirty="0"/>
              <a:t>Vous pouvez </a:t>
            </a:r>
            <a:r>
              <a:rPr lang="fr-fr"/>
              <a:t>contrôler </a:t>
            </a:r>
            <a:r>
              <a:rPr lang="fr-FR" dirty="0"/>
              <a:t>qui a accès </a:t>
            </a:r>
            <a:r>
              <a:rPr lang="fr-fr"/>
              <a:t>à </a:t>
            </a:r>
            <a:r>
              <a:rPr lang="fr-FR" dirty="0"/>
              <a:t>Copilot</a:t>
            </a:r>
            <a:r>
              <a:rPr lang="fr-fr"/>
              <a:t> Studio</a:t>
            </a:r>
            <a:r>
              <a:rPr lang="fr-FR" dirty="0"/>
              <a:t> grâce aux groupes de sécurité</a:t>
            </a:r>
            <a:r>
              <a:rPr lang="fr-fr"/>
              <a:t>. Comme toute personne disposant d’un compte Entra ID peut désormais créer des agents, </a:t>
            </a:r>
            <a:r>
              <a:rPr lang="fr-FR" dirty="0"/>
              <a:t>il est recommandé </a:t>
            </a:r>
            <a:r>
              <a:rPr lang="fr-fr"/>
              <a:t>de </a:t>
            </a:r>
            <a:r>
              <a:rPr lang="fr-FR" dirty="0"/>
              <a:t>restreindre cet </a:t>
            </a:r>
            <a:r>
              <a:rPr lang="fr-fr"/>
              <a:t>accès </a:t>
            </a:r>
            <a:r>
              <a:rPr lang="fr-FR" dirty="0"/>
              <a:t>avant d’ouvrir plus largement </a:t>
            </a:r>
            <a:r>
              <a:rPr lang="fr-fr"/>
              <a:t>à </a:t>
            </a:r>
            <a:r>
              <a:rPr lang="fr-FR" dirty="0"/>
              <a:t>l’organisation</a:t>
            </a:r>
            <a:r>
              <a:rPr lang="fr-fr"/>
              <a:t>.</a:t>
            </a:r>
            <a:endParaRPr lang="fr-FR" dirty="0"/>
          </a:p>
        </p:txBody>
      </p:sp>
      <p:sp>
        <p:nvSpPr>
          <p:cNvPr id="4" name="Header Placeholder 3">
            <a:extLst>
              <a:ext uri="{FF2B5EF4-FFF2-40B4-BE49-F238E27FC236}">
                <a16:creationId xmlns:a16="http://schemas.microsoft.com/office/drawing/2014/main" id="{2E23D4BB-51C9-BAED-A48D-B1EA3166DE92}"/>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A46752C1-A34A-3943-7C2C-3F55DE609428}"/>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315A3DD4-91D9-CB68-9817-54DD7A09DDDA}"/>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AF9852F0-229E-ED1E-06BB-4171A77184EE}"/>
              </a:ext>
            </a:extLst>
          </p:cNvPr>
          <p:cNvSpPr>
            <a:spLocks noGrp="1"/>
          </p:cNvSpPr>
          <p:nvPr>
            <p:ph type="sldNum" sz="quarter" idx="5"/>
          </p:nvPr>
        </p:nvSpPr>
        <p:spPr/>
        <p:txBody>
          <a:bodyPr/>
          <a:lstStyle/>
          <a:p>
            <a:fld id="{B4008EB6-D09E-4580-8CD6-DDB14511944F}" type="slidenum">
              <a:rPr lang="en-US" smtClean="0"/>
              <a:pPr/>
              <a:t>50</a:t>
            </a:fld>
            <a:endParaRPr lang="en-US"/>
          </a:p>
        </p:txBody>
      </p:sp>
    </p:spTree>
    <p:extLst>
      <p:ext uri="{BB962C8B-B14F-4D97-AF65-F5344CB8AC3E}">
        <p14:creationId xmlns:p14="http://schemas.microsoft.com/office/powerpoint/2010/main" val="208299730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8DAAB3-87FD-A7A5-F0CE-AE28538A5C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A6DF96-B323-1F10-92BB-7E92F14154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7D07BF-4A05-2192-5574-7023AA1C3076}"/>
              </a:ext>
            </a:extLst>
          </p:cNvPr>
          <p:cNvSpPr>
            <a:spLocks noGrp="1"/>
          </p:cNvSpPr>
          <p:nvPr>
            <p:ph type="body" idx="1"/>
          </p:nvPr>
        </p:nvSpPr>
        <p:spPr/>
        <p:txBody>
          <a:bodyPr/>
          <a:lstStyle/>
          <a:p>
            <a:r>
              <a:rPr lang="fr-FR" dirty="0"/>
              <a:t>Vous avez la possibilité </a:t>
            </a:r>
            <a:r>
              <a:rPr lang="fr-fr"/>
              <a:t>de </a:t>
            </a:r>
            <a:r>
              <a:rPr lang="fr-FR" dirty="0"/>
              <a:t>désactiver la publication d’agents avec des fonctionnalités IA. Cette option n’affecte pas les </a:t>
            </a:r>
            <a:r>
              <a:rPr lang="fr-fr"/>
              <a:t>utilisateurs disposant </a:t>
            </a:r>
            <a:r>
              <a:rPr lang="fr-FR" dirty="0"/>
              <a:t>déjà d’une </a:t>
            </a:r>
            <a:r>
              <a:rPr lang="fr-fr"/>
              <a:t>licence. </a:t>
            </a:r>
            <a:r>
              <a:rPr lang="fr-FR" dirty="0"/>
              <a:t>C’est </a:t>
            </a:r>
            <a:r>
              <a:rPr lang="fr-fr"/>
              <a:t>un </a:t>
            </a:r>
            <a:r>
              <a:rPr lang="fr-FR" dirty="0"/>
              <a:t>garde-fou utile pendant </a:t>
            </a:r>
            <a:r>
              <a:rPr lang="fr-fr"/>
              <a:t>la </a:t>
            </a:r>
            <a:r>
              <a:rPr lang="fr-FR" dirty="0"/>
              <a:t>phase de montée en charge</a:t>
            </a:r>
            <a:r>
              <a:rPr lang="fr-fr"/>
              <a:t>.</a:t>
            </a:r>
            <a:endParaRPr lang="fr-FR" dirty="0"/>
          </a:p>
        </p:txBody>
      </p:sp>
      <p:sp>
        <p:nvSpPr>
          <p:cNvPr id="4" name="Header Placeholder 3">
            <a:extLst>
              <a:ext uri="{FF2B5EF4-FFF2-40B4-BE49-F238E27FC236}">
                <a16:creationId xmlns:a16="http://schemas.microsoft.com/office/drawing/2014/main" id="{41019D81-F966-9564-D2BD-31FBD9D90598}"/>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6DFE5F66-35B8-D226-6F2B-4236FE8AD52A}"/>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AE9A3D4B-142D-293C-2859-FD48E2E72FEA}"/>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59AE980E-679C-36C6-BF66-6AF09BE7B01A}"/>
              </a:ext>
            </a:extLst>
          </p:cNvPr>
          <p:cNvSpPr>
            <a:spLocks noGrp="1"/>
          </p:cNvSpPr>
          <p:nvPr>
            <p:ph type="sldNum" sz="quarter" idx="5"/>
          </p:nvPr>
        </p:nvSpPr>
        <p:spPr/>
        <p:txBody>
          <a:bodyPr/>
          <a:lstStyle/>
          <a:p>
            <a:fld id="{B4008EB6-D09E-4580-8CD6-DDB14511944F}" type="slidenum">
              <a:rPr lang="en-US" smtClean="0"/>
              <a:pPr/>
              <a:t>51</a:t>
            </a:fld>
            <a:endParaRPr lang="en-US"/>
          </a:p>
        </p:txBody>
      </p:sp>
    </p:spTree>
    <p:extLst>
      <p:ext uri="{BB962C8B-B14F-4D97-AF65-F5344CB8AC3E}">
        <p14:creationId xmlns:p14="http://schemas.microsoft.com/office/powerpoint/2010/main" val="87124529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532C91-E857-863A-A60A-A61CA3A25A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9B7150-97BA-DD33-866C-1E229FB171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CFA4E6-76EA-A5DC-E5E2-F464F5DCD3D4}"/>
              </a:ext>
            </a:extLst>
          </p:cNvPr>
          <p:cNvSpPr>
            <a:spLocks noGrp="1"/>
          </p:cNvSpPr>
          <p:nvPr>
            <p:ph type="body" idx="1"/>
          </p:nvPr>
        </p:nvSpPr>
        <p:spPr/>
        <p:txBody>
          <a:bodyPr/>
          <a:lstStyle/>
          <a:p>
            <a:r>
              <a:rPr lang="fr-FR" dirty="0"/>
              <a:t>Le contrôle </a:t>
            </a:r>
            <a:r>
              <a:rPr lang="fr-fr"/>
              <a:t>des </a:t>
            </a:r>
            <a:r>
              <a:rPr lang="fr-FR" dirty="0"/>
              <a:t>requêtes IA vous </a:t>
            </a:r>
            <a:r>
              <a:rPr lang="fr-fr"/>
              <a:t>permet </a:t>
            </a:r>
            <a:r>
              <a:rPr lang="fr-FR" dirty="0"/>
              <a:t>d’encadrer ce que les </a:t>
            </a:r>
            <a:r>
              <a:rPr lang="fr-fr"/>
              <a:t>agents </a:t>
            </a:r>
            <a:r>
              <a:rPr lang="fr-FR" dirty="0"/>
              <a:t>peuvent faire avec les fonctionnalités d’intelligence artificielle</a:t>
            </a:r>
            <a:r>
              <a:rPr lang="fr-fr"/>
              <a:t>.</a:t>
            </a:r>
            <a:r>
              <a:rPr lang="fr-FR" dirty="0"/>
              <a:t> C’est </a:t>
            </a:r>
            <a:r>
              <a:rPr lang="fr-fr"/>
              <a:t>un </a:t>
            </a:r>
            <a:r>
              <a:rPr lang="fr-FR" dirty="0"/>
              <a:t>levier supplémentaire pour gérer </a:t>
            </a:r>
            <a:r>
              <a:rPr lang="fr-fr"/>
              <a:t>les </a:t>
            </a:r>
            <a:r>
              <a:rPr lang="fr-FR" dirty="0"/>
              <a:t>risques liés </a:t>
            </a:r>
            <a:r>
              <a:rPr lang="fr-fr"/>
              <a:t>à </a:t>
            </a:r>
            <a:r>
              <a:rPr lang="fr-FR" dirty="0"/>
              <a:t>l’utilisation de l’IA dans vos agents</a:t>
            </a:r>
            <a:r>
              <a:rPr lang="fr-fr"/>
              <a:t>.</a:t>
            </a:r>
            <a:endParaRPr lang="fr-FR" dirty="0"/>
          </a:p>
        </p:txBody>
      </p:sp>
      <p:sp>
        <p:nvSpPr>
          <p:cNvPr id="4" name="Header Placeholder 3">
            <a:extLst>
              <a:ext uri="{FF2B5EF4-FFF2-40B4-BE49-F238E27FC236}">
                <a16:creationId xmlns:a16="http://schemas.microsoft.com/office/drawing/2014/main" id="{900A623C-6999-C224-DBA5-3BAD98880598}"/>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2F445D7D-EE86-6EE4-2F0E-458C2FC5BEDC}"/>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520EB64C-57A1-283A-4BA4-78BF073B0B41}"/>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FF3D3CDD-6F77-B8ED-47BB-0C9F918F1F08}"/>
              </a:ext>
            </a:extLst>
          </p:cNvPr>
          <p:cNvSpPr>
            <a:spLocks noGrp="1"/>
          </p:cNvSpPr>
          <p:nvPr>
            <p:ph type="sldNum" sz="quarter" idx="5"/>
          </p:nvPr>
        </p:nvSpPr>
        <p:spPr/>
        <p:txBody>
          <a:bodyPr/>
          <a:lstStyle/>
          <a:p>
            <a:fld id="{B4008EB6-D09E-4580-8CD6-DDB14511944F}" type="slidenum">
              <a:rPr lang="en-US" smtClean="0"/>
              <a:pPr/>
              <a:t>52</a:t>
            </a:fld>
            <a:endParaRPr lang="en-US"/>
          </a:p>
        </p:txBody>
      </p:sp>
    </p:spTree>
    <p:extLst>
      <p:ext uri="{BB962C8B-B14F-4D97-AF65-F5344CB8AC3E}">
        <p14:creationId xmlns:p14="http://schemas.microsoft.com/office/powerpoint/2010/main" val="360234948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372DED-A307-0B73-D9A3-E3D1C77E30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D10AC2-D3E5-5375-F988-506CB96115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1FE543-9458-9E7B-564E-322D85A870AC}"/>
              </a:ext>
            </a:extLst>
          </p:cNvPr>
          <p:cNvSpPr>
            <a:spLocks noGrp="1"/>
          </p:cNvSpPr>
          <p:nvPr>
            <p:ph type="body" idx="1"/>
          </p:nvPr>
        </p:nvSpPr>
        <p:spPr/>
        <p:txBody>
          <a:bodyPr/>
          <a:lstStyle/>
          <a:p>
            <a:r>
              <a:rPr lang="fr-fr"/>
              <a:t>Les </a:t>
            </a:r>
            <a:r>
              <a:rPr lang="fr-FR" dirty="0"/>
              <a:t>paramètres </a:t>
            </a:r>
            <a:r>
              <a:rPr lang="fr-fr"/>
              <a:t>des agents </a:t>
            </a:r>
            <a:r>
              <a:rPr lang="fr-FR" dirty="0"/>
              <a:t>Copilot</a:t>
            </a:r>
            <a:r>
              <a:rPr lang="fr-fr"/>
              <a:t> Studio </a:t>
            </a:r>
            <a:r>
              <a:rPr lang="fr-FR" dirty="0"/>
              <a:t>se configurent au niveau </a:t>
            </a:r>
            <a:r>
              <a:rPr lang="fr-fr"/>
              <a:t>de </a:t>
            </a:r>
            <a:r>
              <a:rPr lang="fr-FR" dirty="0"/>
              <a:t>chaque environnement Power Platform. Vous pouvez ainsi adapter </a:t>
            </a:r>
            <a:r>
              <a:rPr lang="fr-fr"/>
              <a:t>les </a:t>
            </a:r>
            <a:r>
              <a:rPr lang="fr-FR" dirty="0"/>
              <a:t>règles de gouvernance en fonction du contexte de chaque environnement</a:t>
            </a:r>
            <a:r>
              <a:rPr lang="fr-fr"/>
              <a:t>.</a:t>
            </a:r>
            <a:endParaRPr lang="fr-FR" dirty="0"/>
          </a:p>
        </p:txBody>
      </p:sp>
      <p:sp>
        <p:nvSpPr>
          <p:cNvPr id="4" name="Header Placeholder 3">
            <a:extLst>
              <a:ext uri="{FF2B5EF4-FFF2-40B4-BE49-F238E27FC236}">
                <a16:creationId xmlns:a16="http://schemas.microsoft.com/office/drawing/2014/main" id="{467E91AA-E120-3607-9B06-A66A0F69B64E}"/>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570F15FC-2EED-29ED-3D34-933E7F10B2DF}"/>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569BF7B5-B8ED-291E-C0FB-CE49D502AA00}"/>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4C63E3EB-475A-3906-3465-B1F0B513632A}"/>
              </a:ext>
            </a:extLst>
          </p:cNvPr>
          <p:cNvSpPr>
            <a:spLocks noGrp="1"/>
          </p:cNvSpPr>
          <p:nvPr>
            <p:ph type="sldNum" sz="quarter" idx="5"/>
          </p:nvPr>
        </p:nvSpPr>
        <p:spPr/>
        <p:txBody>
          <a:bodyPr/>
          <a:lstStyle/>
          <a:p>
            <a:fld id="{B4008EB6-D09E-4580-8CD6-DDB14511944F}" type="slidenum">
              <a:rPr lang="en-US" smtClean="0"/>
              <a:pPr/>
              <a:t>53</a:t>
            </a:fld>
            <a:endParaRPr lang="en-US"/>
          </a:p>
        </p:txBody>
      </p:sp>
    </p:spTree>
    <p:extLst>
      <p:ext uri="{BB962C8B-B14F-4D97-AF65-F5344CB8AC3E}">
        <p14:creationId xmlns:p14="http://schemas.microsoft.com/office/powerpoint/2010/main" val="21313404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AD4EE9-0383-569A-3657-EA0096D771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563A52-BA29-F87A-A748-F809155D5C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D2A3A7-870E-00B8-CD8C-34432095F466}"/>
              </a:ext>
            </a:extLst>
          </p:cNvPr>
          <p:cNvSpPr>
            <a:spLocks noGrp="1"/>
          </p:cNvSpPr>
          <p:nvPr>
            <p:ph type="body" idx="1"/>
          </p:nvPr>
        </p:nvSpPr>
        <p:spPr/>
        <p:txBody>
          <a:bodyPr/>
          <a:lstStyle/>
          <a:p>
            <a:r>
              <a:rPr lang="fr-FR" dirty="0"/>
              <a:t>Vous pouvez </a:t>
            </a:r>
            <a:r>
              <a:rPr lang="fr-fr"/>
              <a:t>contrôler </a:t>
            </a:r>
            <a:r>
              <a:rPr lang="fr-FR" dirty="0"/>
              <a:t>les modèles </a:t>
            </a:r>
            <a:r>
              <a:rPr lang="fr-fr"/>
              <a:t>de </a:t>
            </a:r>
            <a:r>
              <a:rPr lang="fr-FR" dirty="0"/>
              <a:t>langage utilisés par vos </a:t>
            </a:r>
            <a:r>
              <a:rPr lang="fr-fr"/>
              <a:t>agents.</a:t>
            </a:r>
            <a:r>
              <a:rPr lang="fr-FR" dirty="0"/>
              <a:t> Activez ou désactivez les modèles en préversion </a:t>
            </a:r>
            <a:r>
              <a:rPr lang="fr-fr"/>
              <a:t>ou </a:t>
            </a:r>
            <a:r>
              <a:rPr lang="fr-FR" dirty="0"/>
              <a:t>expérimentaux</a:t>
            </a:r>
            <a:r>
              <a:rPr lang="fr-fr"/>
              <a:t>, les </a:t>
            </a:r>
            <a:r>
              <a:rPr lang="fr-FR" dirty="0"/>
              <a:t>modèles externes, et les modèles Anthropic selon votre politique de sécurité et de conformité</a:t>
            </a:r>
            <a:r>
              <a:rPr lang="fr-fr"/>
              <a:t>.</a:t>
            </a:r>
            <a:endParaRPr lang="fr-FR" dirty="0"/>
          </a:p>
        </p:txBody>
      </p:sp>
      <p:sp>
        <p:nvSpPr>
          <p:cNvPr id="4" name="Header Placeholder 3">
            <a:extLst>
              <a:ext uri="{FF2B5EF4-FFF2-40B4-BE49-F238E27FC236}">
                <a16:creationId xmlns:a16="http://schemas.microsoft.com/office/drawing/2014/main" id="{72A51388-B9F3-43F2-AD8C-7960D3D604D9}"/>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72059116-D057-B9A9-06D3-5E9F055A6269}"/>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D2B692E0-31B1-4ADE-8DD5-22C4D26D6B6C}"/>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B2F460FE-C6A0-3095-4CD0-D4CFF32F5CAF}"/>
              </a:ext>
            </a:extLst>
          </p:cNvPr>
          <p:cNvSpPr>
            <a:spLocks noGrp="1"/>
          </p:cNvSpPr>
          <p:nvPr>
            <p:ph type="sldNum" sz="quarter" idx="5"/>
          </p:nvPr>
        </p:nvSpPr>
        <p:spPr/>
        <p:txBody>
          <a:bodyPr/>
          <a:lstStyle/>
          <a:p>
            <a:fld id="{B4008EB6-D09E-4580-8CD6-DDB14511944F}" type="slidenum">
              <a:rPr lang="en-US" smtClean="0"/>
              <a:pPr/>
              <a:t>54</a:t>
            </a:fld>
            <a:endParaRPr lang="en-US"/>
          </a:p>
        </p:txBody>
      </p:sp>
    </p:spTree>
    <p:extLst>
      <p:ext uri="{BB962C8B-B14F-4D97-AF65-F5344CB8AC3E}">
        <p14:creationId xmlns:p14="http://schemas.microsoft.com/office/powerpoint/2010/main" val="206792231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EF557F-B420-9C90-E310-53793CA114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13F6E6-F4AC-0466-E181-5246A5053F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D1489C-7A65-AADF-D997-8342557583A3}"/>
              </a:ext>
            </a:extLst>
          </p:cNvPr>
          <p:cNvSpPr>
            <a:spLocks noGrp="1"/>
          </p:cNvSpPr>
          <p:nvPr>
            <p:ph type="body" idx="1"/>
          </p:nvPr>
        </p:nvSpPr>
        <p:spPr/>
        <p:txBody>
          <a:bodyPr/>
          <a:lstStyle/>
          <a:p>
            <a:r>
              <a:rPr lang="fr-FR" dirty="0"/>
              <a:t>Voici un récapitulatif des cinq </a:t>
            </a:r>
            <a:r>
              <a:rPr lang="fr-fr"/>
              <a:t>contrôles </a:t>
            </a:r>
            <a:r>
              <a:rPr lang="fr-FR" dirty="0"/>
              <a:t>clés de Copilot Studio. Computer Use, l’identité Entra des agents qui est automatique, la génération et l’exécution de code, </a:t>
            </a:r>
            <a:r>
              <a:rPr lang="fr-fr"/>
              <a:t>les </a:t>
            </a:r>
            <a:r>
              <a:rPr lang="fr-FR" dirty="0"/>
              <a:t>agents connectés, et le navigateur hébergé. Chacun de ces contrôles peut être activé ou désactivé selon vos besoins</a:t>
            </a:r>
            <a:r>
              <a:rPr lang="fr-fr"/>
              <a:t>.</a:t>
            </a:r>
            <a:endParaRPr lang="fr-FR" dirty="0"/>
          </a:p>
        </p:txBody>
      </p:sp>
      <p:sp>
        <p:nvSpPr>
          <p:cNvPr id="4" name="Header Placeholder 3">
            <a:extLst>
              <a:ext uri="{FF2B5EF4-FFF2-40B4-BE49-F238E27FC236}">
                <a16:creationId xmlns:a16="http://schemas.microsoft.com/office/drawing/2014/main" id="{0055938E-4837-14F6-9661-D53955F6E753}"/>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147C568A-2220-1823-2FE0-1C1093E6BABE}"/>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DF087BE5-1B24-74DF-4B99-923A06800A66}"/>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6F455429-D117-7B95-CA46-431650014D10}"/>
              </a:ext>
            </a:extLst>
          </p:cNvPr>
          <p:cNvSpPr>
            <a:spLocks noGrp="1"/>
          </p:cNvSpPr>
          <p:nvPr>
            <p:ph type="sldNum" sz="quarter" idx="5"/>
          </p:nvPr>
        </p:nvSpPr>
        <p:spPr/>
        <p:txBody>
          <a:bodyPr/>
          <a:lstStyle/>
          <a:p>
            <a:fld id="{B4008EB6-D09E-4580-8CD6-DDB14511944F}" type="slidenum">
              <a:rPr lang="en-US" smtClean="0"/>
              <a:pPr/>
              <a:t>55</a:t>
            </a:fld>
            <a:endParaRPr lang="en-US"/>
          </a:p>
        </p:txBody>
      </p:sp>
    </p:spTree>
    <p:extLst>
      <p:ext uri="{BB962C8B-B14F-4D97-AF65-F5344CB8AC3E}">
        <p14:creationId xmlns:p14="http://schemas.microsoft.com/office/powerpoint/2010/main" val="323024662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0A04F6-979C-89E3-BED8-E8C28E21AC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FEDD6B-5E3B-2B5F-1735-67DE6DB4B1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DF6C4B-B053-77A8-78F0-CA5185524E74}"/>
              </a:ext>
            </a:extLst>
          </p:cNvPr>
          <p:cNvSpPr>
            <a:spLocks noGrp="1"/>
          </p:cNvSpPr>
          <p:nvPr>
            <p:ph type="body" idx="1"/>
          </p:nvPr>
        </p:nvSpPr>
        <p:spPr/>
        <p:txBody>
          <a:bodyPr/>
          <a:lstStyle/>
          <a:p>
            <a:r>
              <a:rPr lang="fr-FR" dirty="0"/>
              <a:t>Vous pouvez définir des limites de crédits par agent individuel pour piloter finement les coûts. Le suivi de consommation est en temps réel et vous pouvez configurer une désactivation automatique quand le seuil est atteint.</a:t>
            </a:r>
          </a:p>
        </p:txBody>
      </p:sp>
      <p:sp>
        <p:nvSpPr>
          <p:cNvPr id="4" name="Header Placeholder 3">
            <a:extLst>
              <a:ext uri="{FF2B5EF4-FFF2-40B4-BE49-F238E27FC236}">
                <a16:creationId xmlns:a16="http://schemas.microsoft.com/office/drawing/2014/main" id="{89126B0E-3C1D-B92E-15EB-C59EDAF9D627}"/>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56190115-7682-070A-4E15-14E81EA42BDA}"/>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09239C04-84AE-0FFF-47DF-C315D3C58602}"/>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9223E241-5E56-ED66-FBDF-79FF2422A3A2}"/>
              </a:ext>
            </a:extLst>
          </p:cNvPr>
          <p:cNvSpPr>
            <a:spLocks noGrp="1"/>
          </p:cNvSpPr>
          <p:nvPr>
            <p:ph type="sldNum" sz="quarter" idx="5"/>
          </p:nvPr>
        </p:nvSpPr>
        <p:spPr/>
        <p:txBody>
          <a:bodyPr/>
          <a:lstStyle/>
          <a:p>
            <a:fld id="{B4008EB6-D09E-4580-8CD6-DDB14511944F}" type="slidenum">
              <a:rPr lang="en-US" smtClean="0"/>
              <a:pPr/>
              <a:t>56</a:t>
            </a:fld>
            <a:endParaRPr lang="en-US"/>
          </a:p>
        </p:txBody>
      </p:sp>
    </p:spTree>
    <p:extLst>
      <p:ext uri="{BB962C8B-B14F-4D97-AF65-F5344CB8AC3E}">
        <p14:creationId xmlns:p14="http://schemas.microsoft.com/office/powerpoint/2010/main" val="94154999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4EC790-D262-A388-CADB-C0328C65A1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BE3E8B-B6F6-941F-0890-37E580BED0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FC7516-1045-7D03-A1D9-046C5160A8F8}"/>
              </a:ext>
            </a:extLst>
          </p:cNvPr>
          <p:cNvSpPr>
            <a:spLocks noGrp="1"/>
          </p:cNvSpPr>
          <p:nvPr>
            <p:ph type="body" idx="1"/>
          </p:nvPr>
        </p:nvSpPr>
        <p:spPr/>
        <p:txBody>
          <a:bodyPr/>
          <a:lstStyle/>
          <a:p>
            <a:r>
              <a:rPr lang="fr-FR" dirty="0"/>
              <a:t>La mise en quarantaine </a:t>
            </a:r>
            <a:r>
              <a:rPr lang="fr-fr"/>
              <a:t>est </a:t>
            </a:r>
            <a:r>
              <a:rPr lang="fr-FR" dirty="0"/>
              <a:t>un outil à disposition des administrateurs </a:t>
            </a:r>
            <a:r>
              <a:rPr lang="fr-fr"/>
              <a:t>dans </a:t>
            </a:r>
            <a:r>
              <a:rPr lang="fr-FR" dirty="0"/>
              <a:t>Copilot Studio</a:t>
            </a:r>
            <a:r>
              <a:rPr lang="fr-fr"/>
              <a:t>.</a:t>
            </a:r>
            <a:r>
              <a:rPr lang="fr-FR" dirty="0"/>
              <a:t> Elle permet d’isoler un agent problématique sans </a:t>
            </a:r>
            <a:r>
              <a:rPr lang="fr-fr"/>
              <a:t>le </a:t>
            </a:r>
            <a:r>
              <a:rPr lang="fr-FR" dirty="0"/>
              <a:t>supprimer</a:t>
            </a:r>
            <a:r>
              <a:rPr lang="fr-fr"/>
              <a:t>, le </a:t>
            </a:r>
            <a:r>
              <a:rPr lang="fr-FR" dirty="0"/>
              <a:t>temps d’investiguer </a:t>
            </a:r>
            <a:r>
              <a:rPr lang="fr-fr"/>
              <a:t>et </a:t>
            </a:r>
            <a:r>
              <a:rPr lang="fr-FR" dirty="0"/>
              <a:t>de corriger </a:t>
            </a:r>
            <a:r>
              <a:rPr lang="fr-fr"/>
              <a:t>le </a:t>
            </a:r>
            <a:r>
              <a:rPr lang="fr-FR" dirty="0"/>
              <a:t>problème</a:t>
            </a:r>
            <a:r>
              <a:rPr lang="fr-fr"/>
              <a:t>.</a:t>
            </a:r>
            <a:endParaRPr lang="fr-FR" dirty="0"/>
          </a:p>
        </p:txBody>
      </p:sp>
      <p:sp>
        <p:nvSpPr>
          <p:cNvPr id="4" name="Header Placeholder 3">
            <a:extLst>
              <a:ext uri="{FF2B5EF4-FFF2-40B4-BE49-F238E27FC236}">
                <a16:creationId xmlns:a16="http://schemas.microsoft.com/office/drawing/2014/main" id="{B105C0B1-50EB-86E1-800F-F3E8936699FF}"/>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ED709AF9-7D9D-5A0A-0875-24C40B50143B}"/>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6A46942C-7646-43E1-FA17-BDA691B29979}"/>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BE61B7F5-A582-CE6C-AC00-09817711F90C}"/>
              </a:ext>
            </a:extLst>
          </p:cNvPr>
          <p:cNvSpPr>
            <a:spLocks noGrp="1"/>
          </p:cNvSpPr>
          <p:nvPr>
            <p:ph type="sldNum" sz="quarter" idx="5"/>
          </p:nvPr>
        </p:nvSpPr>
        <p:spPr/>
        <p:txBody>
          <a:bodyPr/>
          <a:lstStyle/>
          <a:p>
            <a:fld id="{B4008EB6-D09E-4580-8CD6-DDB14511944F}" type="slidenum">
              <a:rPr lang="en-US" smtClean="0"/>
              <a:pPr/>
              <a:t>57</a:t>
            </a:fld>
            <a:endParaRPr lang="en-US"/>
          </a:p>
        </p:txBody>
      </p:sp>
    </p:spTree>
    <p:extLst>
      <p:ext uri="{BB962C8B-B14F-4D97-AF65-F5344CB8AC3E}">
        <p14:creationId xmlns:p14="http://schemas.microsoft.com/office/powerpoint/2010/main" val="88491536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1497B6-A283-8D73-6EE2-695B9049A2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7DAA65-E151-6CDE-47BF-82E7F7E3B9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C4973D-ED5C-5010-6A42-265D007F7FB0}"/>
              </a:ext>
            </a:extLst>
          </p:cNvPr>
          <p:cNvSpPr>
            <a:spLocks noGrp="1"/>
          </p:cNvSpPr>
          <p:nvPr>
            <p:ph type="body" idx="1"/>
          </p:nvPr>
        </p:nvSpPr>
        <p:spPr/>
        <p:txBody>
          <a:bodyPr/>
          <a:lstStyle/>
          <a:p>
            <a:r>
              <a:rPr lang="fr-fr"/>
              <a:t>SharePoint </a:t>
            </a:r>
            <a:r>
              <a:rPr lang="fr-FR" dirty="0"/>
              <a:t>Advanced Management </a:t>
            </a:r>
            <a:r>
              <a:rPr lang="fr-fr"/>
              <a:t>offre </a:t>
            </a:r>
            <a:r>
              <a:rPr lang="fr-FR" dirty="0"/>
              <a:t>trois </a:t>
            </a:r>
            <a:r>
              <a:rPr lang="fr-fr"/>
              <a:t>fonctionnalités </a:t>
            </a:r>
            <a:r>
              <a:rPr lang="fr-FR" dirty="0"/>
              <a:t>essentielles. La découverte de contenu limitée rend le </a:t>
            </a:r>
            <a:r>
              <a:rPr lang="fr-fr"/>
              <a:t>contenu </a:t>
            </a:r>
            <a:r>
              <a:rPr lang="fr-FR" dirty="0"/>
              <a:t>invisible pour Copilot </a:t>
            </a:r>
            <a:r>
              <a:rPr lang="fr-fr"/>
              <a:t>et la recherche.</a:t>
            </a:r>
            <a:r>
              <a:rPr lang="fr-FR" dirty="0"/>
              <a:t> Le contrôle d’accès restreint limite </a:t>
            </a:r>
            <a:r>
              <a:rPr lang="fr-fr"/>
              <a:t>l’accès aux membres </a:t>
            </a:r>
            <a:r>
              <a:rPr lang="fr-FR" dirty="0"/>
              <a:t>désignés</a:t>
            </a:r>
            <a:r>
              <a:rPr lang="fr-fr"/>
              <a:t>. </a:t>
            </a:r>
            <a:r>
              <a:rPr lang="fr-FR" dirty="0"/>
              <a:t>Et </a:t>
            </a:r>
            <a:r>
              <a:rPr lang="fr-fr"/>
              <a:t>les </a:t>
            </a:r>
            <a:r>
              <a:rPr lang="fr-FR" dirty="0"/>
              <a:t>rapports de gouvernance </a:t>
            </a:r>
            <a:r>
              <a:rPr lang="fr-fr"/>
              <a:t>des </a:t>
            </a:r>
            <a:r>
              <a:rPr lang="fr-FR" dirty="0"/>
              <a:t>données identifient </a:t>
            </a:r>
            <a:r>
              <a:rPr lang="fr-fr"/>
              <a:t>les sites </a:t>
            </a:r>
            <a:r>
              <a:rPr lang="fr-FR" dirty="0"/>
              <a:t>surexposés pour vos audits</a:t>
            </a:r>
            <a:r>
              <a:rPr lang="fr-fr"/>
              <a:t>.</a:t>
            </a:r>
            <a:endParaRPr lang="fr-FR" dirty="0"/>
          </a:p>
        </p:txBody>
      </p:sp>
      <p:sp>
        <p:nvSpPr>
          <p:cNvPr id="4" name="Header Placeholder 3">
            <a:extLst>
              <a:ext uri="{FF2B5EF4-FFF2-40B4-BE49-F238E27FC236}">
                <a16:creationId xmlns:a16="http://schemas.microsoft.com/office/drawing/2014/main" id="{E10DF7E8-A0E9-F161-9737-FAA63D3DFD43}"/>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90B457AD-2833-9DF0-6CD0-C579DCEBEC9A}"/>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D0663F70-CB27-D644-D94B-809A935DF7A8}"/>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CEC357CE-7380-BF32-F072-079C25336E30}"/>
              </a:ext>
            </a:extLst>
          </p:cNvPr>
          <p:cNvSpPr>
            <a:spLocks noGrp="1"/>
          </p:cNvSpPr>
          <p:nvPr>
            <p:ph type="sldNum" sz="quarter" idx="5"/>
          </p:nvPr>
        </p:nvSpPr>
        <p:spPr/>
        <p:txBody>
          <a:bodyPr/>
          <a:lstStyle/>
          <a:p>
            <a:fld id="{B4008EB6-D09E-4580-8CD6-DDB14511944F}" type="slidenum">
              <a:rPr lang="en-US" smtClean="0"/>
              <a:pPr/>
              <a:t>58</a:t>
            </a:fld>
            <a:endParaRPr lang="en-US"/>
          </a:p>
        </p:txBody>
      </p:sp>
    </p:spTree>
    <p:extLst>
      <p:ext uri="{BB962C8B-B14F-4D97-AF65-F5344CB8AC3E}">
        <p14:creationId xmlns:p14="http://schemas.microsoft.com/office/powerpoint/2010/main" val="426605132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A64E0F-CD81-92A6-8875-36732ECC4E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604797-2EBF-39AD-5D58-5B2594A327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45D491-E2E7-4B87-2C36-8CFAD310ED49}"/>
              </a:ext>
            </a:extLst>
          </p:cNvPr>
          <p:cNvSpPr>
            <a:spLocks noGrp="1"/>
          </p:cNvSpPr>
          <p:nvPr>
            <p:ph type="body" idx="1"/>
          </p:nvPr>
        </p:nvSpPr>
        <p:spPr/>
        <p:txBody>
          <a:bodyPr/>
          <a:lstStyle/>
          <a:p>
            <a:r>
              <a:rPr lang="fr-FR" dirty="0"/>
              <a:t>Les agents peuvent exploiter du contenu web public pour enrichir leurs réponses. Si vous souhaitez limiter ou désactiver cette fonctionnalité, les administrateurs peuvent configurer une stratégie de recherche web via config.office.com pour contrôler précisément qui y a accès.</a:t>
            </a:r>
          </a:p>
        </p:txBody>
      </p:sp>
      <p:sp>
        <p:nvSpPr>
          <p:cNvPr id="4" name="Header Placeholder 3">
            <a:extLst>
              <a:ext uri="{FF2B5EF4-FFF2-40B4-BE49-F238E27FC236}">
                <a16:creationId xmlns:a16="http://schemas.microsoft.com/office/drawing/2014/main" id="{3BD701FA-0158-B148-7F2E-5E35611CD9FC}"/>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753349DE-2CD9-0F7E-FB1B-4AB67385F180}"/>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65858CA6-96FC-0DA1-534E-BDD5809294F2}"/>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460E4D57-CE2B-6DAF-15DE-B902CFC6D027}"/>
              </a:ext>
            </a:extLst>
          </p:cNvPr>
          <p:cNvSpPr>
            <a:spLocks noGrp="1"/>
          </p:cNvSpPr>
          <p:nvPr>
            <p:ph type="sldNum" sz="quarter" idx="5"/>
          </p:nvPr>
        </p:nvSpPr>
        <p:spPr/>
        <p:txBody>
          <a:bodyPr/>
          <a:lstStyle/>
          <a:p>
            <a:fld id="{B4008EB6-D09E-4580-8CD6-DDB14511944F}" type="slidenum">
              <a:rPr lang="en-US" smtClean="0"/>
              <a:pPr/>
              <a:t>59</a:t>
            </a:fld>
            <a:endParaRPr lang="en-US"/>
          </a:p>
        </p:txBody>
      </p:sp>
    </p:spTree>
    <p:extLst>
      <p:ext uri="{BB962C8B-B14F-4D97-AF65-F5344CB8AC3E}">
        <p14:creationId xmlns:p14="http://schemas.microsoft.com/office/powerpoint/2010/main" val="13722193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Nous entrons maintenant dans la premiere partie de notre presentation : la gamme d’agents. Nous allons voir quels types d’agents existent et comment ils se positionnent en termes de complexite et d’autonomi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5804094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On entre maintenant dans la partie sécurité et gouvernance, qui est essentielle pour encadrer l’utilisation des agents en entreprise. Nous allons voir comment protéger vos données et contrôler ce que les agents peuvent fair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0</a:t>
            </a:fld>
            <a:endParaRPr lang="en-US"/>
          </a:p>
        </p:txBody>
      </p:sp>
    </p:spTree>
    <p:extLst>
      <p:ext uri="{BB962C8B-B14F-4D97-AF65-F5344CB8AC3E}">
        <p14:creationId xmlns:p14="http://schemas.microsoft.com/office/powerpoint/2010/main" val="34436056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A3F500-BA2E-2B55-6A4C-1661696BBC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98BE26-F94F-1B04-824B-BCFDC23EF1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6D7D99-7323-8DA8-57EF-66DE1B7170D7}"/>
              </a:ext>
            </a:extLst>
          </p:cNvPr>
          <p:cNvSpPr>
            <a:spLocks noGrp="1"/>
          </p:cNvSpPr>
          <p:nvPr>
            <p:ph type="body" idx="1"/>
          </p:nvPr>
        </p:nvSpPr>
        <p:spPr/>
        <p:txBody>
          <a:bodyPr/>
          <a:lstStyle/>
          <a:p>
            <a:r>
              <a:rPr lang="fr-FR" dirty="0"/>
              <a:t>Les stratégies DLP permettent de protéger les données auxquelles les agents accèdent via les connecteurs Power Platform. Elles déterminent quels connecteurs peuvent être utilisés ensemble dans chaque environnement, et vous pouvez bloquer complètement certains connecteurs. Cela s’applique aussi bien aux applications et flux qu’à Copilot Studio.</a:t>
            </a:r>
          </a:p>
        </p:txBody>
      </p:sp>
      <p:sp>
        <p:nvSpPr>
          <p:cNvPr id="4" name="Header Placeholder 3">
            <a:extLst>
              <a:ext uri="{FF2B5EF4-FFF2-40B4-BE49-F238E27FC236}">
                <a16:creationId xmlns:a16="http://schemas.microsoft.com/office/drawing/2014/main" id="{8F8D22A0-2F96-A3FE-0EB3-5A32B736CB11}"/>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5F9D3264-9F78-8183-5A7A-9198DDCC0705}"/>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21C0E083-51B6-8925-505C-C4BDC7D9EB4D}"/>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18B6FE05-9B69-E5A5-A051-EBA4BFD0D15A}"/>
              </a:ext>
            </a:extLst>
          </p:cNvPr>
          <p:cNvSpPr>
            <a:spLocks noGrp="1"/>
          </p:cNvSpPr>
          <p:nvPr>
            <p:ph type="sldNum" sz="quarter" idx="5"/>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316452329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429639-A485-CCF2-91FB-42889BD2EE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F6B42E-4CB7-8E78-4A97-0D38753855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C99681-2C70-3F23-FD2D-D38838D3C663}"/>
              </a:ext>
            </a:extLst>
          </p:cNvPr>
          <p:cNvSpPr>
            <a:spLocks noGrp="1"/>
          </p:cNvSpPr>
          <p:nvPr>
            <p:ph type="body" idx="1"/>
          </p:nvPr>
        </p:nvSpPr>
        <p:spPr/>
        <p:txBody>
          <a:bodyPr/>
          <a:lstStyle/>
          <a:p>
            <a:r>
              <a:rPr lang="fr-FR" dirty="0"/>
              <a:t>Les agents utilisent des connecteurs Power Platform, des connecteurs personnalisés et des flux d’agents. Les stratégies DLP contrôlent précisément quels connecteurs sont autorisés, et ces règles s’appliquent aussi bien aux agents déclaratifs qu’aux agents personnalisés créés dans Copilot Studio.</a:t>
            </a:r>
          </a:p>
        </p:txBody>
      </p:sp>
      <p:sp>
        <p:nvSpPr>
          <p:cNvPr id="4" name="Header Placeholder 3">
            <a:extLst>
              <a:ext uri="{FF2B5EF4-FFF2-40B4-BE49-F238E27FC236}">
                <a16:creationId xmlns:a16="http://schemas.microsoft.com/office/drawing/2014/main" id="{60540C99-2DB0-167F-3FD1-DC6FFDF1D808}"/>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1AF8D103-04B8-EA96-D27F-0E27202644AF}"/>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37D4F777-9D4D-7280-40FF-03386F86ED43}"/>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DCD1E102-8707-1998-6250-C8D5CE4EC0CD}"/>
              </a:ext>
            </a:extLst>
          </p:cNvPr>
          <p:cNvSpPr>
            <a:spLocks noGrp="1"/>
          </p:cNvSpPr>
          <p:nvPr>
            <p:ph type="sldNum" sz="quarter" idx="5"/>
          </p:nvPr>
        </p:nvSpPr>
        <p:spPr/>
        <p:txBody>
          <a:bodyPr/>
          <a:lstStyle/>
          <a:p>
            <a:fld id="{B4008EB6-D09E-4580-8CD6-DDB14511944F}" type="slidenum">
              <a:rPr lang="en-US" smtClean="0"/>
              <a:pPr/>
              <a:t>62</a:t>
            </a:fld>
            <a:endParaRPr lang="en-US"/>
          </a:p>
        </p:txBody>
      </p:sp>
    </p:spTree>
    <p:extLst>
      <p:ext uri="{BB962C8B-B14F-4D97-AF65-F5344CB8AC3E}">
        <p14:creationId xmlns:p14="http://schemas.microsoft.com/office/powerpoint/2010/main" val="309038366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730D90-2222-82AE-6933-21740BF2BA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D8E22E-38CA-FAB9-EBE7-8DFC0CA3C3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D1D59B-669B-0CEA-B3EC-FBDE90F7F597}"/>
              </a:ext>
            </a:extLst>
          </p:cNvPr>
          <p:cNvSpPr>
            <a:spLocks noGrp="1"/>
          </p:cNvSpPr>
          <p:nvPr>
            <p:ph type="body" idx="1"/>
          </p:nvPr>
        </p:nvSpPr>
        <p:spPr/>
        <p:txBody>
          <a:bodyPr/>
          <a:lstStyle/>
          <a:p>
            <a:r>
              <a:rPr lang="fr-FR" dirty="0"/>
              <a:t>Vous pouvez bloquer complètement la publication des agents dans Teams et Microsoft 365 grâce aux stratégies DLP. Cette règle peut être appliquée par environnement, ce qui vous donne un contrôle granulaire sur où les agents peuvent être déployés.</a:t>
            </a:r>
          </a:p>
        </p:txBody>
      </p:sp>
      <p:sp>
        <p:nvSpPr>
          <p:cNvPr id="4" name="Header Placeholder 3">
            <a:extLst>
              <a:ext uri="{FF2B5EF4-FFF2-40B4-BE49-F238E27FC236}">
                <a16:creationId xmlns:a16="http://schemas.microsoft.com/office/drawing/2014/main" id="{874825FA-E914-5D6A-4F96-F7116FD3279C}"/>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E884F513-312D-6065-A27A-A2B6FF6A92BF}"/>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A2C7BF61-50DF-3A0B-171F-A180A61D1534}"/>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6250CD20-18EB-F49A-B8B8-EA1E352CF02E}"/>
              </a:ext>
            </a:extLst>
          </p:cNvPr>
          <p:cNvSpPr>
            <a:spLocks noGrp="1"/>
          </p:cNvSpPr>
          <p:nvPr>
            <p:ph type="sldNum" sz="quarter" idx="5"/>
          </p:nvPr>
        </p:nvSpPr>
        <p:spPr/>
        <p:txBody>
          <a:bodyPr/>
          <a:lstStyle/>
          <a:p>
            <a:fld id="{B4008EB6-D09E-4580-8CD6-DDB14511944F}" type="slidenum">
              <a:rPr lang="en-US" smtClean="0"/>
              <a:pPr/>
              <a:t>63</a:t>
            </a:fld>
            <a:endParaRPr lang="en-US"/>
          </a:p>
        </p:txBody>
      </p:sp>
    </p:spTree>
    <p:extLst>
      <p:ext uri="{BB962C8B-B14F-4D97-AF65-F5344CB8AC3E}">
        <p14:creationId xmlns:p14="http://schemas.microsoft.com/office/powerpoint/2010/main" val="233306178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0FDF80-F7C0-0C8B-ECD1-5EF341DB00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BC1AF5-8545-F991-8D55-6CB3B4C591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34D297-F754-6AFB-0943-4C5C8B4BBEBF}"/>
              </a:ext>
            </a:extLst>
          </p:cNvPr>
          <p:cNvSpPr>
            <a:spLocks noGrp="1"/>
          </p:cNvSpPr>
          <p:nvPr>
            <p:ph type="body" idx="1"/>
          </p:nvPr>
        </p:nvSpPr>
        <p:spPr/>
        <p:txBody>
          <a:bodyPr/>
          <a:lstStyle/>
          <a:p>
            <a:r>
              <a:rPr lang="fr-FR" dirty="0"/>
              <a:t>Les administrateurs peuvent utiliser les stratégies DLP pour bloquer l’accès aux sources de connaissances SharePoint dans les agents. C’est un contrôle important pour éviter que des données sensibles stockées dans SharePoint ne soient exposées via un agent.</a:t>
            </a:r>
          </a:p>
        </p:txBody>
      </p:sp>
      <p:sp>
        <p:nvSpPr>
          <p:cNvPr id="4" name="Header Placeholder 3">
            <a:extLst>
              <a:ext uri="{FF2B5EF4-FFF2-40B4-BE49-F238E27FC236}">
                <a16:creationId xmlns:a16="http://schemas.microsoft.com/office/drawing/2014/main" id="{0AEB87F3-AEC7-E0A6-47CD-A192CED15714}"/>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868A3A15-71D8-4AE4-BB39-E91FBBC23E32}"/>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E7374787-CD0D-4BA6-E513-90453EE960D2}"/>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83050DFE-BA06-F72C-85A2-6FDAE9773D48}"/>
              </a:ext>
            </a:extLst>
          </p:cNvPr>
          <p:cNvSpPr>
            <a:spLocks noGrp="1"/>
          </p:cNvSpPr>
          <p:nvPr>
            <p:ph type="sldNum" sz="quarter" idx="5"/>
          </p:nvPr>
        </p:nvSpPr>
        <p:spPr/>
        <p:txBody>
          <a:bodyPr/>
          <a:lstStyle/>
          <a:p>
            <a:fld id="{B4008EB6-D09E-4580-8CD6-DDB14511944F}" type="slidenum">
              <a:rPr lang="en-US" smtClean="0"/>
              <a:pPr/>
              <a:t>64</a:t>
            </a:fld>
            <a:endParaRPr lang="en-US"/>
          </a:p>
        </p:txBody>
      </p:sp>
    </p:spTree>
    <p:extLst>
      <p:ext uri="{BB962C8B-B14F-4D97-AF65-F5344CB8AC3E}">
        <p14:creationId xmlns:p14="http://schemas.microsoft.com/office/powerpoint/2010/main" val="15107236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FE696C-0CD7-88A3-76A4-54CF6217F2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E8056F-FFCE-9680-6A16-20D6A69FDB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F430FB-4949-88FC-2A26-FF6E0497022B}"/>
              </a:ext>
            </a:extLst>
          </p:cNvPr>
          <p:cNvSpPr>
            <a:spLocks noGrp="1"/>
          </p:cNvSpPr>
          <p:nvPr>
            <p:ph type="body" idx="1"/>
          </p:nvPr>
        </p:nvSpPr>
        <p:spPr/>
        <p:txBody>
          <a:bodyPr/>
          <a:lstStyle/>
          <a:p>
            <a:r>
              <a:rPr lang="fr-FR" dirty="0"/>
              <a:t>Les connecteurs Copilot Studio prennent en charge le filtrage par points de terminaison. Cela signifie que vous pouvez autoriser un connecteur tout en restreignant les URL ou les endpoints spécifiques auxquels il peut accéder, pour un contrôle encore plus fin.</a:t>
            </a:r>
          </a:p>
        </p:txBody>
      </p:sp>
      <p:sp>
        <p:nvSpPr>
          <p:cNvPr id="4" name="Header Placeholder 3">
            <a:extLst>
              <a:ext uri="{FF2B5EF4-FFF2-40B4-BE49-F238E27FC236}">
                <a16:creationId xmlns:a16="http://schemas.microsoft.com/office/drawing/2014/main" id="{E0609145-56FD-D75A-88FD-DFF1CEF17EAD}"/>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C2D6B1B2-4D37-02B5-B85B-C80D141E88FB}"/>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F652DE41-D3CE-1B98-22DB-0AB06A7EDB36}"/>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50405BFB-891E-5DF6-6A28-FF72A6825572}"/>
              </a:ext>
            </a:extLst>
          </p:cNvPr>
          <p:cNvSpPr>
            <a:spLocks noGrp="1"/>
          </p:cNvSpPr>
          <p:nvPr>
            <p:ph type="sldNum" sz="quarter" idx="5"/>
          </p:nvPr>
        </p:nvSpPr>
        <p:spPr/>
        <p:txBody>
          <a:bodyPr/>
          <a:lstStyle/>
          <a:p>
            <a:fld id="{B4008EB6-D09E-4580-8CD6-DDB14511944F}" type="slidenum">
              <a:rPr lang="en-US" smtClean="0"/>
              <a:pPr/>
              <a:t>65</a:t>
            </a:fld>
            <a:endParaRPr lang="en-US"/>
          </a:p>
        </p:txBody>
      </p:sp>
    </p:spTree>
    <p:extLst>
      <p:ext uri="{BB962C8B-B14F-4D97-AF65-F5344CB8AC3E}">
        <p14:creationId xmlns:p14="http://schemas.microsoft.com/office/powerpoint/2010/main" val="148211536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A67FFA-134D-CF64-8885-17BC70D0C6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F1BAB8-4CB2-8DCB-C32C-D4EAA8B12C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F73D2F-0470-259D-4C2C-5EF50AFC1C63}"/>
              </a:ext>
            </a:extLst>
          </p:cNvPr>
          <p:cNvSpPr>
            <a:spLocks noGrp="1"/>
          </p:cNvSpPr>
          <p:nvPr>
            <p:ph type="body" idx="1"/>
          </p:nvPr>
        </p:nvSpPr>
        <p:spPr/>
        <p:txBody>
          <a:bodyPr/>
          <a:lstStyle/>
          <a:p>
            <a:r>
              <a:rPr lang="fr-FR" dirty="0"/>
              <a:t>Copilot respecte parfaitement les étiquettes de sensibilité Microsoft Purview. Quand un agent génère du contenu à partir de documents étiquetés, le contenu généré hérite automatiquement de l’étiquette et des règles associées. Cela fonctionne avec les fichiers internes comme externes dans les applications Office.</a:t>
            </a:r>
          </a:p>
        </p:txBody>
      </p:sp>
      <p:sp>
        <p:nvSpPr>
          <p:cNvPr id="4" name="Header Placeholder 3">
            <a:extLst>
              <a:ext uri="{FF2B5EF4-FFF2-40B4-BE49-F238E27FC236}">
                <a16:creationId xmlns:a16="http://schemas.microsoft.com/office/drawing/2014/main" id="{E5A15C28-228C-A737-D0C4-11124E9205A3}"/>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D413194B-6B34-6FCB-9CCE-B138E0646931}"/>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00FA3E20-401A-6E70-9812-43E00A12333D}"/>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1D1E2FBA-2899-179F-B1B3-865BD70DE76C}"/>
              </a:ext>
            </a:extLst>
          </p:cNvPr>
          <p:cNvSpPr>
            <a:spLocks noGrp="1"/>
          </p:cNvSpPr>
          <p:nvPr>
            <p:ph type="sldNum" sz="quarter" idx="5"/>
          </p:nvPr>
        </p:nvSpPr>
        <p:spPr/>
        <p:txBody>
          <a:bodyPr/>
          <a:lstStyle/>
          <a:p>
            <a:fld id="{B4008EB6-D09E-4580-8CD6-DDB14511944F}" type="slidenum">
              <a:rPr lang="en-US" smtClean="0"/>
              <a:pPr/>
              <a:t>66</a:t>
            </a:fld>
            <a:endParaRPr lang="en-US"/>
          </a:p>
        </p:txBody>
      </p:sp>
    </p:spTree>
    <p:extLst>
      <p:ext uri="{BB962C8B-B14F-4D97-AF65-F5344CB8AC3E}">
        <p14:creationId xmlns:p14="http://schemas.microsoft.com/office/powerpoint/2010/main" val="237325595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45BBF2-530C-BFD9-2EF7-0F55933944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036533-70D0-991D-D68C-21479988BA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B8ED99-EB92-6F18-3D87-2367B9EF5C3B}"/>
              </a:ext>
            </a:extLst>
          </p:cNvPr>
          <p:cNvSpPr>
            <a:spLocks noGrp="1"/>
          </p:cNvSpPr>
          <p:nvPr>
            <p:ph type="body" idx="1"/>
          </p:nvPr>
        </p:nvSpPr>
        <p:spPr/>
        <p:txBody>
          <a:bodyPr/>
          <a:lstStyle/>
          <a:p>
            <a:r>
              <a:rPr lang="fr-FR" dirty="0"/>
              <a:t>Microsoft Purview DLP offre une vue d’ensemble de la protection contre la perte de données. Les règles DLP permettent de détecter et protéger les informations sensibles utilisées par les agents, que ce soit dans les emails, les fichiers ou les conversations.</a:t>
            </a:r>
          </a:p>
        </p:txBody>
      </p:sp>
      <p:sp>
        <p:nvSpPr>
          <p:cNvPr id="4" name="Header Placeholder 3">
            <a:extLst>
              <a:ext uri="{FF2B5EF4-FFF2-40B4-BE49-F238E27FC236}">
                <a16:creationId xmlns:a16="http://schemas.microsoft.com/office/drawing/2014/main" id="{62CF635D-EE21-96F7-9EA2-93FE472FC03D}"/>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BEAAFAE7-4402-5F40-35CB-D2976BEA8B71}"/>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10C26E0C-18BC-3CB1-D11D-FC2A2DD23A1A}"/>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7D207F4A-216D-E872-3026-3E47F464A725}"/>
              </a:ext>
            </a:extLst>
          </p:cNvPr>
          <p:cNvSpPr>
            <a:spLocks noGrp="1"/>
          </p:cNvSpPr>
          <p:nvPr>
            <p:ph type="sldNum" sz="quarter" idx="5"/>
          </p:nvPr>
        </p:nvSpPr>
        <p:spPr/>
        <p:txBody>
          <a:bodyPr/>
          <a:lstStyle/>
          <a:p>
            <a:fld id="{B4008EB6-D09E-4580-8CD6-DDB14511944F}" type="slidenum">
              <a:rPr lang="en-US" smtClean="0"/>
              <a:pPr/>
              <a:t>67</a:t>
            </a:fld>
            <a:endParaRPr lang="en-US"/>
          </a:p>
        </p:txBody>
      </p:sp>
    </p:spTree>
    <p:extLst>
      <p:ext uri="{BB962C8B-B14F-4D97-AF65-F5344CB8AC3E}">
        <p14:creationId xmlns:p14="http://schemas.microsoft.com/office/powerpoint/2010/main" val="377194872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23776F-73CA-2814-B3BD-BEFB1B7771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0457A2-8759-A97B-917E-0B9C78B563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15BCC2-E7A4-9523-D919-040FDFAB82AA}"/>
              </a:ext>
            </a:extLst>
          </p:cNvPr>
          <p:cNvSpPr>
            <a:spLocks noGrp="1"/>
          </p:cNvSpPr>
          <p:nvPr>
            <p:ph type="body" idx="1"/>
          </p:nvPr>
        </p:nvSpPr>
        <p:spPr/>
        <p:txBody>
          <a:bodyPr/>
          <a:lstStyle/>
          <a:p>
            <a:r>
              <a:rPr lang="fr-FR" dirty="0"/>
              <a:t>Les modèles de stratégies pour agents sont des templates préconfigurés qui permettent d’appliquer des règles de protection issues de Purview, Entra et SharePoint aux différents types d’agents. C’est très pratique pour répliquer les mêmes règles de sécurité de manière cohérente.</a:t>
            </a:r>
          </a:p>
        </p:txBody>
      </p:sp>
      <p:sp>
        <p:nvSpPr>
          <p:cNvPr id="4" name="Header Placeholder 3">
            <a:extLst>
              <a:ext uri="{FF2B5EF4-FFF2-40B4-BE49-F238E27FC236}">
                <a16:creationId xmlns:a16="http://schemas.microsoft.com/office/drawing/2014/main" id="{E19D6979-0F28-3560-266F-E2FB6C944144}"/>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2332B7AE-2B3A-565C-DF94-527269D2ADC7}"/>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5AB734CC-7FB8-8090-3181-D38FEEFDCD5A}"/>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8F0BF0F4-3734-F5BB-C51F-7EB36638C480}"/>
              </a:ext>
            </a:extLst>
          </p:cNvPr>
          <p:cNvSpPr>
            <a:spLocks noGrp="1"/>
          </p:cNvSpPr>
          <p:nvPr>
            <p:ph type="sldNum" sz="quarter" idx="5"/>
          </p:nvPr>
        </p:nvSpPr>
        <p:spPr/>
        <p:txBody>
          <a:bodyPr/>
          <a:lstStyle/>
          <a:p>
            <a:fld id="{B4008EB6-D09E-4580-8CD6-DDB14511944F}" type="slidenum">
              <a:rPr lang="en-US" smtClean="0"/>
              <a:pPr/>
              <a:t>68</a:t>
            </a:fld>
            <a:endParaRPr lang="en-US"/>
          </a:p>
        </p:txBody>
      </p:sp>
    </p:spTree>
    <p:extLst>
      <p:ext uri="{BB962C8B-B14F-4D97-AF65-F5344CB8AC3E}">
        <p14:creationId xmlns:p14="http://schemas.microsoft.com/office/powerpoint/2010/main" val="383868011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Passons maintenant à la création de rapports et à la surveillance des agents. Cette partie est cruciale pour comprendre comment vos agents sont utilisés et combien ils consommen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9</a:t>
            </a:fld>
            <a:endParaRPr lang="en-US"/>
          </a:p>
        </p:txBody>
      </p:sp>
    </p:spTree>
    <p:extLst>
      <p:ext uri="{BB962C8B-B14F-4D97-AF65-F5344CB8AC3E}">
        <p14:creationId xmlns:p14="http://schemas.microsoft.com/office/powerpoint/2010/main" val="8933663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C31F3-3EC7-4501-3379-FCC4DA1827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23114A-1EDF-4299-DE0C-0C97A05344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C686A8-3F20-CC0E-30F4-7E975AC2E54B}"/>
              </a:ext>
            </a:extLst>
          </p:cNvPr>
          <p:cNvSpPr>
            <a:spLocks noGrp="1"/>
          </p:cNvSpPr>
          <p:nvPr>
            <p:ph type="body" idx="1"/>
          </p:nvPr>
        </p:nvSpPr>
        <p:spPr/>
        <p:txBody>
          <a:bodyPr/>
          <a:lstStyle/>
          <a:p>
            <a:r>
              <a:rPr lang="fr-FR" dirty="0"/>
              <a:t>Les agents utilisent l’IA pour automatiser et executer des processus metier. Ils travaillent aux cotes des collaborateurs ou en leur nom. Il est important de comprendre que plus un agent est autonome, plus il necessite un cadre de gouvernance solide.</a:t>
            </a:r>
          </a:p>
        </p:txBody>
      </p:sp>
      <p:sp>
        <p:nvSpPr>
          <p:cNvPr id="4" name="Header Placeholder 3">
            <a:extLst>
              <a:ext uri="{FF2B5EF4-FFF2-40B4-BE49-F238E27FC236}">
                <a16:creationId xmlns:a16="http://schemas.microsoft.com/office/drawing/2014/main" id="{BEC98227-12DC-0F7C-1424-650676FA8FC9}"/>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3E6A1693-534E-E241-F925-623D6CE800C4}"/>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152B170C-C5E7-8533-1D53-F8D5F4478BD7}"/>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BB6DA565-779A-7FD7-3EAC-8E85A9FC3C10}"/>
              </a:ext>
            </a:extLst>
          </p:cNvPr>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106302841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A88277-3DF8-4323-56EB-9348251467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A75702-A684-6840-7B54-ECFEB6F9FE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7CA644-A7AF-3AC2-C98E-CCC2F14E5270}"/>
              </a:ext>
            </a:extLst>
          </p:cNvPr>
          <p:cNvSpPr>
            <a:spLocks noGrp="1"/>
          </p:cNvSpPr>
          <p:nvPr>
            <p:ph type="body" idx="1"/>
          </p:nvPr>
        </p:nvSpPr>
        <p:spPr/>
        <p:txBody>
          <a:bodyPr/>
          <a:lstStyle/>
          <a:p>
            <a:r>
              <a:rPr lang="fr-FR" dirty="0"/>
              <a:t>Le rapport d’utilisation des </a:t>
            </a:r>
            <a:r>
              <a:rPr lang="fr-fr"/>
              <a:t>agents </a:t>
            </a:r>
            <a:r>
              <a:rPr lang="fr-FR" dirty="0"/>
              <a:t>dans le Centre d’administration M365 vous montre les utilisateurs actifs par agent, avec un résumé chronologique sur 7 ou 30 jours. Vous pouvez voir la granularité par utilisateur, par agent ou par paire utilisateur-agent.</a:t>
            </a:r>
          </a:p>
        </p:txBody>
      </p:sp>
      <p:sp>
        <p:nvSpPr>
          <p:cNvPr id="4" name="Header Placeholder 3">
            <a:extLst>
              <a:ext uri="{FF2B5EF4-FFF2-40B4-BE49-F238E27FC236}">
                <a16:creationId xmlns:a16="http://schemas.microsoft.com/office/drawing/2014/main" id="{D7148D66-1DD9-573F-CC58-CB550CC162CE}"/>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D7478062-957B-31B6-8D8A-710AB320717E}"/>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47EE7E40-1A5F-04E0-7EC5-9C6D3E59826A}"/>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92140D18-2935-6627-122C-FDE20E02CFC9}"/>
              </a:ext>
            </a:extLst>
          </p:cNvPr>
          <p:cNvSpPr>
            <a:spLocks noGrp="1"/>
          </p:cNvSpPr>
          <p:nvPr>
            <p:ph type="sldNum" sz="quarter" idx="5"/>
          </p:nvPr>
        </p:nvSpPr>
        <p:spPr/>
        <p:txBody>
          <a:bodyPr/>
          <a:lstStyle/>
          <a:p>
            <a:fld id="{B4008EB6-D09E-4580-8CD6-DDB14511944F}" type="slidenum">
              <a:rPr lang="en-US" smtClean="0"/>
              <a:pPr/>
              <a:t>70</a:t>
            </a:fld>
            <a:endParaRPr lang="en-US"/>
          </a:p>
        </p:txBody>
      </p:sp>
    </p:spTree>
    <p:extLst>
      <p:ext uri="{BB962C8B-B14F-4D97-AF65-F5344CB8AC3E}">
        <p14:creationId xmlns:p14="http://schemas.microsoft.com/office/powerpoint/2010/main" val="260802812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3590E4-45D2-AA0C-D5D9-D4864C9E8A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E66795-C764-8B0F-97FF-39C8751E06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CB0A67-0A02-6E2B-C404-3BC0C7B8AD86}"/>
              </a:ext>
            </a:extLst>
          </p:cNvPr>
          <p:cNvSpPr>
            <a:spLocks noGrp="1"/>
          </p:cNvSpPr>
          <p:nvPr>
            <p:ph type="body" idx="1"/>
          </p:nvPr>
        </p:nvSpPr>
        <p:spPr/>
        <p:txBody>
          <a:bodyPr/>
          <a:lstStyle/>
          <a:p>
            <a:r>
              <a:rPr lang="fr-FR" dirty="0"/>
              <a:t>Ce rapport de consommation de crédits vous permet de surveiller combien chaque agent consomme en crédits. Les données sont consultables, modifiables et exportables pour faciliter le suivi budgétaire.</a:t>
            </a:r>
          </a:p>
        </p:txBody>
      </p:sp>
      <p:sp>
        <p:nvSpPr>
          <p:cNvPr id="4" name="Header Placeholder 3">
            <a:extLst>
              <a:ext uri="{FF2B5EF4-FFF2-40B4-BE49-F238E27FC236}">
                <a16:creationId xmlns:a16="http://schemas.microsoft.com/office/drawing/2014/main" id="{44356C40-13FC-9557-936F-068A572E2D58}"/>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DA735CA7-190E-4A4B-45B2-046965F5F48C}"/>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67CF7CA7-C10F-5A67-8D9C-460215B383C9}"/>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BF9E215F-9718-5FDE-74E8-84A8BCFEF62F}"/>
              </a:ext>
            </a:extLst>
          </p:cNvPr>
          <p:cNvSpPr>
            <a:spLocks noGrp="1"/>
          </p:cNvSpPr>
          <p:nvPr>
            <p:ph type="sldNum" sz="quarter" idx="5"/>
          </p:nvPr>
        </p:nvSpPr>
        <p:spPr/>
        <p:txBody>
          <a:bodyPr/>
          <a:lstStyle/>
          <a:p>
            <a:fld id="{B4008EB6-D09E-4580-8CD6-DDB14511944F}" type="slidenum">
              <a:rPr lang="en-US" smtClean="0"/>
              <a:pPr/>
              <a:t>71</a:t>
            </a:fld>
            <a:endParaRPr lang="en-US"/>
          </a:p>
        </p:txBody>
      </p:sp>
    </p:spTree>
    <p:extLst>
      <p:ext uri="{BB962C8B-B14F-4D97-AF65-F5344CB8AC3E}">
        <p14:creationId xmlns:p14="http://schemas.microsoft.com/office/powerpoint/2010/main" val="412521970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B3918D-BE11-6B83-5FE4-74ED8F2281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C48788-BAC0-5752-E880-AF93D0FCF1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AED116-862C-A2C8-3A86-B469189188B8}"/>
              </a:ext>
            </a:extLst>
          </p:cNvPr>
          <p:cNvSpPr>
            <a:spLocks noGrp="1"/>
          </p:cNvSpPr>
          <p:nvPr>
            <p:ph type="body" idx="1"/>
          </p:nvPr>
        </p:nvSpPr>
        <p:spPr/>
        <p:txBody>
          <a:bodyPr/>
          <a:lstStyle/>
          <a:p>
            <a:r>
              <a:rPr lang="fr-FR" dirty="0"/>
              <a:t>Dans le Power Platform Admin Center</a:t>
            </a:r>
            <a:r>
              <a:rPr lang="fr-fr"/>
              <a:t>, </a:t>
            </a:r>
            <a:r>
              <a:rPr lang="fr-FR" dirty="0"/>
              <a:t>vous pouvez surveiller la consommation </a:t>
            </a:r>
            <a:r>
              <a:rPr lang="fr-fr"/>
              <a:t>de </a:t>
            </a:r>
            <a:r>
              <a:rPr lang="fr-FR" dirty="0"/>
              <a:t>messages Copilot</a:t>
            </a:r>
            <a:r>
              <a:rPr lang="fr-fr"/>
              <a:t> </a:t>
            </a:r>
            <a:r>
              <a:rPr lang="fr-FR" dirty="0"/>
              <a:t>Studio. Cela vous donne une visibilité complète sur la capacité utilisée par rapport à la capacité disponible pour votre organisation</a:t>
            </a:r>
            <a:r>
              <a:rPr lang="fr-fr"/>
              <a:t>.</a:t>
            </a:r>
          </a:p>
        </p:txBody>
      </p:sp>
      <p:sp>
        <p:nvSpPr>
          <p:cNvPr id="4" name="Header Placeholder 3">
            <a:extLst>
              <a:ext uri="{FF2B5EF4-FFF2-40B4-BE49-F238E27FC236}">
                <a16:creationId xmlns:a16="http://schemas.microsoft.com/office/drawing/2014/main" id="{F11FBFD8-9BD2-C286-CF80-EB5F2FA08DC1}"/>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8CE721D9-653A-8764-0D9E-0574B45FEBE9}"/>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0333B9EA-F1DE-31F1-F183-7A7B3B7BDFF0}"/>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A5B4A5C9-4A7F-0352-3569-1BB77AA6C8F5}"/>
              </a:ext>
            </a:extLst>
          </p:cNvPr>
          <p:cNvSpPr>
            <a:spLocks noGrp="1"/>
          </p:cNvSpPr>
          <p:nvPr>
            <p:ph type="sldNum" sz="quarter" idx="5"/>
          </p:nvPr>
        </p:nvSpPr>
        <p:spPr/>
        <p:txBody>
          <a:bodyPr/>
          <a:lstStyle/>
          <a:p>
            <a:fld id="{B4008EB6-D09E-4580-8CD6-DDB14511944F}" type="slidenum">
              <a:rPr lang="en-US" smtClean="0"/>
              <a:pPr/>
              <a:t>72</a:t>
            </a:fld>
            <a:endParaRPr lang="en-US"/>
          </a:p>
        </p:txBody>
      </p:sp>
    </p:spTree>
    <p:extLst>
      <p:ext uri="{BB962C8B-B14F-4D97-AF65-F5344CB8AC3E}">
        <p14:creationId xmlns:p14="http://schemas.microsoft.com/office/powerpoint/2010/main" val="288737328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77F2F0-14D5-A4D4-D732-E8FC9939D6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341B38-3CBC-138B-2713-A7FC2B256C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190C81-BC58-EF26-CB89-D45CFCF9EAB8}"/>
              </a:ext>
            </a:extLst>
          </p:cNvPr>
          <p:cNvSpPr>
            <a:spLocks noGrp="1"/>
          </p:cNvSpPr>
          <p:nvPr>
            <p:ph type="body" idx="1"/>
          </p:nvPr>
        </p:nvSpPr>
        <p:spPr/>
        <p:txBody>
          <a:bodyPr/>
          <a:lstStyle/>
          <a:p>
            <a:r>
              <a:rPr lang="fr-FR" dirty="0"/>
              <a:t>Les rapports de crédits Copilot sont téléchargeables et offrent un historique allant jusqu’à 180 jours. Vous obtenez un extrait détaillé </a:t>
            </a:r>
            <a:r>
              <a:rPr lang="fr-fr"/>
              <a:t>de </a:t>
            </a:r>
            <a:r>
              <a:rPr lang="fr-FR" dirty="0"/>
              <a:t>quels agents ont consommé quels crédits</a:t>
            </a:r>
            <a:r>
              <a:rPr lang="fr-fr"/>
              <a:t>, </a:t>
            </a:r>
            <a:r>
              <a:rPr lang="fr-FR" dirty="0"/>
              <a:t>ce qui est indispensable pour le contrôle des coûts</a:t>
            </a:r>
            <a:r>
              <a:rPr lang="fr-fr"/>
              <a:t>.</a:t>
            </a:r>
          </a:p>
        </p:txBody>
      </p:sp>
      <p:sp>
        <p:nvSpPr>
          <p:cNvPr id="4" name="Header Placeholder 3">
            <a:extLst>
              <a:ext uri="{FF2B5EF4-FFF2-40B4-BE49-F238E27FC236}">
                <a16:creationId xmlns:a16="http://schemas.microsoft.com/office/drawing/2014/main" id="{9A9DB246-51BD-7E29-B0FA-9782A7A46432}"/>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6282E2AC-9056-6BDA-0E2C-364F58A98EA2}"/>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D68590DB-55B0-8441-DB7C-20CAF6614D1B}"/>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30126C53-47C3-5E61-8797-13AAB9142CF9}"/>
              </a:ext>
            </a:extLst>
          </p:cNvPr>
          <p:cNvSpPr>
            <a:spLocks noGrp="1"/>
          </p:cNvSpPr>
          <p:nvPr>
            <p:ph type="sldNum" sz="quarter" idx="5"/>
          </p:nvPr>
        </p:nvSpPr>
        <p:spPr/>
        <p:txBody>
          <a:bodyPr/>
          <a:lstStyle/>
          <a:p>
            <a:fld id="{B4008EB6-D09E-4580-8CD6-DDB14511944F}" type="slidenum">
              <a:rPr lang="en-US" smtClean="0"/>
              <a:pPr/>
              <a:t>73</a:t>
            </a:fld>
            <a:endParaRPr lang="en-US"/>
          </a:p>
        </p:txBody>
      </p:sp>
    </p:spTree>
    <p:extLst>
      <p:ext uri="{BB962C8B-B14F-4D97-AF65-F5344CB8AC3E}">
        <p14:creationId xmlns:p14="http://schemas.microsoft.com/office/powerpoint/2010/main" val="175189776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095156-69B5-DB22-792C-DE70BC4F51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F6168B-4E1B-B0AC-24B5-B26E81E126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F6FF0A-D368-DD28-4457-48A0AEEB6162}"/>
              </a:ext>
            </a:extLst>
          </p:cNvPr>
          <p:cNvSpPr>
            <a:spLocks noGrp="1"/>
          </p:cNvSpPr>
          <p:nvPr>
            <p:ph type="body" idx="1"/>
          </p:nvPr>
        </p:nvSpPr>
        <p:spPr/>
        <p:txBody>
          <a:bodyPr/>
          <a:lstStyle/>
          <a:p>
            <a:r>
              <a:rPr lang="fr-FR" dirty="0"/>
              <a:t>L’inventaire des agents Copilot Studio</a:t>
            </a:r>
            <a:r>
              <a:rPr lang="fr-fr"/>
              <a:t> dans </a:t>
            </a:r>
            <a:r>
              <a:rPr lang="fr-FR" dirty="0"/>
              <a:t>le Power Platform Admin Center vous donne une vue complète de tous </a:t>
            </a:r>
            <a:r>
              <a:rPr lang="fr-fr"/>
              <a:t>les agents déployés dans </a:t>
            </a:r>
            <a:r>
              <a:rPr lang="fr-FR" dirty="0"/>
              <a:t>votre tenant. C’est le point de départ pour gérer le cycle de vie </a:t>
            </a:r>
            <a:r>
              <a:rPr lang="fr-fr"/>
              <a:t>de </a:t>
            </a:r>
            <a:r>
              <a:rPr lang="fr-FR" dirty="0"/>
              <a:t>vos agents.</a:t>
            </a:r>
          </a:p>
        </p:txBody>
      </p:sp>
      <p:sp>
        <p:nvSpPr>
          <p:cNvPr id="4" name="Header Placeholder 3">
            <a:extLst>
              <a:ext uri="{FF2B5EF4-FFF2-40B4-BE49-F238E27FC236}">
                <a16:creationId xmlns:a16="http://schemas.microsoft.com/office/drawing/2014/main" id="{0155E9B0-B9C2-4DA3-91E5-629137851B5E}"/>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A796A41E-A4FC-C8E9-1910-F09C4F706BCB}"/>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9E0841FA-C8F5-BB34-E2A0-C995F9DAB9CA}"/>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F540B85F-FBDB-2143-DE42-5974F3020BE7}"/>
              </a:ext>
            </a:extLst>
          </p:cNvPr>
          <p:cNvSpPr>
            <a:spLocks noGrp="1"/>
          </p:cNvSpPr>
          <p:nvPr>
            <p:ph type="sldNum" sz="quarter" idx="5"/>
          </p:nvPr>
        </p:nvSpPr>
        <p:spPr/>
        <p:txBody>
          <a:bodyPr/>
          <a:lstStyle/>
          <a:p>
            <a:fld id="{B4008EB6-D09E-4580-8CD6-DDB14511944F}" type="slidenum">
              <a:rPr lang="en-US" smtClean="0"/>
              <a:pPr/>
              <a:t>74</a:t>
            </a:fld>
            <a:endParaRPr lang="en-US"/>
          </a:p>
        </p:txBody>
      </p:sp>
    </p:spTree>
    <p:extLst>
      <p:ext uri="{BB962C8B-B14F-4D97-AF65-F5344CB8AC3E}">
        <p14:creationId xmlns:p14="http://schemas.microsoft.com/office/powerpoint/2010/main" val="2486834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F61E46-195B-1FF4-3B59-7027B627D8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6D0EF5-1CA4-45EA-8F48-EFE899C8BF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C66204-DBAC-05E7-7D9B-0443CCB15D2C}"/>
              </a:ext>
            </a:extLst>
          </p:cNvPr>
          <p:cNvSpPr>
            <a:spLocks noGrp="1"/>
          </p:cNvSpPr>
          <p:nvPr>
            <p:ph type="body" idx="1"/>
          </p:nvPr>
        </p:nvSpPr>
        <p:spPr/>
        <p:txBody>
          <a:bodyPr/>
          <a:lstStyle/>
          <a:p>
            <a:r>
              <a:rPr lang="fr-FR" dirty="0"/>
              <a:t>Pour les agents SharePoint spécifiquement</a:t>
            </a:r>
            <a:r>
              <a:rPr lang="fr-fr"/>
              <a:t>, des rapports</a:t>
            </a:r>
            <a:r>
              <a:rPr lang="fr-FR" dirty="0"/>
              <a:t> dédiés existent avec un historique maximum </a:t>
            </a:r>
            <a:r>
              <a:rPr lang="fr-fr"/>
              <a:t>de 28</a:t>
            </a:r>
            <a:r>
              <a:rPr lang="fr-FR" dirty="0"/>
              <a:t> </a:t>
            </a:r>
            <a:r>
              <a:rPr lang="fr-fr"/>
              <a:t>jours</a:t>
            </a:r>
            <a:r>
              <a:rPr lang="fr-FR" dirty="0"/>
              <a:t>. Ces rapports sont téléchargeables directement ou récupérables via PowerShell pour une intégration automatisée.</a:t>
            </a:r>
          </a:p>
        </p:txBody>
      </p:sp>
      <p:sp>
        <p:nvSpPr>
          <p:cNvPr id="4" name="Header Placeholder 3">
            <a:extLst>
              <a:ext uri="{FF2B5EF4-FFF2-40B4-BE49-F238E27FC236}">
                <a16:creationId xmlns:a16="http://schemas.microsoft.com/office/drawing/2014/main" id="{C7B460DA-8759-A3EA-D3A9-BDD18184B4DF}"/>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66B005D2-DF82-F471-CEBF-AF7B72D9AD8D}"/>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B0C7ECAA-1E8F-D4F8-6E76-EC141E3CC2CF}"/>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A17F4627-A0AA-F5BC-C7E5-F0A273D1B7D4}"/>
              </a:ext>
            </a:extLst>
          </p:cNvPr>
          <p:cNvSpPr>
            <a:spLocks noGrp="1"/>
          </p:cNvSpPr>
          <p:nvPr>
            <p:ph type="sldNum" sz="quarter" idx="5"/>
          </p:nvPr>
        </p:nvSpPr>
        <p:spPr/>
        <p:txBody>
          <a:bodyPr/>
          <a:lstStyle/>
          <a:p>
            <a:fld id="{B4008EB6-D09E-4580-8CD6-DDB14511944F}" type="slidenum">
              <a:rPr lang="en-US" smtClean="0"/>
              <a:pPr/>
              <a:t>75</a:t>
            </a:fld>
            <a:endParaRPr lang="en-US"/>
          </a:p>
        </p:txBody>
      </p:sp>
    </p:spTree>
    <p:extLst>
      <p:ext uri="{BB962C8B-B14F-4D97-AF65-F5344CB8AC3E}">
        <p14:creationId xmlns:p14="http://schemas.microsoft.com/office/powerpoint/2010/main" val="235795563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C6309B-E3E8-1D41-41EC-DB886C0EB5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AD6DC3-C442-6DF6-A994-A3280AB876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2C1286-0AD0-523A-C3C0-B8F4C1D39944}"/>
              </a:ext>
            </a:extLst>
          </p:cNvPr>
          <p:cNvSpPr>
            <a:spLocks noGrp="1"/>
          </p:cNvSpPr>
          <p:nvPr>
            <p:ph type="body" idx="1"/>
          </p:nvPr>
        </p:nvSpPr>
        <p:spPr/>
        <p:txBody>
          <a:bodyPr/>
          <a:lstStyle/>
          <a:p>
            <a:r>
              <a:rPr lang="fr-fr"/>
              <a:t>Viva Insights </a:t>
            </a:r>
            <a:r>
              <a:rPr lang="fr-FR" dirty="0"/>
              <a:t>offre une autre plateforme pour visualiser la consommation </a:t>
            </a:r>
            <a:r>
              <a:rPr lang="fr-fr"/>
              <a:t>des agents </a:t>
            </a:r>
            <a:r>
              <a:rPr lang="fr-FR" dirty="0"/>
              <a:t>Copilot</a:t>
            </a:r>
            <a:r>
              <a:rPr lang="fr-fr"/>
              <a:t> Studio.</a:t>
            </a:r>
            <a:r>
              <a:rPr lang="fr-FR" dirty="0"/>
              <a:t> C’est </a:t>
            </a:r>
            <a:r>
              <a:rPr lang="fr-fr"/>
              <a:t>un </a:t>
            </a:r>
            <a:r>
              <a:rPr lang="fr-FR" dirty="0"/>
              <a:t>complément utile aux rapports du Centre d’administration pour avoir une vue orientée productivité.</a:t>
            </a:r>
          </a:p>
        </p:txBody>
      </p:sp>
      <p:sp>
        <p:nvSpPr>
          <p:cNvPr id="4" name="Header Placeholder 3">
            <a:extLst>
              <a:ext uri="{FF2B5EF4-FFF2-40B4-BE49-F238E27FC236}">
                <a16:creationId xmlns:a16="http://schemas.microsoft.com/office/drawing/2014/main" id="{13D093A6-D8ED-7651-63A0-F814C70441E2}"/>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0C49228B-17A2-5582-D7FA-925BD53D1948}"/>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83470831-7575-E980-5959-85F72CEF4B92}"/>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1B72C7CA-5E85-D69A-FB83-4126358FEA86}"/>
              </a:ext>
            </a:extLst>
          </p:cNvPr>
          <p:cNvSpPr>
            <a:spLocks noGrp="1"/>
          </p:cNvSpPr>
          <p:nvPr>
            <p:ph type="sldNum" sz="quarter" idx="5"/>
          </p:nvPr>
        </p:nvSpPr>
        <p:spPr/>
        <p:txBody>
          <a:bodyPr/>
          <a:lstStyle/>
          <a:p>
            <a:fld id="{B4008EB6-D09E-4580-8CD6-DDB14511944F}" type="slidenum">
              <a:rPr lang="en-US" smtClean="0"/>
              <a:pPr/>
              <a:t>76</a:t>
            </a:fld>
            <a:endParaRPr lang="en-US"/>
          </a:p>
        </p:txBody>
      </p:sp>
    </p:spTree>
    <p:extLst>
      <p:ext uri="{BB962C8B-B14F-4D97-AF65-F5344CB8AC3E}">
        <p14:creationId xmlns:p14="http://schemas.microsoft.com/office/powerpoint/2010/main" val="376147369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FC5234-704F-C366-E22E-28AF25A184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773408-5301-76CC-23C1-0A1800212B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8AD7A9-1FE9-89FC-75A6-81EAC7AAA200}"/>
              </a:ext>
            </a:extLst>
          </p:cNvPr>
          <p:cNvSpPr>
            <a:spLocks noGrp="1"/>
          </p:cNvSpPr>
          <p:nvPr>
            <p:ph type="body" idx="1"/>
          </p:nvPr>
        </p:nvSpPr>
        <p:spPr/>
        <p:txBody>
          <a:bodyPr/>
          <a:lstStyle/>
          <a:p>
            <a:r>
              <a:rPr lang="fr-FR" dirty="0"/>
              <a:t>La gestion de la posture de sécurité des données dans Microsoft Purview vous permet d’observer et d’enquêter sur les données consommées à travers Copilot et les agents. C’est un portail dédié pour la sécurité des données liées à l’IA.</a:t>
            </a:r>
          </a:p>
        </p:txBody>
      </p:sp>
      <p:sp>
        <p:nvSpPr>
          <p:cNvPr id="4" name="Header Placeholder 3">
            <a:extLst>
              <a:ext uri="{FF2B5EF4-FFF2-40B4-BE49-F238E27FC236}">
                <a16:creationId xmlns:a16="http://schemas.microsoft.com/office/drawing/2014/main" id="{CF44EF91-952C-12FD-F2D5-ADFEA819691F}"/>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1CE54F34-6E14-E03B-0140-FFDFB7DF1F38}"/>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320E704B-4387-9D9B-B1DE-BC38B891A6DC}"/>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F6382D83-584C-3F3A-F27C-B0A4BD77E74D}"/>
              </a:ext>
            </a:extLst>
          </p:cNvPr>
          <p:cNvSpPr>
            <a:spLocks noGrp="1"/>
          </p:cNvSpPr>
          <p:nvPr>
            <p:ph type="sldNum" sz="quarter" idx="5"/>
          </p:nvPr>
        </p:nvSpPr>
        <p:spPr/>
        <p:txBody>
          <a:bodyPr/>
          <a:lstStyle/>
          <a:p>
            <a:fld id="{B4008EB6-D09E-4580-8CD6-DDB14511944F}" type="slidenum">
              <a:rPr lang="en-US" smtClean="0"/>
              <a:pPr/>
              <a:t>77</a:t>
            </a:fld>
            <a:endParaRPr lang="en-US"/>
          </a:p>
        </p:txBody>
      </p:sp>
    </p:spTree>
    <p:extLst>
      <p:ext uri="{BB962C8B-B14F-4D97-AF65-F5344CB8AC3E}">
        <p14:creationId xmlns:p14="http://schemas.microsoft.com/office/powerpoint/2010/main" val="161661764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446695-C217-77B1-33BD-40EC00C669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954A29-A985-E273-B923-B36E6408BA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6A1FC4-150C-21DD-5354-AAB519C78217}"/>
              </a:ext>
            </a:extLst>
          </p:cNvPr>
          <p:cNvSpPr>
            <a:spLocks noGrp="1"/>
          </p:cNvSpPr>
          <p:nvPr>
            <p:ph type="body" idx="1"/>
          </p:nvPr>
        </p:nvSpPr>
        <p:spPr/>
        <p:txBody>
          <a:bodyPr/>
          <a:lstStyle/>
          <a:p>
            <a:r>
              <a:rPr lang="fr-FR" dirty="0"/>
              <a:t>DSPM pour les applications et agents vous aide à comprendre la portée et la profondeur de la protection des données. Vous pouvez voir le top 20 des agents les plus utilisés, le nombre d’interactions et les types de données accédées, y compris la proportion de données confidentielles versus publiques.</a:t>
            </a:r>
          </a:p>
        </p:txBody>
      </p:sp>
      <p:sp>
        <p:nvSpPr>
          <p:cNvPr id="4" name="Header Placeholder 3">
            <a:extLst>
              <a:ext uri="{FF2B5EF4-FFF2-40B4-BE49-F238E27FC236}">
                <a16:creationId xmlns:a16="http://schemas.microsoft.com/office/drawing/2014/main" id="{DEBD12F0-74BF-D735-FDAF-A95A17D30824}"/>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19901FAE-2405-323A-E609-1715B87BFD98}"/>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BE038BEF-1EA1-4E41-84D4-05434D98936D}"/>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B796FB55-6CA1-B34A-C86C-159DEE760116}"/>
              </a:ext>
            </a:extLst>
          </p:cNvPr>
          <p:cNvSpPr>
            <a:spLocks noGrp="1"/>
          </p:cNvSpPr>
          <p:nvPr>
            <p:ph type="sldNum" sz="quarter" idx="5"/>
          </p:nvPr>
        </p:nvSpPr>
        <p:spPr/>
        <p:txBody>
          <a:bodyPr/>
          <a:lstStyle/>
          <a:p>
            <a:fld id="{B4008EB6-D09E-4580-8CD6-DDB14511944F}" type="slidenum">
              <a:rPr lang="en-US" smtClean="0"/>
              <a:pPr/>
              <a:t>78</a:t>
            </a:fld>
            <a:endParaRPr lang="en-US"/>
          </a:p>
        </p:txBody>
      </p:sp>
    </p:spTree>
    <p:extLst>
      <p:ext uri="{BB962C8B-B14F-4D97-AF65-F5344CB8AC3E}">
        <p14:creationId xmlns:p14="http://schemas.microsoft.com/office/powerpoint/2010/main" val="260972137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CD4E82-17A4-4353-9198-7C7AD7DCFE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DCD9F6-B9A8-56C7-9AB6-5028CA01BA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02685D-8D34-E1DA-F49D-13BACDB72880}"/>
              </a:ext>
            </a:extLst>
          </p:cNvPr>
          <p:cNvSpPr>
            <a:spLocks noGrp="1"/>
          </p:cNvSpPr>
          <p:nvPr>
            <p:ph type="body" idx="1"/>
          </p:nvPr>
        </p:nvSpPr>
        <p:spPr/>
        <p:txBody>
          <a:bodyPr/>
          <a:lstStyle/>
          <a:p>
            <a:r>
              <a:rPr lang="fr-FR" dirty="0"/>
              <a:t>L’observabilité de l’IA dans DSPM offre une vue centralisée de l’activité des agents Microsoft 365. Vous pouvez auditer par mots-clés ou par thèmes pour identifier rapidement les usages sensibles.</a:t>
            </a:r>
          </a:p>
        </p:txBody>
      </p:sp>
      <p:sp>
        <p:nvSpPr>
          <p:cNvPr id="4" name="Header Placeholder 3">
            <a:extLst>
              <a:ext uri="{FF2B5EF4-FFF2-40B4-BE49-F238E27FC236}">
                <a16:creationId xmlns:a16="http://schemas.microsoft.com/office/drawing/2014/main" id="{9D3A4D46-DD2F-BC75-6C28-96016831BDF5}"/>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FD4AE34F-D7D3-5831-271F-1A95FD0DDC2B}"/>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8FADC079-699D-1723-44E9-59DF14F32181}"/>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9E94F106-391A-B0A8-E414-D66E855E3743}"/>
              </a:ext>
            </a:extLst>
          </p:cNvPr>
          <p:cNvSpPr>
            <a:spLocks noGrp="1"/>
          </p:cNvSpPr>
          <p:nvPr>
            <p:ph type="sldNum" sz="quarter" idx="5"/>
          </p:nvPr>
        </p:nvSpPr>
        <p:spPr/>
        <p:txBody>
          <a:bodyPr/>
          <a:lstStyle/>
          <a:p>
            <a:fld id="{B4008EB6-D09E-4580-8CD6-DDB14511944F}" type="slidenum">
              <a:rPr lang="en-US" smtClean="0"/>
              <a:pPr/>
              <a:t>79</a:t>
            </a:fld>
            <a:endParaRPr lang="en-US"/>
          </a:p>
        </p:txBody>
      </p:sp>
    </p:spTree>
    <p:extLst>
      <p:ext uri="{BB962C8B-B14F-4D97-AF65-F5344CB8AC3E}">
        <p14:creationId xmlns:p14="http://schemas.microsoft.com/office/powerpoint/2010/main" val="26442919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785AD1-80CB-2EAF-F715-D1D384B4C2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563F0F-469E-7376-30F6-5E5016F5E2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D07226-CA5E-979F-FBCE-F574C28D86C2}"/>
              </a:ext>
            </a:extLst>
          </p:cNvPr>
          <p:cNvSpPr>
            <a:spLocks noGrp="1"/>
          </p:cNvSpPr>
          <p:nvPr>
            <p:ph type="body" idx="1"/>
          </p:nvPr>
        </p:nvSpPr>
        <p:spPr/>
        <p:txBody>
          <a:bodyPr/>
          <a:lstStyle/>
          <a:p>
            <a:r>
              <a:rPr lang="fr-FR" dirty="0"/>
              <a:t>On distingue deux grandes familles d’agents. Les agents declaratifs, construits avec Agent Builder, SharePoint ou Copilot Studios, sont orientes productivite personnelle. Les agents de moteur personnalise, via Copilot Studios ou Azure AI Foundry, sont destines a un usage organisationnel et peuvent etre deployes sur des canaux externes.</a:t>
            </a:r>
          </a:p>
        </p:txBody>
      </p:sp>
      <p:sp>
        <p:nvSpPr>
          <p:cNvPr id="4" name="Header Placeholder 3">
            <a:extLst>
              <a:ext uri="{FF2B5EF4-FFF2-40B4-BE49-F238E27FC236}">
                <a16:creationId xmlns:a16="http://schemas.microsoft.com/office/drawing/2014/main" id="{10A1A90B-6608-794B-1024-0C1EF1377740}"/>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6C1FEB26-E1FC-11BB-2A9F-2157B7D7B5CD}"/>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E0CB4C71-D5A3-EFF8-88C8-72D397565A93}"/>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C4977A7E-0A10-D55C-FA02-10B625E9FA94}"/>
              </a:ext>
            </a:extLst>
          </p:cNvPr>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148554268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998B3F-451D-77F4-59E2-A3A19D9DE6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CE3C42-C271-D52E-1FF2-7A9881CEA7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97F32A-FE15-270A-FD68-B2D33299691A}"/>
              </a:ext>
            </a:extLst>
          </p:cNvPr>
          <p:cNvSpPr>
            <a:spLocks noGrp="1"/>
          </p:cNvSpPr>
          <p:nvPr>
            <p:ph type="body" idx="1"/>
          </p:nvPr>
        </p:nvSpPr>
        <p:spPr/>
        <p:txBody>
          <a:bodyPr/>
          <a:lstStyle/>
          <a:p>
            <a:r>
              <a:rPr lang="fr-FR" dirty="0"/>
              <a:t>L’explorateur d’activités permet une analyse détaillée des interactions Copilot. Vous pouvez y surveiller les requêtes des utilisateurs, les réponses générées et les données accédées pour garantir la conformité.</a:t>
            </a:r>
          </a:p>
        </p:txBody>
      </p:sp>
      <p:sp>
        <p:nvSpPr>
          <p:cNvPr id="4" name="Header Placeholder 3">
            <a:extLst>
              <a:ext uri="{FF2B5EF4-FFF2-40B4-BE49-F238E27FC236}">
                <a16:creationId xmlns:a16="http://schemas.microsoft.com/office/drawing/2014/main" id="{3271CD4C-9826-27A9-2FEE-A72F46B96C15}"/>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A4B6FD83-97B4-F296-4E4B-AE75E7D069C1}"/>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3876A220-DD44-CD0B-1C95-9CCF9E9FDF40}"/>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A7573D6C-550E-B96C-B89A-9358B6D07CA6}"/>
              </a:ext>
            </a:extLst>
          </p:cNvPr>
          <p:cNvSpPr>
            <a:spLocks noGrp="1"/>
          </p:cNvSpPr>
          <p:nvPr>
            <p:ph type="sldNum" sz="quarter" idx="5"/>
          </p:nvPr>
        </p:nvSpPr>
        <p:spPr/>
        <p:txBody>
          <a:bodyPr/>
          <a:lstStyle/>
          <a:p>
            <a:fld id="{B4008EB6-D09E-4580-8CD6-DDB14511944F}" type="slidenum">
              <a:rPr lang="en-US" smtClean="0"/>
              <a:pPr/>
              <a:t>80</a:t>
            </a:fld>
            <a:endParaRPr lang="en-US"/>
          </a:p>
        </p:txBody>
      </p:sp>
    </p:spTree>
    <p:extLst>
      <p:ext uri="{BB962C8B-B14F-4D97-AF65-F5344CB8AC3E}">
        <p14:creationId xmlns:p14="http://schemas.microsoft.com/office/powerpoint/2010/main" val="322377401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89C8DC-3A35-5BD0-BD05-E34BCE6E8E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962C79-B40D-A174-797A-8AF151442D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EE416E-15F2-1202-34AC-CE929E170197}"/>
              </a:ext>
            </a:extLst>
          </p:cNvPr>
          <p:cNvSpPr>
            <a:spLocks noGrp="1"/>
          </p:cNvSpPr>
          <p:nvPr>
            <p:ph type="body" idx="1"/>
          </p:nvPr>
        </p:nvSpPr>
        <p:spPr/>
        <p:txBody>
          <a:bodyPr/>
          <a:lstStyle/>
          <a:p>
            <a:r>
              <a:rPr lang="fr-FR" dirty="0"/>
              <a:t>Les événements d’audit de Copilot Studio enregistrent toutes les actions liées au cycle de vie des agents. Cela inclut la création, la modification, la publication et la suppression des agents, ce qui est essentiel pour la traçabilité.</a:t>
            </a:r>
          </a:p>
        </p:txBody>
      </p:sp>
      <p:sp>
        <p:nvSpPr>
          <p:cNvPr id="4" name="Header Placeholder 3">
            <a:extLst>
              <a:ext uri="{FF2B5EF4-FFF2-40B4-BE49-F238E27FC236}">
                <a16:creationId xmlns:a16="http://schemas.microsoft.com/office/drawing/2014/main" id="{EEEC5F08-CF18-7FC5-3E99-41827DC851E4}"/>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C614BFC9-A595-43FA-934E-DC5A56AC4171}"/>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0F0C7D7C-DB48-41C4-8235-780566A8D89D}"/>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11CA8626-1499-13C5-D571-4A9D46DA8755}"/>
              </a:ext>
            </a:extLst>
          </p:cNvPr>
          <p:cNvSpPr>
            <a:spLocks noGrp="1"/>
          </p:cNvSpPr>
          <p:nvPr>
            <p:ph type="sldNum" sz="quarter" idx="5"/>
          </p:nvPr>
        </p:nvSpPr>
        <p:spPr/>
        <p:txBody>
          <a:bodyPr/>
          <a:lstStyle/>
          <a:p>
            <a:fld id="{B4008EB6-D09E-4580-8CD6-DDB14511944F}" type="slidenum">
              <a:rPr lang="en-US" smtClean="0"/>
              <a:pPr/>
              <a:t>81</a:t>
            </a:fld>
            <a:endParaRPr lang="en-US"/>
          </a:p>
        </p:txBody>
      </p:sp>
    </p:spTree>
    <p:extLst>
      <p:ext uri="{BB962C8B-B14F-4D97-AF65-F5344CB8AC3E}">
        <p14:creationId xmlns:p14="http://schemas.microsoft.com/office/powerpoint/2010/main" val="42854957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767780-E600-F38F-8013-55287AFABB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E04872-E189-AF9F-94AD-97DFDFE2E2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4CFEB7-6302-5F14-013E-BEE0323D0A2E}"/>
              </a:ext>
            </a:extLst>
          </p:cNvPr>
          <p:cNvSpPr>
            <a:spLocks noGrp="1"/>
          </p:cNvSpPr>
          <p:nvPr>
            <p:ph type="body" idx="1"/>
          </p:nvPr>
        </p:nvSpPr>
        <p:spPr/>
        <p:txBody>
          <a:bodyPr/>
          <a:lstStyle/>
          <a:p>
            <a:r>
              <a:rPr lang="fr-FR" dirty="0"/>
              <a:t>Le kit Copilot Studio</a:t>
            </a:r>
            <a:r>
              <a:rPr lang="fr-fr"/>
              <a:t> de </a:t>
            </a:r>
            <a:r>
              <a:rPr lang="fr-FR" dirty="0"/>
              <a:t>Power CAT est une boîte à outils complète pour </a:t>
            </a:r>
            <a:r>
              <a:rPr lang="fr-fr"/>
              <a:t>les </a:t>
            </a:r>
            <a:r>
              <a:rPr lang="fr-FR" dirty="0"/>
              <a:t>administrateurs </a:t>
            </a:r>
            <a:r>
              <a:rPr lang="fr-fr"/>
              <a:t>et les </a:t>
            </a:r>
            <a:r>
              <a:rPr lang="fr-FR" dirty="0"/>
              <a:t>développeurs</a:t>
            </a:r>
            <a:r>
              <a:rPr lang="fr-fr"/>
              <a:t>. Il </a:t>
            </a:r>
            <a:r>
              <a:rPr lang="fr-FR" dirty="0"/>
              <a:t>contient </a:t>
            </a:r>
            <a:r>
              <a:rPr lang="fr-fr"/>
              <a:t>des </a:t>
            </a:r>
            <a:r>
              <a:rPr lang="fr-FR" dirty="0"/>
              <a:t>modèles</a:t>
            </a:r>
            <a:r>
              <a:rPr lang="fr-fr"/>
              <a:t>, </a:t>
            </a:r>
            <a:r>
              <a:rPr lang="fr-FR" dirty="0"/>
              <a:t>des bonnes pratiques </a:t>
            </a:r>
            <a:r>
              <a:rPr lang="fr-fr"/>
              <a:t>et des </a:t>
            </a:r>
            <a:r>
              <a:rPr lang="fr-FR" dirty="0"/>
              <a:t>scripts pour faciliter la gestion et la gouvernance </a:t>
            </a:r>
            <a:r>
              <a:rPr lang="fr-fr"/>
              <a:t>de </a:t>
            </a:r>
            <a:r>
              <a:rPr lang="fr-FR" dirty="0"/>
              <a:t>vos agents</a:t>
            </a:r>
            <a:r>
              <a:rPr lang="fr-fr"/>
              <a:t>.</a:t>
            </a:r>
            <a:endParaRPr lang="fr-FR" dirty="0"/>
          </a:p>
        </p:txBody>
      </p:sp>
      <p:sp>
        <p:nvSpPr>
          <p:cNvPr id="4" name="Header Placeholder 3">
            <a:extLst>
              <a:ext uri="{FF2B5EF4-FFF2-40B4-BE49-F238E27FC236}">
                <a16:creationId xmlns:a16="http://schemas.microsoft.com/office/drawing/2014/main" id="{26E6765B-A4B7-AC99-7C84-53A872F935C0}"/>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CF08B703-2CF4-2118-75B8-BF286075C30C}"/>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1314D7AD-02B0-AABB-4C6A-050F234BFD6A}"/>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3D2A4F04-B639-AAAB-ADF5-9D949178E5A1}"/>
              </a:ext>
            </a:extLst>
          </p:cNvPr>
          <p:cNvSpPr>
            <a:spLocks noGrp="1"/>
          </p:cNvSpPr>
          <p:nvPr>
            <p:ph type="sldNum" sz="quarter" idx="5"/>
          </p:nvPr>
        </p:nvSpPr>
        <p:spPr/>
        <p:txBody>
          <a:bodyPr/>
          <a:lstStyle/>
          <a:p>
            <a:fld id="{B4008EB6-D09E-4580-8CD6-DDB14511944F}" type="slidenum">
              <a:rPr lang="en-US" smtClean="0"/>
              <a:pPr/>
              <a:t>82</a:t>
            </a:fld>
            <a:endParaRPr lang="en-US"/>
          </a:p>
        </p:txBody>
      </p:sp>
    </p:spTree>
    <p:extLst>
      <p:ext uri="{BB962C8B-B14F-4D97-AF65-F5344CB8AC3E}">
        <p14:creationId xmlns:p14="http://schemas.microsoft.com/office/powerpoint/2010/main" val="404161130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Nous arrivons aux étapes suivantes et à l’appel à l’action. Ludivine va maintenant partager les ressources clés et les prochaines étapes pour mettre en place la gouvernance des agents dans votre organisa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3</a:t>
            </a:fld>
            <a:endParaRPr lang="en-US"/>
          </a:p>
        </p:txBody>
      </p:sp>
    </p:spTree>
    <p:extLst>
      <p:ext uri="{BB962C8B-B14F-4D97-AF65-F5344CB8AC3E}">
        <p14:creationId xmlns:p14="http://schemas.microsoft.com/office/powerpoint/2010/main" val="233688129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F92A20-230E-4AC9-4152-65F7814180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3006E0-A578-5F06-22B1-D4A1536D8F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036078-2A64-C0A0-5242-59A098F25932}"/>
              </a:ext>
            </a:extLst>
          </p:cNvPr>
          <p:cNvSpPr>
            <a:spLocks noGrp="1"/>
          </p:cNvSpPr>
          <p:nvPr>
            <p:ph type="body" idx="1"/>
          </p:nvPr>
        </p:nvSpPr>
        <p:spPr/>
        <p:txBody>
          <a:bodyPr/>
          <a:lstStyle/>
          <a:p>
            <a:r>
              <a:rPr lang="fr-FR" dirty="0"/>
              <a:t>En résumé, pour la gouvernance des agents et le contrôle des coûts, nous vous recommandons de consulter l’ebook sur la gouvernance, l’exemple client-0 de Microsoft avec l’agent en libre-service pour les employés, et les informations sur le contrôle des coûts.</a:t>
            </a:r>
          </a:p>
        </p:txBody>
      </p:sp>
      <p:sp>
        <p:nvSpPr>
          <p:cNvPr id="4" name="Header Placeholder 3">
            <a:extLst>
              <a:ext uri="{FF2B5EF4-FFF2-40B4-BE49-F238E27FC236}">
                <a16:creationId xmlns:a16="http://schemas.microsoft.com/office/drawing/2014/main" id="{EDEE903B-01C4-0C3C-C641-6D50A1A12885}"/>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410BC7DB-16A7-7331-8445-3A53DB821CF9}"/>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887E53DA-A869-F2D3-87A6-942AEA0F33C4}"/>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0431A2DC-6BE6-61C1-EDA9-1D52B9E2C705}"/>
              </a:ext>
            </a:extLst>
          </p:cNvPr>
          <p:cNvSpPr>
            <a:spLocks noGrp="1"/>
          </p:cNvSpPr>
          <p:nvPr>
            <p:ph type="sldNum" sz="quarter" idx="5"/>
          </p:nvPr>
        </p:nvSpPr>
        <p:spPr/>
        <p:txBody>
          <a:bodyPr/>
          <a:lstStyle/>
          <a:p>
            <a:fld id="{B4008EB6-D09E-4580-8CD6-DDB14511944F}" type="slidenum">
              <a:rPr lang="en-US" smtClean="0"/>
              <a:pPr/>
              <a:t>84</a:t>
            </a:fld>
            <a:endParaRPr lang="en-US"/>
          </a:p>
        </p:txBody>
      </p:sp>
    </p:spTree>
    <p:extLst>
      <p:ext uri="{BB962C8B-B14F-4D97-AF65-F5344CB8AC3E}">
        <p14:creationId xmlns:p14="http://schemas.microsoft.com/office/powerpoint/2010/main" val="192169454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Merci pour votre participation. Vos commentaires sont vraiment essentiels pour améliorer ces sessions. N’hésitez pas à scanner le QR code pour nous donner votre feedback.</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5</a:t>
            </a:fld>
            <a:endParaRPr lang="en-US"/>
          </a:p>
        </p:txBody>
      </p:sp>
    </p:spTree>
    <p:extLst>
      <p:ext uri="{BB962C8B-B14F-4D97-AF65-F5344CB8AC3E}">
        <p14:creationId xmlns:p14="http://schemas.microsoft.com/office/powerpoint/2010/main" val="36601360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Rendez-vous sur le site du Hub client pour accéder aux replays des sessions passées et vous inscrire aux prochaines sessions à veni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6</a:t>
            </a:fld>
            <a:endParaRPr lang="en-US"/>
          </a:p>
        </p:txBody>
      </p:sp>
    </p:spTree>
    <p:extLst>
      <p:ext uri="{BB962C8B-B14F-4D97-AF65-F5344CB8AC3E}">
        <p14:creationId xmlns:p14="http://schemas.microsoft.com/office/powerpoint/2010/main" val="378403291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Voici les prochaines sessions du Copilot Hub qui arrivent. Inscrivez-vous pour continuer à approfondir vos connaissances sur la gouvernance et l’administration des ag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803D3D-351A-4968-B376-2415CEA4667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2322857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Vous pouvez faire la différence en devenant un champion Microsoft 365. Rejoignez le programme via aka.ms/M365champion pour partager vos connaissances et aider votre communauté.</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8</a:t>
            </a:fld>
            <a:endParaRPr lang="en-US"/>
          </a:p>
        </p:txBody>
      </p:sp>
    </p:spTree>
    <p:extLst>
      <p:ext uri="{BB962C8B-B14F-4D97-AF65-F5344CB8AC3E}">
        <p14:creationId xmlns:p14="http://schemas.microsoft.com/office/powerpoint/2010/main" val="397195944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C’est le moment des questions et réponses. N’hésitez pas à poser vos questions. Par exemple, il est tout à fait possible d’autoriser des agents validés tout en bloquant la création via Agent Builder grâce aux contrôles d’administra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9</a:t>
            </a:fld>
            <a:endParaRPr lang="en-US"/>
          </a:p>
        </p:txBody>
      </p:sp>
    </p:spTree>
    <p:extLst>
      <p:ext uri="{BB962C8B-B14F-4D97-AF65-F5344CB8AC3E}">
        <p14:creationId xmlns:p14="http://schemas.microsoft.com/office/powerpoint/2010/main" val="9200877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06234A-A5A6-542F-3C91-1E36D0F0A4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5BCCEF-0B7E-B706-01FF-E5494B2D40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705ADE-0981-6FA6-C9D6-EA9D9D98213B}"/>
              </a:ext>
            </a:extLst>
          </p:cNvPr>
          <p:cNvSpPr>
            <a:spLocks noGrp="1"/>
          </p:cNvSpPr>
          <p:nvPr>
            <p:ph type="body" idx="1"/>
          </p:nvPr>
        </p:nvSpPr>
        <p:spPr/>
        <p:txBody>
          <a:bodyPr/>
          <a:lstStyle/>
          <a:p>
            <a:r>
              <a:rPr lang="fr-FR" dirty="0"/>
              <a:t>Ce slide est fondamental : plus un agent est autonome </a:t>
            </a:r>
            <a:r>
              <a:rPr lang="fr-fr"/>
              <a:t>et </a:t>
            </a:r>
            <a:r>
              <a:rPr lang="fr-FR" dirty="0"/>
              <a:t>complexe</a:t>
            </a:r>
            <a:r>
              <a:rPr lang="fr-fr"/>
              <a:t>, </a:t>
            </a:r>
            <a:r>
              <a:rPr lang="fr-FR" dirty="0"/>
              <a:t>plus </a:t>
            </a:r>
            <a:r>
              <a:rPr lang="fr-fr"/>
              <a:t>la gouvernance</a:t>
            </a:r>
            <a:r>
              <a:rPr lang="fr-FR" dirty="0"/>
              <a:t> doit etre avancee. On va du simple, comme Agent Builder ou SharePoint</a:t>
            </a:r>
            <a:r>
              <a:rPr lang="fr-fr"/>
              <a:t>, </a:t>
            </a:r>
            <a:r>
              <a:rPr lang="fr-FR" dirty="0"/>
              <a:t>au plus complexe avec Azure AI Foundry. </a:t>
            </a:r>
            <a:r>
              <a:rPr lang="fr-fr"/>
              <a:t>Les </a:t>
            </a:r>
            <a:r>
              <a:rPr lang="fr-FR" dirty="0"/>
              <a:t>differents roles dans l’organisation, DSI, </a:t>
            </a:r>
            <a:r>
              <a:rPr lang="fr-fr"/>
              <a:t>RSSI</a:t>
            </a:r>
            <a:r>
              <a:rPr lang="fr-FR" dirty="0"/>
              <a:t>,</a:t>
            </a:r>
            <a:r>
              <a:rPr lang="fr-fr"/>
              <a:t> architectes, </a:t>
            </a:r>
            <a:r>
              <a:rPr lang="fr-FR" dirty="0"/>
              <a:t>ont chacun des besoins de gouvernance specifiques</a:t>
            </a:r>
            <a:r>
              <a:rPr lang="fr-fr"/>
              <a:t>.</a:t>
            </a:r>
            <a:endParaRPr lang="fr-FR" dirty="0"/>
          </a:p>
        </p:txBody>
      </p:sp>
      <p:sp>
        <p:nvSpPr>
          <p:cNvPr id="4" name="Header Placeholder 3">
            <a:extLst>
              <a:ext uri="{FF2B5EF4-FFF2-40B4-BE49-F238E27FC236}">
                <a16:creationId xmlns:a16="http://schemas.microsoft.com/office/drawing/2014/main" id="{46067B72-F9EF-20B9-860B-A8B39FE7F54D}"/>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E600DA14-3D61-5960-0D96-B969802FE296}"/>
              </a:ext>
            </a:extLst>
          </p:cNvPr>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a:extLst>
              <a:ext uri="{FF2B5EF4-FFF2-40B4-BE49-F238E27FC236}">
                <a16:creationId xmlns:a16="http://schemas.microsoft.com/office/drawing/2014/main" id="{35A53CE8-098C-EA04-D429-5C848E5869A4}"/>
              </a:ext>
            </a:extLst>
          </p:cNvPr>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a:extLst>
              <a:ext uri="{FF2B5EF4-FFF2-40B4-BE49-F238E27FC236}">
                <a16:creationId xmlns:a16="http://schemas.microsoft.com/office/drawing/2014/main" id="{67659B99-9468-13DE-7211-28562750146D}"/>
              </a:ext>
            </a:extLst>
          </p:cNvPr>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32976961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Merci à tous pour votre attention et votre participation. N’hésitez pas à nous contacter si vous avez d’autres questions après la sess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lvl="0" defTabSz="914099" eaLnBrk="0" hangingPunct="0">
              <a:defRPr/>
            </a:pPr>
            <a:r>
              <a:rPr lang="fr-fr"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us droits réservés. MICROSOFT NE FOURNIT AUCUNE GARANTIE EXPRESSE, IMPLICITE OU LÉGALE RELATIVE AUX INFORMATIONS CONTENUES DANS CETTE PRÉSENTATION.</a:t>
            </a:r>
          </a:p>
        </p:txBody>
      </p:sp>
      <p:sp>
        <p:nvSpPr>
          <p:cNvPr id="6" name="Date Placeholder 5"/>
          <p:cNvSpPr>
            <a:spLocks noGrp="1"/>
          </p:cNvSpPr>
          <p:nvPr>
            <p:ph type="dt" idx="1"/>
          </p:nvPr>
        </p:nvSpPr>
        <p:spPr/>
        <p:txBody>
          <a:bodyPr/>
          <a:lstStyle/>
          <a:p>
            <a:fld id="{386CE63F-9E7F-4C04-9D0D-FCA25A8E9E86}" type="datetime8">
              <a:rPr lang="en-US" smtClean="0"/>
              <a:pPr/>
              <a:t>6/29/2026 9: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0</a:t>
            </a:fld>
            <a:endParaRPr lang="en-US"/>
          </a:p>
        </p:txBody>
      </p:sp>
    </p:spTree>
    <p:extLst>
      <p:ext uri="{BB962C8B-B14F-4D97-AF65-F5344CB8AC3E}">
        <p14:creationId xmlns:p14="http://schemas.microsoft.com/office/powerpoint/2010/main" val="12992033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5.png"/><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emf"/><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72.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72.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7.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72.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72.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72.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3.jpeg"/><Relationship Id="rId7" Type="http://schemas.openxmlformats.org/officeDocument/2006/relationships/image" Target="../media/image77.jpeg"/><Relationship Id="rId2" Type="http://schemas.openxmlformats.org/officeDocument/2006/relationships/image" Target="../media/image72.png"/><Relationship Id="rId1" Type="http://schemas.openxmlformats.org/officeDocument/2006/relationships/slideMaster" Target="../slideMasters/slideMaster3.xml"/><Relationship Id="rId6" Type="http://schemas.openxmlformats.org/officeDocument/2006/relationships/image" Target="../media/image76.jpeg"/><Relationship Id="rId5" Type="http://schemas.openxmlformats.org/officeDocument/2006/relationships/image" Target="../media/image75.png"/><Relationship Id="rId4" Type="http://schemas.openxmlformats.org/officeDocument/2006/relationships/image" Target="../media/image74.jpeg"/></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59.png"/><Relationship Id="rId1" Type="http://schemas.openxmlformats.org/officeDocument/2006/relationships/slideMaster" Target="../slideMasters/slideMaster3.xml"/><Relationship Id="rId4" Type="http://schemas.openxmlformats.org/officeDocument/2006/relationships/image" Target="../media/image79.png"/></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jpe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86.sv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88.svg"/><Relationship Id="rId2" Type="http://schemas.openxmlformats.org/officeDocument/2006/relationships/image" Target="../media/image87.sv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89.jpe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67.png"/><Relationship Id="rId1" Type="http://schemas.openxmlformats.org/officeDocument/2006/relationships/slideMaster" Target="../slideMasters/slideMaster3.xml"/><Relationship Id="rId4" Type="http://schemas.openxmlformats.org/officeDocument/2006/relationships/image" Target="../media/image84.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8.svg"/><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23.emf"/></Relationships>
</file>

<file path=ppt/slideLayouts/_rels/slideLayout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11.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2.jpe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25.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2.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28.png"/><Relationship Id="rId4" Type="http://schemas.openxmlformats.org/officeDocument/2006/relationships/image" Target="../media/image27.jpeg"/></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28.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13.png"/><Relationship Id="rId7" Type="http://schemas.openxmlformats.org/officeDocument/2006/relationships/image" Target="../media/image11.sv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jpeg"/><Relationship Id="rId1" Type="http://schemas.openxmlformats.org/officeDocument/2006/relationships/slideMaster" Target="../slideMasters/slideMaster2.xml"/><Relationship Id="rId4" Type="http://schemas.openxmlformats.org/officeDocument/2006/relationships/image" Target="../media/image31.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2.jpeg"/><Relationship Id="rId1" Type="http://schemas.openxmlformats.org/officeDocument/2006/relationships/slideMaster" Target="../slideMasters/slideMaster2.xml"/><Relationship Id="rId4" Type="http://schemas.openxmlformats.org/officeDocument/2006/relationships/image" Target="../media/image38.jpe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2.jpeg"/><Relationship Id="rId1" Type="http://schemas.openxmlformats.org/officeDocument/2006/relationships/slideMaster" Target="../slideMasters/slideMaster2.xml"/><Relationship Id="rId5" Type="http://schemas.openxmlformats.org/officeDocument/2006/relationships/image" Target="../media/image39.jpeg"/><Relationship Id="rId4" Type="http://schemas.openxmlformats.org/officeDocument/2006/relationships/image" Target="../media/image38.jpe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Master" Target="../slideMasters/slideMaster2.xml"/><Relationship Id="rId4" Type="http://schemas.openxmlformats.org/officeDocument/2006/relationships/image" Target="../media/image44.jpe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2.xml"/><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2.jpeg"/><Relationship Id="rId1" Type="http://schemas.openxmlformats.org/officeDocument/2006/relationships/slideMaster" Target="../slideMasters/slideMaster2.xml"/><Relationship Id="rId6" Type="http://schemas.openxmlformats.org/officeDocument/2006/relationships/image" Target="../media/image49.jpeg"/><Relationship Id="rId5" Type="http://schemas.openxmlformats.org/officeDocument/2006/relationships/image" Target="../media/image39.jpeg"/><Relationship Id="rId4" Type="http://schemas.openxmlformats.org/officeDocument/2006/relationships/image" Target="../media/image38.jpe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2.jpeg"/><Relationship Id="rId1" Type="http://schemas.openxmlformats.org/officeDocument/2006/relationships/slideMaster" Target="../slideMasters/slideMaster2.xml"/><Relationship Id="rId4" Type="http://schemas.openxmlformats.org/officeDocument/2006/relationships/image" Target="../media/image38.jpe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2.jpeg"/><Relationship Id="rId1" Type="http://schemas.openxmlformats.org/officeDocument/2006/relationships/slideMaster" Target="../slideMasters/slideMaster2.xml"/><Relationship Id="rId5" Type="http://schemas.openxmlformats.org/officeDocument/2006/relationships/image" Target="../media/image39.jpeg"/><Relationship Id="rId4" Type="http://schemas.openxmlformats.org/officeDocument/2006/relationships/image" Target="../media/image38.jpe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2.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jpe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7.png"/><Relationship Id="rId4" Type="http://schemas.openxmlformats.org/officeDocument/2006/relationships/image" Target="../media/image6.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Master" Target="../slideMasters/slideMaster3.xml"/><Relationship Id="rId4" Type="http://schemas.openxmlformats.org/officeDocument/2006/relationships/image" Target="../media/image56.emf"/></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3.xml"/><Relationship Id="rId4" Type="http://schemas.openxmlformats.org/officeDocument/2006/relationships/image" Target="../media/image56.emf"/></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3.xml"/><Relationship Id="rId5" Type="http://schemas.openxmlformats.org/officeDocument/2006/relationships/image" Target="../media/image65.png"/><Relationship Id="rId4" Type="http://schemas.openxmlformats.org/officeDocument/2006/relationships/image" Target="../media/image64.pn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B53FBF24-EE52-9152-2D40-87550FF4CB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09893" cy="6858000"/>
          </a:xfrm>
          <a:prstGeom prst="rect">
            <a:avLst/>
          </a:prstGeom>
        </p:spPr>
      </p:pic>
      <p:pic>
        <p:nvPicPr>
          <p:cNvPr id="6" name="Picture 5" descr="A close up of a corner of a paper&#10;&#10;AI-generated content may be incorrect.">
            <a:extLst>
              <a:ext uri="{FF2B5EF4-FFF2-40B4-BE49-F238E27FC236}">
                <a16:creationId xmlns:a16="http://schemas.microsoft.com/office/drawing/2014/main" id="{58082223-228D-0D73-1BE9-2EF2BFACD893}"/>
              </a:ext>
            </a:extLst>
          </p:cNvPr>
          <p:cNvPicPr>
            <a:picLocks noChangeAspect="1"/>
          </p:cNvPicPr>
          <p:nvPr userDrawn="1"/>
        </p:nvPicPr>
        <p:blipFill>
          <a:blip r:embed="rId3">
            <a:alphaModFix amt="85000"/>
            <a:extLst>
              <a:ext uri="{BEBA8EAE-BF5A-486C-A8C5-ECC9F3942E4B}">
                <a14:imgProps xmlns:a14="http://schemas.microsoft.com/office/drawing/2010/main">
                  <a14:imgLayer r:embed="rId4">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835" t="-3489" r="308" b="3489"/>
          <a:stretch>
            <a:fillRect/>
          </a:stretch>
        </p:blipFill>
        <p:spPr>
          <a:xfrm rot="5400000" flipV="1">
            <a:off x="5793471" y="281511"/>
            <a:ext cx="6730538" cy="6125480"/>
          </a:xfrm>
          <a:prstGeom prst="rect">
            <a:avLst/>
          </a:prstGeom>
        </p:spPr>
      </p:pic>
      <p:pic>
        <p:nvPicPr>
          <p:cNvPr id="9" name="Graphic 8">
            <a:extLst>
              <a:ext uri="{FF2B5EF4-FFF2-40B4-BE49-F238E27FC236}">
                <a16:creationId xmlns:a16="http://schemas.microsoft.com/office/drawing/2014/main" id="{2D81F35F-51EF-1A05-D21F-30E9EB908F37}"/>
              </a:ext>
            </a:extLst>
          </p:cNvPr>
          <p:cNvPicPr>
            <a:picLocks noChangeAspect="1"/>
          </p:cNvPicPr>
          <p:nvPr userDrawn="1"/>
        </p:nvPicPr>
        <p:blipFill>
          <a:blip r:embed="rId5"/>
          <a:srcRect/>
          <a:stretch/>
        </p:blipFill>
        <p:spPr>
          <a:xfrm>
            <a:off x="482218" y="713232"/>
            <a:ext cx="1335210" cy="705394"/>
          </a:xfrm>
          <a:prstGeom prst="rect">
            <a:avLst/>
          </a:prstGeom>
        </p:spPr>
      </p:pic>
      <p:pic>
        <p:nvPicPr>
          <p:cNvPr id="13" name="Picture 12">
            <a:extLst>
              <a:ext uri="{FF2B5EF4-FFF2-40B4-BE49-F238E27FC236}">
                <a16:creationId xmlns:a16="http://schemas.microsoft.com/office/drawing/2014/main" id="{5349DB46-2E1F-33DC-CBA7-D279F98549A8}"/>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B0CEF29F-AD69-0E43-342A-9B87F2F60C02}"/>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B3CE10E-3DEF-3797-28AD-A45FD0739AA4}"/>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1499750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6">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r="30488" b="42725"/>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t="14771" r="11937"/>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t="98301" r="96994"/>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l="-11723" t="71799" r="100000" b="1699"/>
          <a:stretch>
            <a:fill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5" name="Title Placeholder 1">
            <a:extLst>
              <a:ext uri="{FF2B5EF4-FFF2-40B4-BE49-F238E27FC236}">
                <a16:creationId xmlns:a16="http://schemas.microsoft.com/office/drawing/2014/main" id="{ABB3877C-3695-9A63-E3CF-23A2DD86137C}"/>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193548173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blank">
    <p:bg>
      <p:bgPr>
        <a:gradFill>
          <a:gsLst>
            <a:gs pos="0">
              <a:schemeClr val="accent6">
                <a:lumMod val="20000"/>
                <a:lumOff val="80000"/>
              </a:schemeClr>
            </a:gs>
            <a:gs pos="21000">
              <a:srgbClr val="FEE6F3"/>
            </a:gs>
            <a:gs pos="38000">
              <a:srgbClr val="D1D1FF"/>
            </a:gs>
            <a:gs pos="100000">
              <a:schemeClr val="bg1"/>
            </a:gs>
          </a:gsLst>
          <a:lin ang="14040000" scaled="0"/>
        </a:gra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4A2E7FE-F8E7-13CA-38A4-B4E3C61C4577}"/>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chemeClr val="bg1"/>
                </a:solidFill>
              </a:rPr>
              <a:t>ELT layout</a:t>
            </a:r>
          </a:p>
        </p:txBody>
      </p:sp>
      <p:pic>
        <p:nvPicPr>
          <p:cNvPr id="8" name="Picture 7" descr="A colorful objects on a surface&#10;&#10;AI-generated content may be incorrect.">
            <a:extLst>
              <a:ext uri="{FF2B5EF4-FFF2-40B4-BE49-F238E27FC236}">
                <a16:creationId xmlns:a16="http://schemas.microsoft.com/office/drawing/2014/main" id="{7DDDD698-561F-ABCA-4ACF-2DA3110B3A61}"/>
              </a:ext>
            </a:extLst>
          </p:cNvPr>
          <p:cNvPicPr>
            <a:picLocks noChangeAspect="1"/>
          </p:cNvPicPr>
          <p:nvPr userDrawn="1"/>
        </p:nvPicPr>
        <p:blipFill>
          <a:blip r:embed="rId2">
            <a:alphaModFix amt="14000"/>
          </a:blip>
          <a:stretch>
            <a:fillRect/>
          </a:stretch>
        </p:blipFill>
        <p:spPr>
          <a:xfrm>
            <a:off x="0" y="-1772"/>
            <a:ext cx="12192000" cy="6861544"/>
          </a:xfrm>
          <a:prstGeom prst="rect">
            <a:avLst/>
          </a:prstGeom>
        </p:spPr>
      </p:pic>
      <p:sp>
        <p:nvSpPr>
          <p:cNvPr id="9" name="Rectangle 8">
            <a:extLst>
              <a:ext uri="{FF2B5EF4-FFF2-40B4-BE49-F238E27FC236}">
                <a16:creationId xmlns:a16="http://schemas.microsoft.com/office/drawing/2014/main" id="{F6D1EF06-0BD6-1E83-0080-7B5EDB5A98DB}"/>
              </a:ext>
            </a:extLst>
          </p:cNvPr>
          <p:cNvSpPr/>
          <p:nvPr userDrawn="1"/>
        </p:nvSpPr>
        <p:spPr bwMode="auto">
          <a:xfrm>
            <a:off x="0" y="-1772"/>
            <a:ext cx="12192000" cy="6861544"/>
          </a:xfrm>
          <a:prstGeom prst="rect">
            <a:avLst/>
          </a:prstGeom>
          <a:gradFill>
            <a:gsLst>
              <a:gs pos="0">
                <a:srgbClr val="FECBE6">
                  <a:alpha val="39000"/>
                </a:srgbClr>
              </a:gs>
              <a:gs pos="33000">
                <a:srgbClr val="BABAFF">
                  <a:alpha val="52000"/>
                </a:srgbClr>
              </a:gs>
              <a:gs pos="66000">
                <a:schemeClr val="accent6">
                  <a:lumMod val="25000"/>
                  <a:lumOff val="75000"/>
                  <a:alpha val="67000"/>
                </a:schemeClr>
              </a:gs>
              <a:gs pos="98165">
                <a:schemeClr val="bg1">
                  <a:alpha val="49000"/>
                </a:schemeClr>
              </a:gs>
            </a:gsLst>
            <a:lin ang="15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10" name="TextBox 9">
            <a:extLst>
              <a:ext uri="{FF2B5EF4-FFF2-40B4-BE49-F238E27FC236}">
                <a16:creationId xmlns:a16="http://schemas.microsoft.com/office/drawing/2014/main" id="{4EA00930-F038-0B7B-62AC-E013AA5F4039}"/>
              </a:ext>
              <a:ext uri="{C183D7F6-B498-43B3-948B-1728B52AA6E4}">
                <adec:decorative xmlns:adec="http://schemas.microsoft.com/office/drawing/2017/decorative" val="1"/>
              </a:ext>
            </a:extLst>
          </p:cNvPr>
          <p:cNvSpPr txBox="1"/>
          <p:nvPr userDrawn="1"/>
        </p:nvSpPr>
        <p:spPr>
          <a:xfrm>
            <a:off x="12508121" y="-51544"/>
            <a:ext cx="577081" cy="153888"/>
          </a:xfrm>
          <a:prstGeom prst="rect">
            <a:avLst/>
          </a:prstGeom>
          <a:noFill/>
        </p:spPr>
        <p:txBody>
          <a:bodyPr wrap="none" lIns="0" tIns="0" rIns="0" bIns="0" rtlCol="0">
            <a:spAutoFit/>
          </a:bodyPr>
          <a:lstStyle/>
          <a:p>
            <a:pPr algn="l"/>
            <a:r>
              <a:rPr lang="en-US" sz="1000">
                <a:solidFill>
                  <a:schemeClr val="bg1"/>
                </a:solidFill>
              </a:rPr>
              <a:t>ELT layout</a:t>
            </a:r>
          </a:p>
        </p:txBody>
      </p:sp>
    </p:spTree>
    <p:extLst>
      <p:ext uri="{BB962C8B-B14F-4D97-AF65-F5344CB8AC3E}">
        <p14:creationId xmlns:p14="http://schemas.microsoft.com/office/powerpoint/2010/main" val="40180536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Title &amp; Non-bulleted text">
    <p:bg>
      <p:bgPr>
        <a:gradFill>
          <a:gsLst>
            <a:gs pos="97248">
              <a:schemeClr val="accent4">
                <a:lumMod val="90000"/>
              </a:schemeClr>
            </a:gs>
            <a:gs pos="74000">
              <a:schemeClr val="accent1"/>
            </a:gs>
            <a:gs pos="18000">
              <a:srgbClr val="001642"/>
            </a:gs>
          </a:gsLst>
          <a:lin ang="1800000" scaled="0"/>
        </a:gra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A47773C-6D94-8657-7ECA-32327CE57663}"/>
              </a:ext>
            </a:extLst>
          </p:cNvPr>
          <p:cNvSpPr>
            <a:spLocks noGrp="1"/>
          </p:cNvSpPr>
          <p:nvPr>
            <p:ph type="title" hasCustomPrompt="1"/>
          </p:nvPr>
        </p:nvSpPr>
        <p:spPr>
          <a:xfrm>
            <a:off x="588263" y="457200"/>
            <a:ext cx="11018520" cy="553998"/>
          </a:xfrm>
        </p:spPr>
        <p:txBody>
          <a:bodyPr/>
          <a:lstStyle>
            <a:lvl1pPr>
              <a:defRPr>
                <a:solidFill>
                  <a:schemeClr val="bg1"/>
                </a:solidFill>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5" name="Text Placeholder 3">
            <a:extLst>
              <a:ext uri="{FF2B5EF4-FFF2-40B4-BE49-F238E27FC236}">
                <a16:creationId xmlns:a16="http://schemas.microsoft.com/office/drawing/2014/main" id="{6CA4345C-30A1-DE83-97BA-6C7AF43577A8}"/>
              </a:ext>
            </a:extLst>
          </p:cNvPr>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solidFill>
                  <a:schemeClr val="bg1"/>
                </a:solidFill>
                <a:latin typeface="Segoe Sans Display" pitchFamily="2" charset="0"/>
                <a:cs typeface="Segoe Sans Display" pitchFamily="2" charset="0"/>
              </a:defRPr>
            </a:lvl1pPr>
            <a:lvl2pPr marL="255588" indent="0">
              <a:buFont typeface="Wingdings" panose="05000000000000000000" pitchFamily="2" charset="2"/>
              <a:buNone/>
              <a:defRPr sz="2000" b="0">
                <a:solidFill>
                  <a:schemeClr val="bg1"/>
                </a:solidFill>
              </a:defRPr>
            </a:lvl2pPr>
            <a:lvl3pPr marL="450850" indent="0">
              <a:buFont typeface="Wingdings" panose="05000000000000000000" pitchFamily="2" charset="2"/>
              <a:buNone/>
              <a:tabLst/>
              <a:defRPr sz="1600" b="0">
                <a:solidFill>
                  <a:schemeClr val="bg1"/>
                </a:solidFill>
              </a:defRPr>
            </a:lvl3pPr>
            <a:lvl4pPr marL="652462" indent="0">
              <a:buFont typeface="Wingdings" panose="05000000000000000000" pitchFamily="2" charset="2"/>
              <a:buNone/>
              <a:defRPr sz="1400" b="0">
                <a:solidFill>
                  <a:schemeClr val="bg1"/>
                </a:solidFill>
              </a:defRPr>
            </a:lvl4pPr>
            <a:lvl5pPr marL="854075" indent="0">
              <a:buFont typeface="Wingdings" panose="05000000000000000000" pitchFamily="2" charset="2"/>
              <a:buNone/>
              <a:tabLst/>
              <a:defRPr sz="1400" b="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4C0AE57E-89E5-ADEF-F630-71847FF9C348}"/>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solidFill>
                  <a:schemeClr val="bg1"/>
                </a:solidFill>
                <a:latin typeface="Segoe Sans Display" pitchFamily="2" charset="0"/>
                <a:cs typeface="Segoe Sans Display" pitchFamily="2" charset="0"/>
              </a:defRPr>
            </a:lvl1pPr>
            <a:lvl2pPr marL="255588" indent="0">
              <a:buFont typeface="Wingdings" panose="05000000000000000000" pitchFamily="2" charset="2"/>
              <a:buNone/>
              <a:defRPr sz="2000" b="0">
                <a:solidFill>
                  <a:schemeClr val="bg1"/>
                </a:solidFill>
              </a:defRPr>
            </a:lvl2pPr>
            <a:lvl3pPr marL="450850" indent="0">
              <a:buFont typeface="Wingdings" panose="05000000000000000000" pitchFamily="2" charset="2"/>
              <a:buNone/>
              <a:tabLst/>
              <a:defRPr sz="1600" b="0">
                <a:solidFill>
                  <a:schemeClr val="bg1"/>
                </a:solidFill>
              </a:defRPr>
            </a:lvl3pPr>
            <a:lvl4pPr marL="652462" indent="0">
              <a:buFont typeface="Wingdings" panose="05000000000000000000" pitchFamily="2" charset="2"/>
              <a:buNone/>
              <a:defRPr sz="1400" b="0">
                <a:solidFill>
                  <a:schemeClr val="bg1"/>
                </a:solidFill>
              </a:defRPr>
            </a:lvl4pPr>
            <a:lvl5pPr marL="854075" indent="0">
              <a:buFont typeface="Wingdings" panose="05000000000000000000" pitchFamily="2" charset="2"/>
              <a:buNone/>
              <a:tabLst/>
              <a:defRPr sz="1400" b="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a:extLst>
              <a:ext uri="{FF2B5EF4-FFF2-40B4-BE49-F238E27FC236}">
                <a16:creationId xmlns:a16="http://schemas.microsoft.com/office/drawing/2014/main" id="{B1DB8C26-1E51-E385-50F0-B27A6C19149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0928677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Title &amp; Non-bulleted text">
    <p:bg>
      <p:bgPr>
        <a:gradFill>
          <a:gsLst>
            <a:gs pos="97248">
              <a:schemeClr val="accent4">
                <a:lumMod val="90000"/>
              </a:schemeClr>
            </a:gs>
            <a:gs pos="74000">
              <a:schemeClr val="accent1"/>
            </a:gs>
            <a:gs pos="18000">
              <a:srgbClr val="001642"/>
            </a:gs>
          </a:gsLst>
          <a:lin ang="1800000" scaled="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0A7C86-F9F5-A06A-5653-14E74B6D57B2}"/>
              </a:ext>
            </a:extLst>
          </p:cNvPr>
          <p:cNvSpPr>
            <a:spLocks noGrp="1"/>
          </p:cNvSpPr>
          <p:nvPr>
            <p:ph type="title" hasCustomPrompt="1"/>
          </p:nvPr>
        </p:nvSpPr>
        <p:spPr>
          <a:xfrm>
            <a:off x="588263" y="457200"/>
            <a:ext cx="11018520" cy="553998"/>
          </a:xfrm>
        </p:spPr>
        <p:txBody>
          <a:bodyPr>
            <a:spAutoFit/>
          </a:bodyPr>
          <a:lstStyle>
            <a:lvl1pPr>
              <a:defRPr>
                <a:solidFill>
                  <a:schemeClr val="bg1"/>
                </a:solidFill>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4" name="Text Placeholder 11">
            <a:extLst>
              <a:ext uri="{FF2B5EF4-FFF2-40B4-BE49-F238E27FC236}">
                <a16:creationId xmlns:a16="http://schemas.microsoft.com/office/drawing/2014/main" id="{18E452EB-D12F-DC48-2F48-58F3A46FB408}"/>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bg1"/>
                </a:solidFill>
                <a:latin typeface="+mj-lt"/>
              </a:defRPr>
            </a:lvl1pPr>
          </a:lstStyle>
          <a:p>
            <a:pPr lvl="0"/>
            <a:r>
              <a:rPr lang="en-US"/>
              <a:t>Click to edit Master text styles</a:t>
            </a:r>
          </a:p>
        </p:txBody>
      </p:sp>
      <p:sp>
        <p:nvSpPr>
          <p:cNvPr id="7" name="Text Placeholder 7">
            <a:extLst>
              <a:ext uri="{FF2B5EF4-FFF2-40B4-BE49-F238E27FC236}">
                <a16:creationId xmlns:a16="http://schemas.microsoft.com/office/drawing/2014/main" id="{96109B75-DB48-5629-0F7A-0792078F4FB5}"/>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solidFill>
                  <a:schemeClr val="bg1"/>
                </a:solidFill>
              </a:defRPr>
            </a:lvl1pPr>
            <a:lvl2pPr marL="342900" indent="-171450">
              <a:defRPr lang="en-US" dirty="0">
                <a:solidFill>
                  <a:schemeClr val="bg1"/>
                </a:solidFill>
              </a:defRPr>
            </a:lvl2pPr>
            <a:lvl3pPr marL="514350" indent="-171450">
              <a:defRPr lang="en-US" dirty="0">
                <a:solidFill>
                  <a:schemeClr val="bg1"/>
                </a:solidFill>
              </a:defRPr>
            </a:lvl3pPr>
            <a:lvl4pPr marL="666750" indent="-152400">
              <a:defRPr lang="en-US" dirty="0">
                <a:solidFill>
                  <a:schemeClr val="bg1"/>
                </a:solidFill>
              </a:defRPr>
            </a:lvl4pPr>
            <a:lvl5pPr marL="793750" indent="-120650">
              <a:defRPr lang="en-US"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1">
            <a:extLst>
              <a:ext uri="{FF2B5EF4-FFF2-40B4-BE49-F238E27FC236}">
                <a16:creationId xmlns:a16="http://schemas.microsoft.com/office/drawing/2014/main" id="{66CB3A79-2771-4160-A4FA-8FEDBA6A056A}"/>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bg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C649B422-98F9-AF5E-6CEE-551B490084A4}"/>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solidFill>
                  <a:schemeClr val="bg1"/>
                </a:solidFill>
              </a:defRPr>
            </a:lvl1pPr>
            <a:lvl2pPr marL="342900" indent="-171450">
              <a:defRPr lang="en-US" dirty="0">
                <a:solidFill>
                  <a:schemeClr val="bg1"/>
                </a:solidFill>
              </a:defRPr>
            </a:lvl2pPr>
            <a:lvl3pPr marL="514350" indent="-171450">
              <a:defRPr lang="en-US" dirty="0">
                <a:solidFill>
                  <a:schemeClr val="bg1"/>
                </a:solidFill>
              </a:defRPr>
            </a:lvl3pPr>
            <a:lvl4pPr marL="685800" indent="-136525">
              <a:defRPr lang="en-US" dirty="0">
                <a:solidFill>
                  <a:schemeClr val="bg1"/>
                </a:solidFill>
              </a:defRPr>
            </a:lvl4pPr>
            <a:lvl5pPr marL="793750" indent="-120650">
              <a:defRPr lang="en-US"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267B4B92-A28F-942D-AC0B-7AA176A61C99}"/>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58510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_Title &amp; Non-bulleted text">
    <p:bg>
      <p:bgPr>
        <a:gradFill>
          <a:gsLst>
            <a:gs pos="97248">
              <a:schemeClr val="accent4">
                <a:lumMod val="90000"/>
              </a:schemeClr>
            </a:gs>
            <a:gs pos="74000">
              <a:schemeClr val="accent1"/>
            </a:gs>
            <a:gs pos="18000">
              <a:srgbClr val="001642"/>
            </a:gs>
          </a:gsLst>
          <a:lin ang="1800000" scaled="0"/>
        </a:gra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C01711F-BB2D-A8EC-15E0-1402B0B957F0}"/>
              </a:ext>
            </a:extLst>
          </p:cNvPr>
          <p:cNvSpPr>
            <a:spLocks noGrp="1"/>
          </p:cNvSpPr>
          <p:nvPr>
            <p:ph type="title" hasCustomPrompt="1"/>
          </p:nvPr>
        </p:nvSpPr>
        <p:spPr>
          <a:xfrm>
            <a:off x="588263" y="457200"/>
            <a:ext cx="11018520" cy="553998"/>
          </a:xfrm>
        </p:spPr>
        <p:txBody>
          <a:bodyPr>
            <a:spAutoFit/>
          </a:bodyPr>
          <a:lstStyle>
            <a:lvl1pPr>
              <a:defRPr>
                <a:solidFill>
                  <a:schemeClr val="bg1"/>
                </a:solidFill>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5" name="Text Placeholder 11">
            <a:extLst>
              <a:ext uri="{FF2B5EF4-FFF2-40B4-BE49-F238E27FC236}">
                <a16:creationId xmlns:a16="http://schemas.microsoft.com/office/drawing/2014/main" id="{17832A40-C083-75A5-8D54-FCB2ABA77092}"/>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bg1"/>
                </a:solidFill>
                <a:latin typeface="+mj-lt"/>
              </a:defRPr>
            </a:lvl1pPr>
          </a:lstStyle>
          <a:p>
            <a:pPr lvl="0"/>
            <a:r>
              <a:rPr lang="en-US"/>
              <a:t>Click to edit Master text styles</a:t>
            </a:r>
          </a:p>
        </p:txBody>
      </p:sp>
      <p:sp>
        <p:nvSpPr>
          <p:cNvPr id="6" name="Content Placeholder 14">
            <a:extLst>
              <a:ext uri="{FF2B5EF4-FFF2-40B4-BE49-F238E27FC236}">
                <a16:creationId xmlns:a16="http://schemas.microsoft.com/office/drawing/2014/main" id="{71C17D6B-AD4B-98DD-5D9A-F745527CDA30}"/>
              </a:ext>
            </a:extLst>
          </p:cNvPr>
          <p:cNvSpPr>
            <a:spLocks noGrp="1"/>
          </p:cNvSpPr>
          <p:nvPr>
            <p:ph sz="quarter" idx="11"/>
          </p:nvPr>
        </p:nvSpPr>
        <p:spPr>
          <a:xfrm>
            <a:off x="588963" y="2081212"/>
            <a:ext cx="5214937" cy="1551194"/>
          </a:xfrm>
        </p:spPr>
        <p:txBody>
          <a:bodyPr/>
          <a:lstStyle>
            <a:lvl1pPr>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5BACB0EA-53F0-E57C-3458-AE2C84591CD6}"/>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bg1"/>
                </a:solidFill>
                <a:latin typeface="+mj-lt"/>
              </a:defRPr>
            </a:lvl1pPr>
          </a:lstStyle>
          <a:p>
            <a:pPr lvl="0"/>
            <a:r>
              <a:rPr lang="en-US"/>
              <a:t>Click to edit Master text styles</a:t>
            </a:r>
          </a:p>
        </p:txBody>
      </p:sp>
      <p:sp>
        <p:nvSpPr>
          <p:cNvPr id="12" name="Content Placeholder 14">
            <a:extLst>
              <a:ext uri="{FF2B5EF4-FFF2-40B4-BE49-F238E27FC236}">
                <a16:creationId xmlns:a16="http://schemas.microsoft.com/office/drawing/2014/main" id="{181AB79B-969A-7927-4E6E-D62833B54057}"/>
              </a:ext>
            </a:extLst>
          </p:cNvPr>
          <p:cNvSpPr>
            <a:spLocks noGrp="1"/>
          </p:cNvSpPr>
          <p:nvPr>
            <p:ph sz="quarter" idx="13"/>
          </p:nvPr>
        </p:nvSpPr>
        <p:spPr>
          <a:xfrm>
            <a:off x="6394451" y="2081212"/>
            <a:ext cx="5214937" cy="1551194"/>
          </a:xfrm>
        </p:spPr>
        <p:txBody>
          <a:bodyPr/>
          <a:lstStyle>
            <a:lvl1pPr>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27917491-AC2D-9616-00F6-A759EB52BDE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chemeClr val="bg1"/>
                </a:solidFill>
              </a:rPr>
              <a:t>ELT layout</a:t>
            </a:r>
          </a:p>
        </p:txBody>
      </p:sp>
      <p:sp>
        <p:nvSpPr>
          <p:cNvPr id="14" name="Text Placeholder 4">
            <a:extLst>
              <a:ext uri="{FF2B5EF4-FFF2-40B4-BE49-F238E27FC236}">
                <a16:creationId xmlns:a16="http://schemas.microsoft.com/office/drawing/2014/main" id="{371469E9-70E9-BBC3-1237-A902E614E67D}"/>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9797735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7_Title &amp; Non-bulleted text">
    <p:bg>
      <p:bgPr>
        <a:gradFill>
          <a:gsLst>
            <a:gs pos="97248">
              <a:schemeClr val="accent4">
                <a:lumMod val="90000"/>
              </a:schemeClr>
            </a:gs>
            <a:gs pos="74000">
              <a:schemeClr val="accent1"/>
            </a:gs>
            <a:gs pos="18000">
              <a:srgbClr val="001642"/>
            </a:gs>
          </a:gsLst>
          <a:lin ang="1800000" scaled="0"/>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67156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Only - left side ">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A8A858-7D60-1F61-F055-DE38D91A168A}"/>
              </a:ext>
            </a:extLst>
          </p:cNvPr>
          <p:cNvPicPr>
            <a:picLocks noChangeAspect="1"/>
          </p:cNvPicPr>
          <p:nvPr userDrawn="1"/>
        </p:nvPicPr>
        <p:blipFill>
          <a:blip r:embed="rId2">
            <a:alphaModFix/>
          </a:blip>
          <a:srcRect l="7383" t="18565" r="47472" b="36289"/>
          <a:stretch>
            <a:fillRect/>
          </a:stretch>
        </p:blipFill>
        <p:spPr>
          <a:xfrm>
            <a:off x="0" y="-1"/>
            <a:ext cx="12192000" cy="6858001"/>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4" y="3152001"/>
            <a:ext cx="4127692" cy="553998"/>
          </a:xfrm>
        </p:spPr>
        <p:txBody>
          <a:bodyPr wrap="square" anchor="ctr">
            <a:spAutoFit/>
          </a:bodyPr>
          <a:lstStyle>
            <a:lvl1pPr>
              <a:defRPr>
                <a:solidFill>
                  <a:schemeClr val="bg1"/>
                </a:solidFill>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Tree>
    <p:extLst>
      <p:ext uri="{BB962C8B-B14F-4D97-AF65-F5344CB8AC3E}">
        <p14:creationId xmlns:p14="http://schemas.microsoft.com/office/powerpoint/2010/main" val="29435400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ice">
    <p:bg>
      <p:bgPr>
        <a:gradFill>
          <a:gsLst>
            <a:gs pos="0">
              <a:schemeClr val="accent1"/>
            </a:gs>
            <a:gs pos="100000">
              <a:schemeClr val="tx2"/>
            </a:gs>
          </a:gsLst>
          <a:lin ang="5400000" scaled="1"/>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772BB60-6C3A-73F5-AFB8-6936883E3A2C}"/>
              </a:ext>
            </a:extLst>
          </p:cNvPr>
          <p:cNvPicPr>
            <a:picLocks noChangeAspect="1"/>
          </p:cNvPicPr>
          <p:nvPr userDrawn="1"/>
        </p:nvPicPr>
        <p:blipFill>
          <a:blip r:embed="rId2">
            <a:alphaModFix/>
          </a:blip>
          <a:srcRect l="7383" t="18565" r="47472" b="36289"/>
          <a:stretch>
            <a:fillRect/>
          </a:stretch>
        </p:blipFill>
        <p:spPr>
          <a:xfrm>
            <a:off x="1" y="0"/>
            <a:ext cx="12192000" cy="6858001"/>
          </a:xfrm>
          <a:prstGeom prst="rect">
            <a:avLst/>
          </a:prstGeom>
        </p:spPr>
      </p:pic>
      <p:sp>
        <p:nvSpPr>
          <p:cNvPr id="8" name="Rectangle 7">
            <a:extLst>
              <a:ext uri="{FF2B5EF4-FFF2-40B4-BE49-F238E27FC236}">
                <a16:creationId xmlns:a16="http://schemas.microsoft.com/office/drawing/2014/main" id="{0D44BBC4-A9EE-C999-0518-04D5B770372A}"/>
              </a:ext>
            </a:extLst>
          </p:cNvPr>
          <p:cNvSpPr/>
          <p:nvPr userDrawn="1"/>
        </p:nvSpPr>
        <p:spPr bwMode="auto">
          <a:xfrm rot="10800000">
            <a:off x="11437257" y="0"/>
            <a:ext cx="754743" cy="6858000"/>
          </a:xfrm>
          <a:prstGeom prst="rect">
            <a:avLst/>
          </a:prstGeom>
          <a:gradFill>
            <a:gsLst>
              <a:gs pos="0">
                <a:srgbClr val="FECBE6"/>
              </a:gs>
              <a:gs pos="35000">
                <a:srgbClr val="BABAFF"/>
              </a:gs>
              <a:gs pos="50000">
                <a:srgbClr val="58AAFE"/>
              </a:gs>
              <a:gs pos="98165">
                <a:srgbClr val="1B45B3"/>
              </a:gs>
              <a:gs pos="88000">
                <a:srgbClr val="2764E7"/>
              </a:gs>
              <a:gs pos="72000">
                <a:srgbClr val="4894FE"/>
              </a:gs>
            </a:gsLst>
            <a:lin ang="15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hasCustomPrompt="1"/>
          </p:nvPr>
        </p:nvSpPr>
        <p:spPr>
          <a:xfrm>
            <a:off x="588263" y="457200"/>
            <a:ext cx="6583680" cy="553998"/>
          </a:xfrm>
        </p:spPr>
        <p:txBody>
          <a:bodyPr/>
          <a:lstStyle>
            <a:lvl1pPr>
              <a:defRPr>
                <a:solidFill>
                  <a:schemeClr val="bg1"/>
                </a:solidFill>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3689220" cy="413284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chemeClr val="bg1"/>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4547118" y="1435100"/>
            <a:ext cx="7333861" cy="4132843"/>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2"/>
                </a:solidFill>
              </a:defRPr>
            </a:lvl1pPr>
          </a:lstStyle>
          <a:p>
            <a:r>
              <a:rPr lang="en-US"/>
              <a:t>Drag &amp; drop your photo here or click or tap icon below to insert</a:t>
            </a:r>
          </a:p>
        </p:txBody>
      </p:sp>
    </p:spTree>
    <p:extLst>
      <p:ext uri="{BB962C8B-B14F-4D97-AF65-F5344CB8AC3E}">
        <p14:creationId xmlns:p14="http://schemas.microsoft.com/office/powerpoint/2010/main" val="696674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ice 2">
    <p:bg>
      <p:bgPr>
        <a:gradFill>
          <a:gsLst>
            <a:gs pos="0">
              <a:schemeClr val="accent1">
                <a:lumMod val="5000"/>
                <a:lumOff val="95000"/>
              </a:schemeClr>
            </a:gs>
            <a:gs pos="69000">
              <a:srgbClr val="E1E1FF"/>
            </a:gs>
            <a:gs pos="100000">
              <a:schemeClr val="accent2">
                <a:lumMod val="40000"/>
                <a:lumOff val="60000"/>
              </a:schemeClr>
            </a:gs>
          </a:gsLst>
          <a:lin ang="5400000" scaled="1"/>
        </a:gra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79F6276-7272-F654-C947-C534DEF8636A}"/>
              </a:ext>
            </a:extLst>
          </p:cNvPr>
          <p:cNvSpPr/>
          <p:nvPr userDrawn="1"/>
        </p:nvSpPr>
        <p:spPr bwMode="auto">
          <a:xfrm rot="10800000">
            <a:off x="11437257" y="0"/>
            <a:ext cx="754743" cy="6858000"/>
          </a:xfrm>
          <a:prstGeom prst="rect">
            <a:avLst/>
          </a:prstGeom>
          <a:gradFill>
            <a:gsLst>
              <a:gs pos="0">
                <a:srgbClr val="FECBE6"/>
              </a:gs>
              <a:gs pos="26000">
                <a:srgbClr val="BABAFF"/>
              </a:gs>
              <a:gs pos="50000">
                <a:srgbClr val="58AAFE"/>
              </a:gs>
              <a:gs pos="98165">
                <a:srgbClr val="1B45B3"/>
              </a:gs>
              <a:gs pos="88000">
                <a:srgbClr val="2764E7"/>
              </a:gs>
              <a:gs pos="72000">
                <a:srgbClr val="4894FE"/>
              </a:gs>
            </a:gsLst>
            <a:lin ang="15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hasCustomPrompt="1"/>
          </p:nvPr>
        </p:nvSpPr>
        <p:spPr>
          <a:xfrm>
            <a:off x="582042" y="1542284"/>
            <a:ext cx="3840862" cy="553998"/>
          </a:xfrm>
        </p:spPr>
        <p:txBody>
          <a:bodyPr anchor="ctr" anchorCtr="0"/>
          <a:lstStyle>
            <a:lvl1pPr>
              <a:defRPr>
                <a:solidFill>
                  <a:schemeClr val="tx1"/>
                </a:solidFill>
              </a:defRPr>
            </a:lvl1pPr>
          </a:lstStyle>
          <a:p>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Title goes here</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pic>
        <p:nvPicPr>
          <p:cNvPr id="5" name="Picture 4">
            <a:extLst>
              <a:ext uri="{FF2B5EF4-FFF2-40B4-BE49-F238E27FC236}">
                <a16:creationId xmlns:a16="http://schemas.microsoft.com/office/drawing/2014/main" id="{85F2C48C-7057-4D85-944D-F91FDD5C493C}"/>
              </a:ext>
            </a:extLst>
          </p:cNvPr>
          <p:cNvPicPr>
            <a:picLocks noChangeAspect="1"/>
          </p:cNvPicPr>
          <p:nvPr userDrawn="1"/>
        </p:nvPicPr>
        <p:blipFill>
          <a:blip r:embed="rId3"/>
          <a:stretch>
            <a:fillRect/>
          </a:stretch>
        </p:blipFill>
        <p:spPr>
          <a:xfrm>
            <a:off x="-609685" y="0"/>
            <a:ext cx="609685" cy="1676634"/>
          </a:xfrm>
          <a:prstGeom prst="rect">
            <a:avLst/>
          </a:prstGeom>
        </p:spPr>
      </p:pic>
    </p:spTree>
    <p:extLst>
      <p:ext uri="{BB962C8B-B14F-4D97-AF65-F5344CB8AC3E}">
        <p14:creationId xmlns:p14="http://schemas.microsoft.com/office/powerpoint/2010/main" val="13484310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Square Photo Graphic">
    <p:bg>
      <p:bgPr>
        <a:solidFill>
          <a:srgbClr val="FFF8F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userDrawn="1"/>
        </p:nvSpPr>
        <p:spPr bwMode="auto">
          <a:xfrm>
            <a:off x="0" y="2438400"/>
            <a:ext cx="12192000" cy="4419600"/>
          </a:xfrm>
          <a:prstGeom prst="rect">
            <a:avLst/>
          </a:prstGeom>
          <a:gradFill>
            <a:gsLst>
              <a:gs pos="917">
                <a:schemeClr val="bg1"/>
              </a:gs>
              <a:gs pos="47000">
                <a:schemeClr val="bg2"/>
              </a:gs>
              <a:gs pos="74000">
                <a:schemeClr val="accent2"/>
              </a:gs>
              <a:gs pos="100000">
                <a:schemeClr val="accent1"/>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549122"/>
            <a:ext cx="4745164" cy="553998"/>
          </a:xfrm>
        </p:spPr>
        <p:txBody>
          <a:bodyPr anchor="b"/>
          <a:lstStyle>
            <a:lvl1pPr>
              <a:defRPr>
                <a:solidFill>
                  <a:schemeClr val="tx2"/>
                </a:solidFill>
              </a:defRPr>
            </a:lvl1pPr>
          </a:lstStyle>
          <a:p>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Title goes here</a:t>
            </a:r>
            <a:endParaRPr lang="en-US"/>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38554"/>
          </a:xfrm>
        </p:spPr>
        <p:txBody>
          <a:bodyPr/>
          <a:lstStyle>
            <a:lvl1pPr marL="0" indent="0">
              <a:buNone/>
              <a:defRPr sz="2200">
                <a:solidFill>
                  <a:schemeClr val="bg1"/>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918200" y="1155700"/>
            <a:ext cx="5702300" cy="5465928"/>
          </a:xfrm>
          <a:prstGeom prst="round2SameRect">
            <a:avLst>
              <a:gd name="adj1" fmla="val 2235"/>
              <a:gd name="adj2" fmla="val 0"/>
            </a:avLst>
          </a:prstGeom>
          <a:blipFill dpi="0" rotWithShape="1">
            <a:blip r:embed="rId2">
              <a:alphaModFix amt="40000"/>
            </a:blip>
            <a:srcRect/>
            <a:stretch>
              <a:fillRect b="-4324"/>
            </a:stretch>
          </a:blipFill>
        </p:spPr>
        <p:txBody>
          <a:bodyPr lIns="0" tIns="914400" rIns="0" anchor="t" anchorCtr="0">
            <a:noAutofit/>
          </a:bodyPr>
          <a:lstStyle>
            <a:lvl1pPr marL="0" indent="0" algn="ctr">
              <a:lnSpc>
                <a:spcPct val="100000"/>
              </a:lnSpc>
              <a:buNone/>
              <a:defRPr sz="11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9" name="Rectangle 8">
            <a:extLst>
              <a:ext uri="{FF2B5EF4-FFF2-40B4-BE49-F238E27FC236}">
                <a16:creationId xmlns:a16="http://schemas.microsoft.com/office/drawing/2014/main" id="{086F3FCE-0ED1-EEC9-77BF-B59CB957ECB1}"/>
              </a:ext>
            </a:extLst>
          </p:cNvPr>
          <p:cNvSpPr/>
          <p:nvPr userDrawn="1"/>
        </p:nvSpPr>
        <p:spPr bwMode="auto">
          <a:xfrm rot="16200000">
            <a:off x="8605839" y="3986213"/>
            <a:ext cx="361950" cy="5381624"/>
          </a:xfrm>
          <a:prstGeom prst="rect">
            <a:avLst/>
          </a:prstGeom>
          <a:gradFill>
            <a:gsLst>
              <a:gs pos="0">
                <a:srgbClr val="FECBE6"/>
              </a:gs>
              <a:gs pos="26000">
                <a:srgbClr val="BABAFF"/>
              </a:gs>
              <a:gs pos="50000">
                <a:srgbClr val="58AAFE"/>
              </a:gs>
              <a:gs pos="98165">
                <a:srgbClr val="1B45B3"/>
              </a:gs>
              <a:gs pos="88000">
                <a:srgbClr val="2764E7"/>
              </a:gs>
              <a:gs pos="72000">
                <a:srgbClr val="4894FE"/>
              </a:gs>
            </a:gsLst>
            <a:lin ang="15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39047111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Square Photo Graphic 2">
    <p:bg>
      <p:bgPr>
        <a:gradFill>
          <a:gsLst>
            <a:gs pos="0">
              <a:srgbClr val="FECBE6"/>
            </a:gs>
            <a:gs pos="19000">
              <a:srgbClr val="BABAFF"/>
            </a:gs>
            <a:gs pos="31000">
              <a:srgbClr val="58AAFE"/>
            </a:gs>
            <a:gs pos="90000">
              <a:srgbClr val="1B45B3"/>
            </a:gs>
            <a:gs pos="66000">
              <a:srgbClr val="2764E7"/>
            </a:gs>
            <a:gs pos="41000">
              <a:srgbClr val="4894FE"/>
            </a:gs>
          </a:gsLst>
          <a:lin ang="15600000" scaled="0"/>
        </a:gra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570201"/>
            <a:ext cx="4158362" cy="553998"/>
          </a:xfrm>
        </p:spPr>
        <p:txBody>
          <a:bodyPr anchor="b"/>
          <a:lstStyle>
            <a:lvl1pPr>
              <a:defRPr>
                <a:solidFill>
                  <a:schemeClr val="bg1"/>
                </a:solidFill>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338554"/>
          </a:xfrm>
        </p:spPr>
        <p:txBody>
          <a:bodyPr/>
          <a:lstStyle>
            <a:lvl1pPr marL="0" indent="0">
              <a:buNone/>
              <a:defRPr sz="2200">
                <a:solidFill>
                  <a:schemeClr val="bg1"/>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3" y="585788"/>
            <a:ext cx="5683249" cy="5683249"/>
          </a:xfrm>
          <a:prstGeom prst="roundRect">
            <a:avLst>
              <a:gd name="adj" fmla="val 3259"/>
            </a:avLst>
          </a:prstGeom>
          <a:blipFill dpi="0" rotWithShape="1">
            <a:blip r:embed="rId2">
              <a:alphaModFix amt="34000"/>
            </a:blip>
            <a:srcRect/>
            <a:stretch>
              <a:fillRect/>
            </a:stretch>
          </a:blipFill>
        </p:spPr>
        <p:txBody>
          <a:bodyPr lIns="0" tIns="914400" rIns="0" anchor="t" anchorCtr="0">
            <a:noAutofit/>
          </a:bodyPr>
          <a:lstStyle>
            <a:lvl1pPr marL="0" indent="0" algn="ctr">
              <a:lnSpc>
                <a:spcPct val="100000"/>
              </a:lnSpc>
              <a:buNone/>
              <a:defRPr sz="12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userDrawn="1"/>
        </p:nvPicPr>
        <p:blipFill>
          <a:blip r:embed="rId3"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12543684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28860" t="-246" r="1843" b="356"/>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4" name="Picture 3" descr="A close up of a corner of a paper&#10;&#10;AI-generated content may be incorrect.">
            <a:extLst>
              <a:ext uri="{FF2B5EF4-FFF2-40B4-BE49-F238E27FC236}">
                <a16:creationId xmlns:a16="http://schemas.microsoft.com/office/drawing/2014/main" id="{738AF8BF-88B4-941B-796C-002169F5D81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40746" t="4251" r="284" b="4637"/>
          <a:stretch>
            <a:fillRect/>
          </a:stretch>
        </p:blipFill>
        <p:spPr>
          <a:xfrm rot="10800000" flipH="1" flipV="1">
            <a:off x="-4" y="4289179"/>
            <a:ext cx="4267201" cy="2391535"/>
          </a:xfrm>
          <a:prstGeom prst="rect">
            <a:avLst/>
          </a:pr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hasCustomPrompt="1"/>
          </p:nvPr>
        </p:nvSpPr>
        <p:spPr>
          <a:xfrm>
            <a:off x="5178287"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
        <p:nvSpPr>
          <p:cNvPr id="5" name="Text Placeholder 3">
            <a:extLst>
              <a:ext uri="{FF2B5EF4-FFF2-40B4-BE49-F238E27FC236}">
                <a16:creationId xmlns:a16="http://schemas.microsoft.com/office/drawing/2014/main" id="{481F9AB0-2AFF-1686-C6D2-FA4E95E9CF7A}"/>
              </a:ext>
            </a:extLst>
          </p:cNvPr>
          <p:cNvSpPr>
            <a:spLocks noGrp="1"/>
          </p:cNvSpPr>
          <p:nvPr>
            <p:ph idx="10" hasCustomPrompt="1"/>
          </p:nvPr>
        </p:nvSpPr>
        <p:spPr>
          <a:xfrm>
            <a:off x="8873985"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0" name="Text Placeholder 3">
            <a:extLst>
              <a:ext uri="{FF2B5EF4-FFF2-40B4-BE49-F238E27FC236}">
                <a16:creationId xmlns:a16="http://schemas.microsoft.com/office/drawing/2014/main" id="{E521278D-83E6-60F0-DE85-9BBB167AD000}"/>
              </a:ext>
            </a:extLst>
          </p:cNvPr>
          <p:cNvSpPr>
            <a:spLocks noGrp="1"/>
          </p:cNvSpPr>
          <p:nvPr>
            <p:ph idx="11" hasCustomPrompt="1"/>
          </p:nvPr>
        </p:nvSpPr>
        <p:spPr>
          <a:xfrm>
            <a:off x="5178287"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1" name="Text Placeholder 3">
            <a:extLst>
              <a:ext uri="{FF2B5EF4-FFF2-40B4-BE49-F238E27FC236}">
                <a16:creationId xmlns:a16="http://schemas.microsoft.com/office/drawing/2014/main" id="{A21CEE09-B3B0-47A7-6B86-65FF85C6967C}"/>
              </a:ext>
            </a:extLst>
          </p:cNvPr>
          <p:cNvSpPr>
            <a:spLocks noGrp="1"/>
          </p:cNvSpPr>
          <p:nvPr>
            <p:ph idx="12" hasCustomPrompt="1"/>
          </p:nvPr>
        </p:nvSpPr>
        <p:spPr>
          <a:xfrm>
            <a:off x="8873985"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4" name="Text Placeholder 3">
            <a:extLst>
              <a:ext uri="{FF2B5EF4-FFF2-40B4-BE49-F238E27FC236}">
                <a16:creationId xmlns:a16="http://schemas.microsoft.com/office/drawing/2014/main" id="{45337E61-848B-2D2F-C9C0-746F07AA0467}"/>
              </a:ext>
            </a:extLst>
          </p:cNvPr>
          <p:cNvSpPr>
            <a:spLocks noGrp="1"/>
          </p:cNvSpPr>
          <p:nvPr>
            <p:ph idx="13" hasCustomPrompt="1"/>
          </p:nvPr>
        </p:nvSpPr>
        <p:spPr>
          <a:xfrm>
            <a:off x="5178287"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5" name="Text Placeholder 3">
            <a:extLst>
              <a:ext uri="{FF2B5EF4-FFF2-40B4-BE49-F238E27FC236}">
                <a16:creationId xmlns:a16="http://schemas.microsoft.com/office/drawing/2014/main" id="{C23AA298-3C87-59E0-54D9-D70EB4EF262F}"/>
              </a:ext>
            </a:extLst>
          </p:cNvPr>
          <p:cNvSpPr>
            <a:spLocks noGrp="1"/>
          </p:cNvSpPr>
          <p:nvPr>
            <p:ph idx="14" hasCustomPrompt="1"/>
          </p:nvPr>
        </p:nvSpPr>
        <p:spPr>
          <a:xfrm>
            <a:off x="8873985"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Tree>
    <p:extLst>
      <p:ext uri="{BB962C8B-B14F-4D97-AF65-F5344CB8AC3E}">
        <p14:creationId xmlns:p14="http://schemas.microsoft.com/office/powerpoint/2010/main" val="13827527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quare Photo Graphic 3">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D990F4E-5B92-0F52-E396-AE9C76C8164B}"/>
              </a:ext>
            </a:extLst>
          </p:cNvPr>
          <p:cNvPicPr>
            <a:picLocks noChangeAspect="1"/>
          </p:cNvPicPr>
          <p:nvPr userDrawn="1"/>
        </p:nvPicPr>
        <p:blipFill>
          <a:blip r:embed="rId2">
            <a:alphaModFix amt="70000"/>
          </a:blip>
          <a:srcRect l="1906" r="42021"/>
          <a:stretch>
            <a:fillRect/>
          </a:stretch>
        </p:blipFill>
        <p:spPr>
          <a:xfrm>
            <a:off x="5359119" y="0"/>
            <a:ext cx="6832881" cy="6858000"/>
          </a:xfrm>
          <a:prstGeom prst="rect">
            <a:avLst/>
          </a:prstGeom>
        </p:spPr>
      </p:pic>
      <p:sp>
        <p:nvSpPr>
          <p:cNvPr id="7" name="Rectangle: Rounded Corners 6">
            <a:extLst>
              <a:ext uri="{FF2B5EF4-FFF2-40B4-BE49-F238E27FC236}">
                <a16:creationId xmlns:a16="http://schemas.microsoft.com/office/drawing/2014/main" id="{1AE3DCCC-AE7D-7145-7F33-D3E24C224829}"/>
              </a:ext>
            </a:extLst>
          </p:cNvPr>
          <p:cNvSpPr/>
          <p:nvPr userDrawn="1"/>
        </p:nvSpPr>
        <p:spPr bwMode="auto">
          <a:xfrm>
            <a:off x="6165850" y="825500"/>
            <a:ext cx="5194300" cy="5207000"/>
          </a:xfrm>
          <a:prstGeom prst="roundRect">
            <a:avLst>
              <a:gd name="adj" fmla="val 3255"/>
            </a:avLst>
          </a:prstGeom>
          <a:gradFill>
            <a:gsLst>
              <a:gs pos="0">
                <a:srgbClr val="FECBE6"/>
              </a:gs>
              <a:gs pos="26000">
                <a:srgbClr val="BABAFF">
                  <a:alpha val="88000"/>
                </a:srgbClr>
              </a:gs>
              <a:gs pos="50000">
                <a:srgbClr val="58AAFE">
                  <a:alpha val="70000"/>
                </a:srgbClr>
              </a:gs>
              <a:gs pos="98165">
                <a:srgbClr val="1B45B3">
                  <a:alpha val="37000"/>
                </a:srgbClr>
              </a:gs>
              <a:gs pos="88000">
                <a:srgbClr val="2764E7">
                  <a:alpha val="55000"/>
                </a:srgbClr>
              </a:gs>
              <a:gs pos="72000">
                <a:srgbClr val="4894FE">
                  <a:alpha val="52000"/>
                </a:srgbClr>
              </a:gs>
            </a:gsLst>
            <a:lin ang="15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570201"/>
            <a:ext cx="4158362" cy="553998"/>
          </a:xfrm>
        </p:spPr>
        <p:txBody>
          <a:bodyPr anchor="b"/>
          <a:lstStyle>
            <a:lvl1pPr>
              <a:defRPr>
                <a:solidFill>
                  <a:schemeClr val="tx2"/>
                </a:solidFill>
              </a:defRPr>
            </a:lvl1pPr>
          </a:lstStyle>
          <a:p>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Title goes here</a:t>
            </a:r>
            <a:endParaRPr lang="en-US"/>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338554"/>
          </a:xfrm>
        </p:spPr>
        <p:txBody>
          <a:bodyPr/>
          <a:lstStyle>
            <a:lvl1pPr marL="0" indent="0">
              <a:buNone/>
              <a:defRPr sz="2200">
                <a:solidFill>
                  <a:schemeClr val="tx2"/>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solidFill>
            <a:schemeClr val="bg1">
              <a:alpha val="64000"/>
            </a:schemeClr>
          </a:solid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553543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quare Photo Graphic 4">
    <p:bg>
      <p:bgPr>
        <a:solidFill>
          <a:srgbClr val="FFF8F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088B1D3-09C7-32B3-A502-E089F927E903}"/>
              </a:ext>
            </a:extLst>
          </p:cNvPr>
          <p:cNvSpPr/>
          <p:nvPr userDrawn="1"/>
        </p:nvSpPr>
        <p:spPr bwMode="auto">
          <a:xfrm rot="16200000">
            <a:off x="2641972" y="-2641972"/>
            <a:ext cx="6908056" cy="12192000"/>
          </a:xfrm>
          <a:prstGeom prst="rect">
            <a:avLst/>
          </a:prstGeom>
          <a:gradFill>
            <a:gsLst>
              <a:gs pos="0">
                <a:srgbClr val="FECBE6"/>
              </a:gs>
              <a:gs pos="21000">
                <a:srgbClr val="BABAFF"/>
              </a:gs>
              <a:gs pos="36000">
                <a:srgbClr val="58AAFE"/>
              </a:gs>
              <a:gs pos="83000">
                <a:srgbClr val="1B45B3"/>
              </a:gs>
              <a:gs pos="66000">
                <a:srgbClr val="2764E7"/>
              </a:gs>
              <a:gs pos="55000">
                <a:srgbClr val="4894FE"/>
              </a:gs>
            </a:gsLst>
            <a:lin ang="15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7" name="Rectangle: Rounded Corners 6">
            <a:extLst>
              <a:ext uri="{FF2B5EF4-FFF2-40B4-BE49-F238E27FC236}">
                <a16:creationId xmlns:a16="http://schemas.microsoft.com/office/drawing/2014/main" id="{D155F267-63B2-4847-7D9A-709016F34C37}"/>
              </a:ext>
            </a:extLst>
          </p:cNvPr>
          <p:cNvSpPr/>
          <p:nvPr userDrawn="1"/>
        </p:nvSpPr>
        <p:spPr bwMode="auto">
          <a:xfrm>
            <a:off x="6165850" y="825500"/>
            <a:ext cx="5194300" cy="5207000"/>
          </a:xfrm>
          <a:prstGeom prst="roundRect">
            <a:avLst>
              <a:gd name="adj" fmla="val 3255"/>
            </a:avLst>
          </a:prstGeom>
          <a:gradFill>
            <a:gsLst>
              <a:gs pos="0">
                <a:srgbClr val="FECBE6">
                  <a:alpha val="0"/>
                </a:srgbClr>
              </a:gs>
              <a:gs pos="26000">
                <a:srgbClr val="BABAFF">
                  <a:alpha val="88000"/>
                </a:srgbClr>
              </a:gs>
              <a:gs pos="50000">
                <a:srgbClr val="58AAFE">
                  <a:alpha val="55000"/>
                </a:srgbClr>
              </a:gs>
              <a:gs pos="98165">
                <a:srgbClr val="1B45B3">
                  <a:alpha val="37000"/>
                </a:srgbClr>
              </a:gs>
              <a:gs pos="88000">
                <a:srgbClr val="2764E7">
                  <a:alpha val="55000"/>
                </a:srgbClr>
              </a:gs>
              <a:gs pos="72000">
                <a:srgbClr val="4894FE">
                  <a:alpha val="52000"/>
                </a:srgbClr>
              </a:gs>
            </a:gsLst>
            <a:lin ang="15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570201"/>
            <a:ext cx="4158362" cy="553998"/>
          </a:xfrm>
        </p:spPr>
        <p:txBody>
          <a:bodyPr anchor="b"/>
          <a:lstStyle>
            <a:lvl1pPr>
              <a:defRPr>
                <a:solidFill>
                  <a:schemeClr val="bg1"/>
                </a:solidFill>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338554"/>
          </a:xfrm>
        </p:spPr>
        <p:txBody>
          <a:bodyPr/>
          <a:lstStyle>
            <a:lvl1pPr marL="0" indent="0">
              <a:buNone/>
              <a:defRPr sz="2200">
                <a:solidFill>
                  <a:schemeClr val="bg1"/>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602"/>
            </a:avLst>
          </a:prstGeom>
          <a:blipFill>
            <a:blip r:embed="rId2"/>
            <a:stretch>
              <a:fillRect/>
            </a:stretch>
          </a:blipFill>
        </p:spPr>
        <p:txBody>
          <a:bodyPr lIns="0" tIns="1188720" rIns="0" anchor="t" anchorCtr="0">
            <a:noAutofit/>
          </a:bodyPr>
          <a:lstStyle>
            <a:lvl1pPr marL="0" indent="0" algn="ctr">
              <a:lnSpc>
                <a:spcPct val="100000"/>
              </a:lnSpc>
              <a:buNone/>
              <a:defRPr sz="12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81713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127000"/>
            <a:ext cx="6858000" cy="6985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570201"/>
            <a:ext cx="4158362" cy="553998"/>
          </a:xfrm>
        </p:spPr>
        <p:txBody>
          <a:bodyPr anchor="b"/>
          <a:lstStyle>
            <a:lvl1pPr>
              <a:defRPr/>
            </a:lvl1pPr>
          </a:lstStyle>
          <a:p>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Title goes here</a:t>
            </a:r>
            <a:endParaRPr lang="en-US"/>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648930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quare Photo ">
    <p:bg>
      <p:bgPr>
        <a:solidFill>
          <a:srgbClr val="E8E6DF"/>
        </a:solidFill>
        <a:effectLst/>
      </p:bgPr>
    </p:bg>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123825"/>
            <a:ext cx="6858000" cy="6981825"/>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hasCustomPrompt="1"/>
          </p:nvPr>
        </p:nvSpPr>
        <p:spPr>
          <a:xfrm>
            <a:off x="588263" y="3150413"/>
            <a:ext cx="4159950" cy="553998"/>
          </a:xfrm>
        </p:spPr>
        <p:txBody>
          <a:bodyPr anchor="ctr"/>
          <a:lstStyle/>
          <a:p>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Title goes here</a:t>
            </a:r>
            <a:endParaRPr lang="en-US"/>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25633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203944"/>
            <a:ext cx="6858000" cy="7061944"/>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430887"/>
          </a:xfrm>
        </p:spPr>
        <p:txBody>
          <a:bodyPr anchor="t"/>
          <a:lstStyle>
            <a:lvl1pPr>
              <a:defRPr sz="2800"/>
            </a:lvl1pPr>
          </a:lstStyle>
          <a:p>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Title goes here</a:t>
            </a:r>
            <a:endParaRPr lang="en-US"/>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491080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op horizontal photo and title">
    <p:bg>
      <p:bgPr>
        <a:solidFill>
          <a:srgbClr val="FFF8F3"/>
        </a:solidFill>
        <a:effectLst/>
      </p:bgPr>
    </p:bg>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949371"/>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hasCustomPrompt="1"/>
          </p:nvPr>
        </p:nvSpPr>
        <p:spPr>
          <a:xfrm>
            <a:off x="588263" y="5436128"/>
            <a:ext cx="11018520" cy="553998"/>
          </a:xfrm>
        </p:spPr>
        <p:txBody>
          <a:bodyPr anchor="ctr"/>
          <a:lstStyle>
            <a:lvl1pPr algn="ctr">
              <a:defRPr/>
            </a:lvl1pPr>
          </a:lstStyle>
          <a:p>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Title goes here</a:t>
            </a:r>
            <a:endParaRPr lang="en-US"/>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74944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bg>
      <p:bgPr>
        <a:gradFill>
          <a:gsLst>
            <a:gs pos="4587">
              <a:schemeClr val="bg1"/>
            </a:gs>
            <a:gs pos="47704">
              <a:srgbClr val="98C3FF"/>
            </a:gs>
            <a:gs pos="26594">
              <a:srgbClr val="CAE0FF"/>
            </a:gs>
            <a:gs pos="81000">
              <a:schemeClr val="accent2"/>
            </a:gs>
            <a:gs pos="100000">
              <a:schemeClr val="tx2"/>
            </a:gs>
          </a:gsLst>
          <a:lin ang="5400000" scaled="1"/>
        </a:gradFill>
        <a:effectLst/>
      </p:bgPr>
    </p:bg>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hasCustomPrompt="1"/>
          </p:nvPr>
        </p:nvSpPr>
        <p:spPr>
          <a:xfrm>
            <a:off x="588263" y="866287"/>
            <a:ext cx="11018520" cy="553998"/>
          </a:xfrm>
        </p:spPr>
        <p:txBody>
          <a:bodyPr anchor="ctr"/>
          <a:lstStyle>
            <a:lvl1pPr algn="ctr">
              <a:defRPr/>
            </a:lvl1pPr>
          </a:lstStyle>
          <a:p>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Title goes here</a:t>
            </a:r>
            <a:endParaRPr lang="en-US"/>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68743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picture content">
    <p:bg>
      <p:bgPr>
        <a:gradFill>
          <a:gsLst>
            <a:gs pos="28000">
              <a:schemeClr val="bg1"/>
            </a:gs>
            <a:gs pos="52000">
              <a:schemeClr val="accent4"/>
            </a:gs>
            <a:gs pos="73000">
              <a:schemeClr val="accent2"/>
            </a:gs>
            <a:gs pos="96000">
              <a:schemeClr val="tx2"/>
            </a:gs>
          </a:gsLst>
          <a:lin ang="13500000" scaled="0"/>
        </a:gra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hasCustomPrompt="1"/>
          </p:nvPr>
        </p:nvSpPr>
        <p:spPr>
          <a:xfrm>
            <a:off x="588263" y="457200"/>
            <a:ext cx="11018520" cy="553998"/>
          </a:xfrm>
        </p:spPr>
        <p:txBody>
          <a:bodyPr/>
          <a:lstStyle>
            <a:lvl1pPr>
              <a:defRPr>
                <a:solidFill>
                  <a:schemeClr val="bg1"/>
                </a:solidFill>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solidFill>
                  <a:schemeClr val="tx2"/>
                </a:solidFill>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solidFill>
                  <a:schemeClr val="tx2"/>
                </a:solidFill>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26161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hree picture content">
    <p:bg>
      <p:bgPr>
        <a:solidFill>
          <a:srgbClr val="FFF8F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FB64D48-18A5-00E0-A9AD-D93AE4DAA56E}"/>
              </a:ext>
            </a:extLst>
          </p:cNvPr>
          <p:cNvPicPr>
            <a:picLocks noChangeAspect="1"/>
          </p:cNvPicPr>
          <p:nvPr userDrawn="1"/>
        </p:nvPicPr>
        <p:blipFill>
          <a:blip r:embed="rId2"/>
          <a:stretch>
            <a:fillRect/>
          </a:stretch>
        </p:blipFill>
        <p:spPr>
          <a:xfrm>
            <a:off x="8811" y="0"/>
            <a:ext cx="12174377" cy="6858000"/>
          </a:xfrm>
          <a:prstGeom prst="rect">
            <a:avLst/>
          </a:prstGeom>
        </p:spPr>
      </p:pic>
      <p:sp>
        <p:nvSpPr>
          <p:cNvPr id="3" name="Title 2">
            <a:extLst>
              <a:ext uri="{FF2B5EF4-FFF2-40B4-BE49-F238E27FC236}">
                <a16:creationId xmlns:a16="http://schemas.microsoft.com/office/drawing/2014/main" id="{F260F77E-464D-46F7-A8F8-6F281DAB0C7A}"/>
              </a:ext>
            </a:extLst>
          </p:cNvPr>
          <p:cNvSpPr>
            <a:spLocks noGrp="1"/>
          </p:cNvSpPr>
          <p:nvPr>
            <p:ph type="title" hasCustomPrompt="1"/>
          </p:nvPr>
        </p:nvSpPr>
        <p:spPr>
          <a:xfrm>
            <a:off x="588263" y="457200"/>
            <a:ext cx="11018520" cy="553998"/>
          </a:xfrm>
        </p:spPr>
        <p:txBody>
          <a:bodyPr/>
          <a:lstStyle>
            <a:lvl1pPr>
              <a:defRPr>
                <a:solidFill>
                  <a:schemeClr val="bg1"/>
                </a:solidFill>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276999"/>
          </a:xfrm>
        </p:spPr>
        <p:txBody>
          <a:bodyPr/>
          <a:lstStyle>
            <a:lvl1pPr marL="0" indent="0" algn="l">
              <a:spcBef>
                <a:spcPts val="0"/>
              </a:spcBef>
              <a:buNone/>
              <a:defRPr sz="1800">
                <a:solidFill>
                  <a:schemeClr val="tx2"/>
                </a:solidFill>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276999"/>
          </a:xfrm>
        </p:spPr>
        <p:txBody>
          <a:bodyPr/>
          <a:lstStyle>
            <a:lvl1pPr marL="0" indent="0" algn="l">
              <a:spcBef>
                <a:spcPts val="0"/>
              </a:spcBef>
              <a:buNone/>
              <a:defRPr sz="1800">
                <a:solidFill>
                  <a:schemeClr val="tx2"/>
                </a:solidFill>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276999"/>
          </a:xfrm>
        </p:spPr>
        <p:txBody>
          <a:bodyPr/>
          <a:lstStyle>
            <a:lvl1pPr marL="0" indent="0" algn="l">
              <a:spcBef>
                <a:spcPts val="0"/>
              </a:spcBef>
              <a:buNone/>
              <a:defRPr sz="1800">
                <a:solidFill>
                  <a:schemeClr val="tx2"/>
                </a:solidFill>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67390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Four picture content">
    <p:bg>
      <p:bgPr>
        <a:gradFill>
          <a:gsLst>
            <a:gs pos="3670">
              <a:schemeClr val="accent2"/>
            </a:gs>
            <a:gs pos="100000">
              <a:schemeClr val="tx2"/>
            </a:gs>
          </a:gsLst>
          <a:lin ang="5400000" scaled="1"/>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C230F81-F15D-AFB9-7377-91328EB2A00A}"/>
              </a:ext>
            </a:extLst>
          </p:cNvPr>
          <p:cNvPicPr>
            <a:picLocks noChangeAspect="1"/>
          </p:cNvPicPr>
          <p:nvPr userDrawn="1"/>
        </p:nvPicPr>
        <p:blipFill>
          <a:blip r:embed="rId2"/>
          <a:stretch>
            <a:fillRect/>
          </a:stretch>
        </p:blipFill>
        <p:spPr>
          <a:xfrm>
            <a:off x="8811" y="0"/>
            <a:ext cx="12174377" cy="6858000"/>
          </a:xfrm>
          <a:prstGeom prst="rect">
            <a:avLst/>
          </a:prstGeom>
        </p:spPr>
      </p:pic>
      <p:sp>
        <p:nvSpPr>
          <p:cNvPr id="3" name="Title 2">
            <a:extLst>
              <a:ext uri="{FF2B5EF4-FFF2-40B4-BE49-F238E27FC236}">
                <a16:creationId xmlns:a16="http://schemas.microsoft.com/office/drawing/2014/main" id="{87A434B7-D4B9-4D45-A31C-F0CC4D227945}"/>
              </a:ext>
            </a:extLst>
          </p:cNvPr>
          <p:cNvSpPr>
            <a:spLocks noGrp="1"/>
          </p:cNvSpPr>
          <p:nvPr>
            <p:ph type="title" hasCustomPrompt="1"/>
          </p:nvPr>
        </p:nvSpPr>
        <p:spPr>
          <a:xfrm>
            <a:off x="588263" y="457200"/>
            <a:ext cx="11018520" cy="553998"/>
          </a:xfrm>
        </p:spPr>
        <p:txBody>
          <a:bodyPr/>
          <a:lstStyle>
            <a:lvl1pPr>
              <a:defRPr>
                <a:solidFill>
                  <a:schemeClr val="bg1"/>
                </a:solidFill>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8"/>
          </a:xfrm>
        </p:spPr>
        <p:txBody>
          <a:bodyPr/>
          <a:lstStyle>
            <a:lvl1pPr marL="0" indent="0" algn="l">
              <a:spcBef>
                <a:spcPts val="0"/>
              </a:spcBef>
              <a:buNone/>
              <a:defRPr sz="1800">
                <a:solidFill>
                  <a:schemeClr val="tx2"/>
                </a:solidFill>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3"/>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8"/>
          </a:xfrm>
        </p:spPr>
        <p:txBody>
          <a:bodyPr/>
          <a:lstStyle>
            <a:lvl1pPr marL="0" indent="0" algn="l">
              <a:spcBef>
                <a:spcPts val="0"/>
              </a:spcBef>
              <a:buNone/>
              <a:defRPr sz="1800">
                <a:solidFill>
                  <a:schemeClr val="tx2"/>
                </a:solidFill>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8"/>
          </a:xfrm>
        </p:spPr>
        <p:txBody>
          <a:bodyPr/>
          <a:lstStyle>
            <a:lvl1pPr marL="0" indent="0" algn="l">
              <a:spcBef>
                <a:spcPts val="0"/>
              </a:spcBef>
              <a:buNone/>
              <a:defRPr sz="1800">
                <a:solidFill>
                  <a:schemeClr val="tx2"/>
                </a:solidFill>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3"/>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8"/>
          </a:xfrm>
        </p:spPr>
        <p:txBody>
          <a:bodyPr/>
          <a:lstStyle>
            <a:lvl1pPr marL="0" indent="0" algn="l">
              <a:spcBef>
                <a:spcPts val="0"/>
              </a:spcBef>
              <a:buNone/>
              <a:defRPr sz="1800">
                <a:solidFill>
                  <a:schemeClr val="tx2"/>
                </a:solidFill>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3"/>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324246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28860" t="-246" r="1843" b="356"/>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7" name="Picture 6" descr="A colorful curved object on a black background&#10;&#10;AI-generated content may be incorrect.">
            <a:extLst>
              <a:ext uri="{FF2B5EF4-FFF2-40B4-BE49-F238E27FC236}">
                <a16:creationId xmlns:a16="http://schemas.microsoft.com/office/drawing/2014/main" id="{0B19AD7D-AD70-629E-3C43-4550DB340BB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38580" t="9128" r="-26999" b="13405"/>
          <a:stretch>
            <a:fillRect/>
          </a:stretch>
        </p:blipFill>
        <p:spPr>
          <a:xfrm rot="14957738">
            <a:off x="-1612069" y="511985"/>
            <a:ext cx="7143866" cy="6393705"/>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8" name="Text Placeholder 3">
            <a:extLst>
              <a:ext uri="{FF2B5EF4-FFF2-40B4-BE49-F238E27FC236}">
                <a16:creationId xmlns:a16="http://schemas.microsoft.com/office/drawing/2014/main" id="{1237AE35-A655-4E3E-2695-F11A2D8F4871}"/>
              </a:ext>
            </a:extLst>
          </p:cNvPr>
          <p:cNvSpPr>
            <a:spLocks noGrp="1"/>
          </p:cNvSpPr>
          <p:nvPr>
            <p:ph idx="1"/>
          </p:nvPr>
        </p:nvSpPr>
        <p:spPr>
          <a:xfrm>
            <a:off x="6091332" y="1441655"/>
            <a:ext cx="5511388" cy="2499146"/>
          </a:xfrm>
          <a:prstGeom prst="rect">
            <a:avLst/>
          </a:prstGeom>
        </p:spPr>
        <p:txBody>
          <a:bodyPr vert="horz" wrap="square" lIns="0" tIns="0" rIns="0" bIns="0" rtlCol="0">
            <a:spAutoFit/>
          </a:bodyPr>
          <a:lstStyle>
            <a:lvl1pPr>
              <a:defRPr sz="2800">
                <a:solidFill>
                  <a:schemeClr val="bg1"/>
                </a:solidFill>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2EDA46B1-A4F7-91DB-14EA-5ACDCE48E9BA}"/>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Tree>
    <p:extLst>
      <p:ext uri="{BB962C8B-B14F-4D97-AF65-F5344CB8AC3E}">
        <p14:creationId xmlns:p14="http://schemas.microsoft.com/office/powerpoint/2010/main" val="228772451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filmstrip photos">
    <p:bg>
      <p:bgPr>
        <a:gradFill>
          <a:gsLst>
            <a:gs pos="3670">
              <a:schemeClr val="accent2"/>
            </a:gs>
            <a:gs pos="100000">
              <a:schemeClr val="tx2"/>
            </a:gs>
          </a:gsLst>
          <a:lin ang="5400000" scaled="1"/>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1F3724F-84A4-7F8A-3723-37A9916702E3}"/>
              </a:ext>
            </a:extLst>
          </p:cNvPr>
          <p:cNvPicPr>
            <a:picLocks noChangeAspect="1"/>
          </p:cNvPicPr>
          <p:nvPr userDrawn="1"/>
        </p:nvPicPr>
        <p:blipFill>
          <a:blip r:embed="rId2"/>
          <a:stretch>
            <a:fillRect/>
          </a:stretch>
        </p:blipFill>
        <p:spPr>
          <a:xfrm>
            <a:off x="8811" y="0"/>
            <a:ext cx="12174377" cy="6858000"/>
          </a:xfrm>
          <a:prstGeom prst="rect">
            <a:avLst/>
          </a:prstGeom>
        </p:spPr>
      </p:pic>
      <p:sp>
        <p:nvSpPr>
          <p:cNvPr id="2" name="Title 1">
            <a:extLst>
              <a:ext uri="{FF2B5EF4-FFF2-40B4-BE49-F238E27FC236}">
                <a16:creationId xmlns:a16="http://schemas.microsoft.com/office/drawing/2014/main" id="{D1C46CB2-4FDC-43D5-B122-6F27B3C827ED}"/>
              </a:ext>
            </a:extLst>
          </p:cNvPr>
          <p:cNvSpPr>
            <a:spLocks noGrp="1"/>
          </p:cNvSpPr>
          <p:nvPr>
            <p:ph type="title" hasCustomPrompt="1"/>
          </p:nvPr>
        </p:nvSpPr>
        <p:spPr>
          <a:xfrm>
            <a:off x="588263" y="866573"/>
            <a:ext cx="11018520" cy="553998"/>
          </a:xfrm>
        </p:spPr>
        <p:txBody>
          <a:bodyPr anchor="ctr"/>
          <a:lstStyle>
            <a:lvl1pPr algn="ctr">
              <a:defRPr>
                <a:solidFill>
                  <a:schemeClr val="bg1"/>
                </a:solidFill>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276999"/>
          </a:xfrm>
        </p:spPr>
        <p:txBody>
          <a:bodyPr/>
          <a:lstStyle>
            <a:lvl1pPr marL="0" indent="0" algn="ctr">
              <a:spcBef>
                <a:spcPts val="0"/>
              </a:spcBef>
              <a:buNone/>
              <a:defRPr sz="1800">
                <a:solidFill>
                  <a:schemeClr val="tx2"/>
                </a:solidFill>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3"/>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276999"/>
          </a:xfrm>
        </p:spPr>
        <p:txBody>
          <a:bodyPr/>
          <a:lstStyle>
            <a:lvl1pPr marL="0" indent="0" algn="ctr">
              <a:spcBef>
                <a:spcPts val="0"/>
              </a:spcBef>
              <a:buNone/>
              <a:defRPr sz="1800">
                <a:solidFill>
                  <a:schemeClr val="tx2"/>
                </a:solidFill>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012124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Four filmstrip photos">
    <p:bg>
      <p:bgPr>
        <a:gradFill>
          <a:gsLst>
            <a:gs pos="3670">
              <a:schemeClr val="accent2"/>
            </a:gs>
            <a:gs pos="100000">
              <a:schemeClr val="tx2"/>
            </a:gs>
          </a:gsLst>
          <a:lin ang="5400000" scaled="1"/>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091E181-98B0-EA0A-EA29-478886DBC43C}"/>
              </a:ext>
            </a:extLst>
          </p:cNvPr>
          <p:cNvPicPr>
            <a:picLocks noChangeAspect="1"/>
          </p:cNvPicPr>
          <p:nvPr userDrawn="1"/>
        </p:nvPicPr>
        <p:blipFill>
          <a:blip r:embed="rId2"/>
          <a:stretch>
            <a:fillRect/>
          </a:stretch>
        </p:blipFill>
        <p:spPr>
          <a:xfrm>
            <a:off x="8811" y="0"/>
            <a:ext cx="12174377" cy="6858000"/>
          </a:xfrm>
          <a:prstGeom prst="rect">
            <a:avLst/>
          </a:prstGeom>
        </p:spPr>
      </p:pic>
      <p:sp>
        <p:nvSpPr>
          <p:cNvPr id="2" name="Title 1">
            <a:extLst>
              <a:ext uri="{FF2B5EF4-FFF2-40B4-BE49-F238E27FC236}">
                <a16:creationId xmlns:a16="http://schemas.microsoft.com/office/drawing/2014/main" id="{D1C46CB2-4FDC-43D5-B122-6F27B3C827ED}"/>
              </a:ext>
            </a:extLst>
          </p:cNvPr>
          <p:cNvSpPr>
            <a:spLocks noGrp="1"/>
          </p:cNvSpPr>
          <p:nvPr>
            <p:ph type="title" hasCustomPrompt="1"/>
          </p:nvPr>
        </p:nvSpPr>
        <p:spPr>
          <a:xfrm>
            <a:off x="588263" y="866573"/>
            <a:ext cx="11018520" cy="553998"/>
          </a:xfrm>
        </p:spPr>
        <p:txBody>
          <a:bodyPr anchor="ctr"/>
          <a:lstStyle>
            <a:lvl1pPr algn="l">
              <a:defRPr>
                <a:solidFill>
                  <a:schemeClr val="bg1"/>
                </a:solidFill>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830997"/>
          </a:xfrm>
        </p:spPr>
        <p:txBody>
          <a:bodyPr/>
          <a:lstStyle>
            <a:lvl1pPr marL="0" indent="0" algn="ctr">
              <a:spcBef>
                <a:spcPts val="0"/>
              </a:spcBef>
              <a:buNone/>
              <a:defRPr sz="1800">
                <a:solidFill>
                  <a:schemeClr val="tx2"/>
                </a:solidFill>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3"/>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830997"/>
          </a:xfrm>
        </p:spPr>
        <p:txBody>
          <a:bodyPr/>
          <a:lstStyle>
            <a:lvl1pPr marL="0" indent="0" algn="ctr">
              <a:spcBef>
                <a:spcPts val="0"/>
              </a:spcBef>
              <a:buNone/>
              <a:defRPr sz="1800">
                <a:solidFill>
                  <a:schemeClr val="tx2"/>
                </a:solidFill>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830997"/>
          </a:xfrm>
        </p:spPr>
        <p:txBody>
          <a:bodyPr/>
          <a:lstStyle>
            <a:lvl1pPr marL="0" indent="0" algn="ctr">
              <a:spcBef>
                <a:spcPts val="0"/>
              </a:spcBef>
              <a:buNone/>
              <a:defRPr sz="1800">
                <a:solidFill>
                  <a:schemeClr val="tx2"/>
                </a:solidFill>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3"/>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830997"/>
          </a:xfrm>
        </p:spPr>
        <p:txBody>
          <a:bodyPr/>
          <a:lstStyle>
            <a:lvl1pPr marL="0" indent="0" algn="ctr">
              <a:spcBef>
                <a:spcPts val="0"/>
              </a:spcBef>
              <a:buNone/>
              <a:defRPr sz="1800">
                <a:solidFill>
                  <a:schemeClr val="tx2"/>
                </a:solidFill>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3"/>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85444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hree round photos">
    <p:bg>
      <p:bgPr>
        <a:gradFill>
          <a:gsLst>
            <a:gs pos="3670">
              <a:schemeClr val="accent2"/>
            </a:gs>
            <a:gs pos="100000">
              <a:schemeClr val="tx2"/>
            </a:gs>
          </a:gsLst>
          <a:lin ang="5400000" scaled="1"/>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08F169-B590-7609-DAF1-C5E8BC61570E}"/>
              </a:ext>
            </a:extLst>
          </p:cNvPr>
          <p:cNvPicPr>
            <a:picLocks noChangeAspect="1"/>
          </p:cNvPicPr>
          <p:nvPr userDrawn="1"/>
        </p:nvPicPr>
        <p:blipFill>
          <a:blip r:embed="rId2"/>
          <a:stretch>
            <a:fillRect/>
          </a:stretch>
        </p:blipFill>
        <p:spPr>
          <a:xfrm>
            <a:off x="8811" y="0"/>
            <a:ext cx="12174377" cy="6858000"/>
          </a:xfrm>
          <a:prstGeom prst="rect">
            <a:avLst/>
          </a:prstGeom>
        </p:spPr>
      </p:pic>
      <p:sp>
        <p:nvSpPr>
          <p:cNvPr id="2" name="Title 1">
            <a:extLst>
              <a:ext uri="{FF2B5EF4-FFF2-40B4-BE49-F238E27FC236}">
                <a16:creationId xmlns:a16="http://schemas.microsoft.com/office/drawing/2014/main" id="{8B33D211-079C-4884-AB74-BFA812A63FE8}"/>
              </a:ext>
            </a:extLst>
          </p:cNvPr>
          <p:cNvSpPr>
            <a:spLocks noGrp="1"/>
          </p:cNvSpPr>
          <p:nvPr>
            <p:ph type="title" hasCustomPrompt="1"/>
          </p:nvPr>
        </p:nvSpPr>
        <p:spPr>
          <a:xfrm>
            <a:off x="586739" y="589002"/>
            <a:ext cx="11018520" cy="553998"/>
          </a:xfrm>
        </p:spPr>
        <p:txBody>
          <a:bodyPr anchor="ctr"/>
          <a:lstStyle>
            <a:lvl1pPr algn="l">
              <a:defRPr>
                <a:solidFill>
                  <a:schemeClr val="bg1"/>
                </a:solidFill>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553998"/>
          </a:xfrm>
        </p:spPr>
        <p:txBody>
          <a:bodyPr/>
          <a:lstStyle>
            <a:lvl1pPr marL="0" indent="0" algn="ctr">
              <a:spcBef>
                <a:spcPts val="0"/>
              </a:spcBef>
              <a:buNone/>
              <a:defRPr sz="1800">
                <a:solidFill>
                  <a:schemeClr val="tx2"/>
                </a:solidFill>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8"/>
          </a:xfrm>
        </p:spPr>
        <p:txBody>
          <a:bodyPr/>
          <a:lstStyle>
            <a:lvl1pPr marL="0" indent="0" algn="ctr">
              <a:spcBef>
                <a:spcPts val="0"/>
              </a:spcBef>
              <a:buNone/>
              <a:defRPr sz="1800">
                <a:solidFill>
                  <a:schemeClr val="tx2"/>
                </a:solidFill>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553998"/>
          </a:xfrm>
        </p:spPr>
        <p:txBody>
          <a:bodyPr/>
          <a:lstStyle>
            <a:lvl1pPr marL="0" indent="0" algn="ctr">
              <a:spcBef>
                <a:spcPts val="0"/>
              </a:spcBef>
              <a:buNone/>
              <a:defRPr sz="1800">
                <a:solidFill>
                  <a:schemeClr val="tx2"/>
                </a:solidFill>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35937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Five round photos">
    <p:bg>
      <p:bgPr>
        <a:solidFill>
          <a:srgbClr val="FFF8F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C5A521A-DAC4-542B-ECC0-AA87FC353B67}"/>
              </a:ext>
            </a:extLst>
          </p:cNvPr>
          <p:cNvPicPr>
            <a:picLocks noChangeAspect="1"/>
          </p:cNvPicPr>
          <p:nvPr userDrawn="1"/>
        </p:nvPicPr>
        <p:blipFill>
          <a:blip r:embed="rId2"/>
          <a:stretch>
            <a:fillRect/>
          </a:stretch>
        </p:blipFill>
        <p:spPr>
          <a:xfrm>
            <a:off x="8811" y="0"/>
            <a:ext cx="12174377" cy="6858000"/>
          </a:xfrm>
          <a:prstGeom prst="rect">
            <a:avLst/>
          </a:prstGeom>
        </p:spPr>
      </p:pic>
      <p:sp>
        <p:nvSpPr>
          <p:cNvPr id="2" name="Title 1">
            <a:extLst>
              <a:ext uri="{FF2B5EF4-FFF2-40B4-BE49-F238E27FC236}">
                <a16:creationId xmlns:a16="http://schemas.microsoft.com/office/drawing/2014/main" id="{8B33D211-079C-4884-AB74-BFA812A63FE8}"/>
              </a:ext>
            </a:extLst>
          </p:cNvPr>
          <p:cNvSpPr>
            <a:spLocks noGrp="1"/>
          </p:cNvSpPr>
          <p:nvPr>
            <p:ph type="title" hasCustomPrompt="1"/>
          </p:nvPr>
        </p:nvSpPr>
        <p:spPr>
          <a:xfrm>
            <a:off x="588263" y="863792"/>
            <a:ext cx="11018520" cy="553998"/>
          </a:xfrm>
        </p:spPr>
        <p:txBody>
          <a:bodyPr anchor="ctr"/>
          <a:lstStyle>
            <a:lvl1pPr algn="l">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7"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75147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and text side by side 2">
    <p:bg>
      <p:bgPr>
        <a:gradFill>
          <a:gsLst>
            <a:gs pos="1835">
              <a:schemeClr val="accent4"/>
            </a:gs>
            <a:gs pos="52000">
              <a:schemeClr val="accent2"/>
            </a:gs>
            <a:gs pos="100000">
              <a:schemeClr val="tx2"/>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3150414"/>
            <a:ext cx="3182027" cy="553998"/>
          </a:xfrm>
        </p:spPr>
        <p:txBody>
          <a:bodyPr anchor="ctr"/>
          <a:lstStyle>
            <a:lvl1pPr>
              <a:defRPr>
                <a:solidFill>
                  <a:schemeClr val="bg1"/>
                </a:solidFill>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231775" indent="-231775">
              <a:spcAft>
                <a:spcPts val="600"/>
              </a:spcAft>
              <a:buFont typeface="Wingdings" panose="05000000000000000000" pitchFamily="2" charset="2"/>
              <a:buChar char=""/>
              <a:defRPr>
                <a:solidFill>
                  <a:schemeClr val="bg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chemeClr val="bg1"/>
                </a:solidFill>
              </a:rPr>
              <a:t>ELT layout</a:t>
            </a:r>
          </a:p>
        </p:txBody>
      </p:sp>
    </p:spTree>
    <p:extLst>
      <p:ext uri="{BB962C8B-B14F-4D97-AF65-F5344CB8AC3E}">
        <p14:creationId xmlns:p14="http://schemas.microsoft.com/office/powerpoint/2010/main" val="4030524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eveloper Code Layout">
    <p:bg>
      <p:bgPr>
        <a:gradFill>
          <a:gsLst>
            <a:gs pos="3670">
              <a:schemeClr val="accent2"/>
            </a:gs>
            <a:gs pos="100000">
              <a:schemeClr val="tx2"/>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hasCustomPrompt="1"/>
          </p:nvPr>
        </p:nvSpPr>
        <p:spPr/>
        <p:txBody>
          <a:bodyPr anchor="ctr"/>
          <a:lstStyle>
            <a:lvl1pPr>
              <a:defRPr>
                <a:solidFill>
                  <a:schemeClr val="bg1"/>
                </a:solidFill>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0350592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Code Bottom">
    <p:bg>
      <p:bgPr>
        <a:gradFill>
          <a:gsLst>
            <a:gs pos="3670">
              <a:schemeClr val="accent2"/>
            </a:gs>
            <a:gs pos="100000">
              <a:schemeClr val="tx2"/>
            </a:gs>
          </a:gsLst>
          <a:lin ang="5400000" scaled="1"/>
        </a:gra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hasCustomPrompt="1"/>
          </p:nvPr>
        </p:nvSpPr>
        <p:spPr/>
        <p:txBody>
          <a:bodyPr/>
          <a:lstStyle>
            <a:lvl1pPr>
              <a:defRPr>
                <a:solidFill>
                  <a:schemeClr val="bg1"/>
                </a:solidFill>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bg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36604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Code Top">
    <p:bg>
      <p:bgPr>
        <a:gradFill>
          <a:gsLst>
            <a:gs pos="3670">
              <a:schemeClr val="accent2"/>
            </a:gs>
            <a:gs pos="100000">
              <a:schemeClr val="tx2"/>
            </a:gs>
          </a:gsLst>
          <a:lin ang="5400000" scaled="1"/>
        </a:gra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hasCustomPrompt="1"/>
          </p:nvPr>
        </p:nvSpPr>
        <p:spPr>
          <a:xfrm>
            <a:off x="588263" y="4224580"/>
            <a:ext cx="11018520" cy="492443"/>
          </a:xfrm>
        </p:spPr>
        <p:txBody>
          <a:bodyPr/>
          <a:lstStyle>
            <a:lvl1pPr>
              <a:defRPr sz="3200">
                <a:solidFill>
                  <a:schemeClr val="bg1"/>
                </a:solidFill>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bg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6204558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Code Right side">
    <p:bg>
      <p:bgPr>
        <a:gradFill>
          <a:gsLst>
            <a:gs pos="3670">
              <a:schemeClr val="tx2"/>
            </a:gs>
            <a:gs pos="80000">
              <a:schemeClr val="accent4"/>
            </a:gs>
            <a:gs pos="40000">
              <a:schemeClr val="accent2"/>
            </a:gs>
          </a:gsLst>
          <a:lin ang="2160000" scaled="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bg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22644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Title goes here</a:t>
            </a:r>
            <a:endParaRPr lang="en-US"/>
          </a:p>
        </p:txBody>
      </p:sp>
      <p:pic>
        <p:nvPicPr>
          <p:cNvPr id="4" name="Picture 3">
            <a:extLst>
              <a:ext uri="{FF2B5EF4-FFF2-40B4-BE49-F238E27FC236}">
                <a16:creationId xmlns:a16="http://schemas.microsoft.com/office/drawing/2014/main" id="{7E23DEF3-55CD-9793-23E4-712C6621B71E}"/>
              </a:ext>
            </a:extLst>
          </p:cNvPr>
          <p:cNvPicPr>
            <a:picLocks noChangeAspect="1"/>
          </p:cNvPicPr>
          <p:nvPr userDrawn="1"/>
        </p:nvPicPr>
        <p:blipFill>
          <a:blip r:embed="rId2"/>
          <a:srcRect l="29864" t="20975" r="36052" b="18432"/>
          <a:stretch>
            <a:fillRect/>
          </a:stretch>
        </p:blipFill>
        <p:spPr>
          <a:xfrm>
            <a:off x="5333999" y="0"/>
            <a:ext cx="6858001" cy="6858000"/>
          </a:xfrm>
          <a:prstGeom prst="rect">
            <a:avLst/>
          </a:prstGeom>
        </p:spPr>
      </p:pic>
    </p:spTree>
    <p:extLst>
      <p:ext uri="{BB962C8B-B14F-4D97-AF65-F5344CB8AC3E}">
        <p14:creationId xmlns:p14="http://schemas.microsoft.com/office/powerpoint/2010/main" val="299233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28860" t="-246" r="1843" b="356"/>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178287" y="605657"/>
            <a:ext cx="6442213" cy="1465016"/>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605657"/>
            <a:ext cx="2482166"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69842472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D625819-B8F9-C62B-F854-2925AC29525A}"/>
              </a:ext>
            </a:extLst>
          </p:cNvPr>
          <p:cNvSpPr/>
          <p:nvPr userDrawn="1"/>
        </p:nvSpPr>
        <p:spPr bwMode="auto">
          <a:xfrm>
            <a:off x="0" y="6527800"/>
            <a:ext cx="12192000" cy="330200"/>
          </a:xfrm>
          <a:prstGeom prst="rect">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a:extLst>
              <a:ext uri="{FF2B5EF4-FFF2-40B4-BE49-F238E27FC236}">
                <a16:creationId xmlns:a16="http://schemas.microsoft.com/office/drawing/2014/main" id="{E1D2AE8B-8552-58A7-4761-D9BCE9868158}"/>
              </a:ext>
            </a:extLst>
          </p:cNvPr>
          <p:cNvPicPr>
            <a:picLocks noChangeAspect="1"/>
          </p:cNvPicPr>
          <p:nvPr userDrawn="1"/>
        </p:nvPicPr>
        <p:blipFill>
          <a:blip r:embed="rId2">
            <a:alphaModFix amt="50000"/>
          </a:blip>
          <a:srcRect l="26081" t="29571" r="23412" b="19922"/>
          <a:stretch>
            <a:fillRect/>
          </a:stretch>
        </p:blipFill>
        <p:spPr>
          <a:xfrm>
            <a:off x="-1" y="-1"/>
            <a:ext cx="12192001" cy="6858001"/>
          </a:xfrm>
          <a:prstGeom prst="rect">
            <a:avLst/>
          </a:prstGeom>
        </p:spPr>
      </p:pic>
      <p:pic>
        <p:nvPicPr>
          <p:cNvPr id="8" name="Picture 7">
            <a:extLst>
              <a:ext uri="{FF2B5EF4-FFF2-40B4-BE49-F238E27FC236}">
                <a16:creationId xmlns:a16="http://schemas.microsoft.com/office/drawing/2014/main" id="{114CC24E-6160-5202-88ED-8DEA5C56CDD6}"/>
              </a:ext>
            </a:extLst>
          </p:cNvPr>
          <p:cNvPicPr>
            <a:picLocks noChangeAspect="1"/>
          </p:cNvPicPr>
          <p:nvPr userDrawn="1"/>
        </p:nvPicPr>
        <p:blipFill>
          <a:blip r:embed="rId3"/>
          <a:srcRect t="95371" r="-2" b="-185"/>
          <a:stretch>
            <a:fillRect/>
          </a:stretch>
        </p:blipFill>
        <p:spPr>
          <a:xfrm>
            <a:off x="-1" y="6527800"/>
            <a:ext cx="12192001" cy="330200"/>
          </a:xfrm>
          <a:prstGeom prst="rect">
            <a:avLst/>
          </a:prstGeom>
        </p:spPr>
      </p:pic>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0F47075E-2B9D-DEAF-8B99-7A9806770862}"/>
              </a:ext>
            </a:extLst>
          </p:cNvPr>
          <p:cNvSpPr>
            <a:spLocks noGrp="1"/>
          </p:cNvSpPr>
          <p:nvPr>
            <p:ph type="pic" sz="quarter" idx="11" hasCustomPrompt="1"/>
          </p:nvPr>
        </p:nvSpPr>
        <p:spPr bwMode="ltGray">
          <a:xfrm>
            <a:off x="1242059" y="541907"/>
            <a:ext cx="9829801" cy="5615054"/>
          </a:xfrm>
          <a:blipFill>
            <a:blip r:embed="rId4"/>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96833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Title goes here</a:t>
            </a:r>
            <a:endParaRPr lang="en-US"/>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51700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Title goes here</a:t>
            </a:r>
            <a:endParaRPr lang="en-US"/>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Text</a:t>
            </a:r>
          </a:p>
        </p:txBody>
      </p:sp>
      <p:pic>
        <p:nvPicPr>
          <p:cNvPr id="10" name="Picture 9">
            <a:extLst>
              <a:ext uri="{FF2B5EF4-FFF2-40B4-BE49-F238E27FC236}">
                <a16:creationId xmlns:a16="http://schemas.microsoft.com/office/drawing/2014/main" id="{2E82545A-FD52-D775-7812-AC95C1735C22}"/>
              </a:ext>
            </a:extLst>
          </p:cNvPr>
          <p:cNvPicPr>
            <a:picLocks noChangeAspect="1"/>
          </p:cNvPicPr>
          <p:nvPr userDrawn="1"/>
        </p:nvPicPr>
        <p:blipFill>
          <a:blip r:embed="rId3"/>
          <a:srcRect l="21860" r="21860"/>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24645363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Title goes here</a:t>
            </a:r>
            <a:endParaRPr lang="en-US"/>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Text</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userDrawn="1"/>
        </p:nvPicPr>
        <p:blipFill>
          <a:blip r:embed="rId3"/>
          <a:srcRect l="21860" r="21860"/>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4754699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slide 4">
    <p:bg>
      <p:bgPr>
        <a:solidFill>
          <a:srgbClr val="E8E6D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2DA8AD-FBCB-B320-7C32-5B6DFD8E5B66}"/>
              </a:ext>
            </a:extLst>
          </p:cNvPr>
          <p:cNvSpPr/>
          <p:nvPr userDrawn="1"/>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ea typeface="Segoe UI" pitchFamily="34" charset="0"/>
              <a:cs typeface="Segoe UI" pitchFamily="34" charset="0"/>
            </a:endParaRPr>
          </a:p>
        </p:txBody>
      </p:sp>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Title goes here</a:t>
            </a:r>
            <a:endParaRPr lang="en-US"/>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Text</a:t>
            </a:r>
          </a:p>
        </p:txBody>
      </p:sp>
      <p:pic>
        <p:nvPicPr>
          <p:cNvPr id="4" name="Picture 3">
            <a:extLst>
              <a:ext uri="{FF2B5EF4-FFF2-40B4-BE49-F238E27FC236}">
                <a16:creationId xmlns:a16="http://schemas.microsoft.com/office/drawing/2014/main" id="{6114E386-90DD-2D33-E4EE-56C7BEC347C2}"/>
              </a:ext>
            </a:extLst>
          </p:cNvPr>
          <p:cNvPicPr>
            <a:picLocks noChangeAspect="1"/>
          </p:cNvPicPr>
          <p:nvPr userDrawn="1"/>
        </p:nvPicPr>
        <p:blipFill>
          <a:blip r:embed="rId2"/>
          <a:srcRect l="12663" r="31058"/>
          <a:stretch>
            <a:fillRect/>
          </a:stretch>
        </p:blipFill>
        <p:spPr>
          <a:xfrm>
            <a:off x="5333999" y="0"/>
            <a:ext cx="6858001" cy="6857998"/>
          </a:xfrm>
          <a:prstGeom prst="rect">
            <a:avLst/>
          </a:prstGeom>
        </p:spPr>
      </p:pic>
    </p:spTree>
    <p:extLst>
      <p:ext uri="{BB962C8B-B14F-4D97-AF65-F5344CB8AC3E}">
        <p14:creationId xmlns:p14="http://schemas.microsoft.com/office/powerpoint/2010/main" val="3661552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Title goes here</a:t>
            </a:r>
            <a:endParaRPr lang="en-US"/>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3999" y="-143894"/>
            <a:ext cx="7001893" cy="7001893"/>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70420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Tree>
    <p:extLst>
      <p:ext uri="{BB962C8B-B14F-4D97-AF65-F5344CB8AC3E}">
        <p14:creationId xmlns:p14="http://schemas.microsoft.com/office/powerpoint/2010/main" val="637574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7">
    <p:bg>
      <p:bgPr>
        <a:solidFill>
          <a:schemeClr val="accent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Tree>
    <p:extLst>
      <p:ext uri="{BB962C8B-B14F-4D97-AF65-F5344CB8AC3E}">
        <p14:creationId xmlns:p14="http://schemas.microsoft.com/office/powerpoint/2010/main" val="1386371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nk 2">
    <p:bg>
      <p:bgPr>
        <a:gradFill>
          <a:gsLst>
            <a:gs pos="0">
              <a:srgbClr val="FECBE6">
                <a:alpha val="0"/>
              </a:srgbClr>
            </a:gs>
            <a:gs pos="26000">
              <a:srgbClr val="BABAFF">
                <a:alpha val="88000"/>
              </a:srgbClr>
            </a:gs>
            <a:gs pos="50000">
              <a:srgbClr val="58AAFE">
                <a:alpha val="55000"/>
              </a:srgbClr>
            </a:gs>
            <a:gs pos="98165">
              <a:srgbClr val="1B45B3">
                <a:alpha val="37000"/>
              </a:srgbClr>
            </a:gs>
            <a:gs pos="88000">
              <a:srgbClr val="2764E7">
                <a:alpha val="55000"/>
              </a:srgbClr>
            </a:gs>
            <a:gs pos="72000">
              <a:srgbClr val="4894FE">
                <a:alpha val="52000"/>
              </a:srgbClr>
            </a:gs>
          </a:gsLst>
          <a:lin ang="15600000" scaled="0"/>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51632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1_Blank 2">
    <p:bg>
      <p:bgPr>
        <a:gradFill>
          <a:gsLst>
            <a:gs pos="0">
              <a:srgbClr val="FECBE6">
                <a:alpha val="0"/>
              </a:srgbClr>
            </a:gs>
            <a:gs pos="26000">
              <a:srgbClr val="BABAFF">
                <a:alpha val="88000"/>
              </a:srgbClr>
            </a:gs>
            <a:gs pos="50000">
              <a:srgbClr val="58AAFE">
                <a:alpha val="55000"/>
              </a:srgbClr>
            </a:gs>
            <a:gs pos="98165">
              <a:srgbClr val="1B45B3">
                <a:alpha val="37000"/>
              </a:srgbClr>
            </a:gs>
            <a:gs pos="88000">
              <a:srgbClr val="2764E7">
                <a:alpha val="55000"/>
              </a:srgbClr>
            </a:gs>
            <a:gs pos="72000">
              <a:srgbClr val="4894FE">
                <a:alpha val="52000"/>
              </a:srgbClr>
            </a:gs>
          </a:gsLst>
          <a:lin ang="15600000" scaled="0"/>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D77D4E8-2BCD-4D0A-C0BC-AEFF59A1D3CC}"/>
              </a:ext>
            </a:extLst>
          </p:cNvPr>
          <p:cNvPicPr>
            <a:picLocks noChangeAspect="1"/>
          </p:cNvPicPr>
          <p:nvPr userDrawn="1"/>
        </p:nvPicPr>
        <p:blipFill>
          <a:blip r:embed="rId2"/>
          <a:srcRect l="1612" t="3114" r="51502" b="50000"/>
          <a:stretch>
            <a:fillRect/>
          </a:stretch>
        </p:blipFill>
        <p:spPr>
          <a:xfrm>
            <a:off x="0" y="0"/>
            <a:ext cx="12192000" cy="6858000"/>
          </a:xfrm>
          <a:prstGeom prst="rect">
            <a:avLst/>
          </a:prstGeom>
        </p:spPr>
      </p:pic>
    </p:spTree>
    <p:extLst>
      <p:ext uri="{BB962C8B-B14F-4D97-AF65-F5344CB8AC3E}">
        <p14:creationId xmlns:p14="http://schemas.microsoft.com/office/powerpoint/2010/main" val="37471807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ckground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b="4745"/>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009879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lank 3">
    <p:bg>
      <p:bgPr>
        <a:gradFill flip="none" rotWithShape="1">
          <a:gsLst>
            <a:gs pos="0">
              <a:srgbClr val="FECBE6">
                <a:alpha val="0"/>
              </a:srgbClr>
            </a:gs>
            <a:gs pos="29000">
              <a:srgbClr val="58AAFE">
                <a:alpha val="55000"/>
              </a:srgbClr>
            </a:gs>
            <a:gs pos="98165">
              <a:srgbClr val="1B45B3">
                <a:alpha val="37000"/>
              </a:srgbClr>
            </a:gs>
            <a:gs pos="77000">
              <a:srgbClr val="2764E7">
                <a:alpha val="55000"/>
              </a:srgbClr>
            </a:gs>
            <a:gs pos="57000">
              <a:srgbClr val="4894FE">
                <a:alpha val="52000"/>
              </a:srgbClr>
            </a:gs>
          </a:gsLst>
          <a:path path="circle">
            <a:fillToRect l="100000" t="100000"/>
          </a:path>
          <a:tileRect r="-100000" b="-100000"/>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6425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lank 4">
    <p:bg>
      <p:bgPr>
        <a:gradFill flip="none" rotWithShape="1">
          <a:gsLst>
            <a:gs pos="0">
              <a:schemeClr val="accent6"/>
            </a:gs>
            <a:gs pos="40000">
              <a:schemeClr val="accent5"/>
            </a:gs>
            <a:gs pos="100000">
              <a:srgbClr val="2764E7">
                <a:alpha val="55000"/>
              </a:srgbClr>
            </a:gs>
            <a:gs pos="75000">
              <a:schemeClr val="accent4"/>
            </a:gs>
          </a:gsLst>
          <a:lin ang="2700000" scaled="1"/>
          <a:tileRect/>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125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ntent Graphic">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0BC88710-3B54-9BFC-60A7-ECFBA6B0B2D7}"/>
              </a:ext>
            </a:extLst>
          </p:cNvPr>
          <p:cNvSpPr/>
          <p:nvPr userDrawn="1"/>
        </p:nvSpPr>
        <p:spPr bwMode="auto">
          <a:xfrm>
            <a:off x="290286" y="261257"/>
            <a:ext cx="11596914" cy="6415314"/>
          </a:xfrm>
          <a:prstGeom prst="roundRect">
            <a:avLst>
              <a:gd name="adj" fmla="val 3255"/>
            </a:avLst>
          </a:prstGeom>
          <a:gradFill>
            <a:gsLst>
              <a:gs pos="0">
                <a:srgbClr val="FECBE6">
                  <a:alpha val="52000"/>
                </a:srgbClr>
              </a:gs>
              <a:gs pos="26000">
                <a:srgbClr val="BABAFF">
                  <a:alpha val="88000"/>
                </a:srgbClr>
              </a:gs>
              <a:gs pos="50000">
                <a:srgbClr val="58AAFE">
                  <a:alpha val="35000"/>
                </a:srgbClr>
              </a:gs>
              <a:gs pos="98165">
                <a:srgbClr val="1B45B3">
                  <a:alpha val="37000"/>
                </a:srgbClr>
              </a:gs>
              <a:gs pos="88000">
                <a:srgbClr val="2764E7">
                  <a:alpha val="34000"/>
                </a:srgbClr>
              </a:gs>
              <a:gs pos="72000">
                <a:srgbClr val="4894FE">
                  <a:alpha val="52000"/>
                </a:srgbClr>
              </a:gs>
            </a:gsLst>
            <a:lin ang="15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1688770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Graphic 2">
    <p:bg>
      <p:bgPr>
        <a:blipFill dpi="0" rotWithShape="1">
          <a:blip r:embed="rId2">
            <a:alphaModFix amt="36000"/>
            <a:lum/>
          </a:blip>
          <a:srcRect/>
          <a:stretch>
            <a:fillRect/>
          </a:stretch>
        </a:blip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D5AACE3E-9FA3-118F-5C08-513A041D839D}"/>
              </a:ext>
            </a:extLst>
          </p:cNvPr>
          <p:cNvSpPr/>
          <p:nvPr userDrawn="1"/>
        </p:nvSpPr>
        <p:spPr bwMode="auto">
          <a:xfrm>
            <a:off x="290286" y="261257"/>
            <a:ext cx="11596914" cy="6415314"/>
          </a:xfrm>
          <a:prstGeom prst="roundRect">
            <a:avLst>
              <a:gd name="adj" fmla="val 3255"/>
            </a:avLst>
          </a:prstGeom>
          <a:gradFill>
            <a:gsLst>
              <a:gs pos="0">
                <a:srgbClr val="FECBE6">
                  <a:alpha val="31000"/>
                </a:srgbClr>
              </a:gs>
              <a:gs pos="53000">
                <a:srgbClr val="BABAFF">
                  <a:alpha val="60000"/>
                </a:srgbClr>
              </a:gs>
              <a:gs pos="98165">
                <a:schemeClr val="accent6">
                  <a:lumMod val="40000"/>
                  <a:lumOff val="60000"/>
                </a:schemeClr>
              </a:gs>
            </a:gsLst>
            <a:lin ang="15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177900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tent Graphic 3">
    <p:bg>
      <p:bgPr>
        <a:gradFill>
          <a:gsLst>
            <a:gs pos="0">
              <a:schemeClr val="bg2"/>
            </a:gs>
            <a:gs pos="53000">
              <a:schemeClr val="accent2"/>
            </a:gs>
            <a:gs pos="98165">
              <a:schemeClr val="accent1"/>
            </a:gs>
          </a:gsLst>
          <a:lin ang="15600000" scaled="0"/>
        </a:gra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BF6D1D4E-AD91-DE61-2221-3445523E5F6C}"/>
              </a:ext>
            </a:extLst>
          </p:cNvPr>
          <p:cNvSpPr/>
          <p:nvPr userDrawn="1"/>
        </p:nvSpPr>
        <p:spPr bwMode="auto">
          <a:xfrm>
            <a:off x="290286" y="261257"/>
            <a:ext cx="11596914" cy="6415314"/>
          </a:xfrm>
          <a:prstGeom prst="roundRect">
            <a:avLst>
              <a:gd name="adj" fmla="val 3255"/>
            </a:avLst>
          </a:prstGeom>
          <a:gradFill>
            <a:gsLst>
              <a:gs pos="90000">
                <a:srgbClr val="1B45B3"/>
              </a:gs>
              <a:gs pos="0">
                <a:schemeClr val="tx2"/>
              </a:gs>
              <a:gs pos="54000">
                <a:schemeClr val="accent1">
                  <a:alpha val="64000"/>
                </a:schemeClr>
              </a:gs>
            </a:gsLst>
            <a:lin ang="15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38A31E95-ADF9-9E3F-1324-0D2A40C31A9D}"/>
              </a:ext>
            </a:extLst>
          </p:cNvPr>
          <p:cNvSpPr>
            <a:spLocks noGrp="1"/>
          </p:cNvSpPr>
          <p:nvPr>
            <p:ph type="title" hasCustomPrompt="1"/>
          </p:nvPr>
        </p:nvSpPr>
        <p:spPr>
          <a:xfrm>
            <a:off x="913532" y="1008742"/>
            <a:ext cx="10363918" cy="553998"/>
          </a:xfrm>
        </p:spPr>
        <p:txBody>
          <a:bodyPr/>
          <a:lstStyle>
            <a:lvl1pPr>
              <a:defRPr>
                <a:solidFill>
                  <a:schemeClr val="tx1"/>
                </a:solidFill>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161274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784867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ig Number">
    <p:bg>
      <p:bgPr>
        <a:solidFill>
          <a:srgbClr val="FFF8F5"/>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85CFFE9-687C-7076-F3F1-9A958CD404DF}"/>
              </a:ext>
            </a:extLst>
          </p:cNvPr>
          <p:cNvSpPr/>
          <p:nvPr userDrawn="1"/>
        </p:nvSpPr>
        <p:spPr bwMode="auto">
          <a:xfrm>
            <a:off x="0" y="0"/>
            <a:ext cx="12192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a:extLst>
              <a:ext uri="{FF2B5EF4-FFF2-40B4-BE49-F238E27FC236}">
                <a16:creationId xmlns:a16="http://schemas.microsoft.com/office/drawing/2014/main" id="{70B63CE8-158B-69B5-2F92-C02DEBC360DF}"/>
              </a:ext>
            </a:extLst>
          </p:cNvPr>
          <p:cNvPicPr>
            <a:picLocks noChangeAspect="1"/>
          </p:cNvPicPr>
          <p:nvPr userDrawn="1"/>
        </p:nvPicPr>
        <p:blipFill>
          <a:blip r:embed="rId2">
            <a:alphaModFix/>
          </a:blip>
          <a:srcRect l="22539" t="-557" r="47170" b="69196"/>
          <a:stretch>
            <a:fillRect/>
          </a:stretch>
        </p:blipFill>
        <p:spPr>
          <a:xfrm>
            <a:off x="0" y="-242241"/>
            <a:ext cx="12192000" cy="7100242"/>
          </a:xfrm>
          <a:prstGeom prst="rect">
            <a:avLst/>
          </a:prstGeom>
        </p:spPr>
      </p:pic>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solidFill>
                  <a:schemeClr val="bg1"/>
                </a:solidFill>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solidFill>
                  <a:schemeClr val="bg1"/>
                </a:solidFill>
              </a:defRPr>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solidFill>
                  <a:schemeClr val="bg1"/>
                </a:solidFill>
              </a:defRPr>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4437666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ig Number 2">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CFC8CD-9B4A-5DFD-219F-DBB6F2C8CFF0}"/>
              </a:ext>
            </a:extLst>
          </p:cNvPr>
          <p:cNvPicPr>
            <a:picLocks noChangeAspect="1"/>
          </p:cNvPicPr>
          <p:nvPr userDrawn="1"/>
        </p:nvPicPr>
        <p:blipFill>
          <a:blip r:embed="rId2">
            <a:alphaModFix/>
          </a:blip>
          <a:srcRect l="61824" t="70127" r="8822" b="-518"/>
          <a:stretch>
            <a:fillRect/>
          </a:stretch>
        </p:blipFill>
        <p:spPr>
          <a:xfrm>
            <a:off x="0" y="-121121"/>
            <a:ext cx="12192000" cy="7100242"/>
          </a:xfrm>
          <a:prstGeom prst="rect">
            <a:avLst/>
          </a:prstGeom>
        </p:spPr>
      </p:pic>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27973271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ig Number 3">
    <p:bg>
      <p:bgPr>
        <a:solidFill>
          <a:schemeClr val="accent5"/>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57B9B2C-DF6A-7684-BF47-794912E79B29}"/>
              </a:ext>
            </a:extLst>
          </p:cNvPr>
          <p:cNvPicPr>
            <a:picLocks noChangeAspect="1"/>
          </p:cNvPicPr>
          <p:nvPr userDrawn="1"/>
        </p:nvPicPr>
        <p:blipFill>
          <a:blip r:embed="rId2">
            <a:alphaModFix amt="50000"/>
          </a:blip>
          <a:srcRect l="22539" t="-557" r="47170" b="69196"/>
          <a:stretch>
            <a:fillRect/>
          </a:stretch>
        </p:blipFill>
        <p:spPr>
          <a:xfrm>
            <a:off x="0" y="-133351"/>
            <a:ext cx="12192000" cy="6991351"/>
          </a:xfrm>
          <a:prstGeom prst="rect">
            <a:avLst/>
          </a:prstGeom>
        </p:spPr>
      </p:pic>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solidFill>
                  <a:schemeClr val="tx2"/>
                </a:solidFill>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solidFill>
                  <a:schemeClr val="tx2"/>
                </a:solidFill>
              </a:defRPr>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solidFill>
                  <a:schemeClr val="tx2"/>
                </a:solidFill>
              </a:defRPr>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770410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FFF8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Quote goes here</a:t>
            </a:r>
            <a:endParaRPr lang="en-US"/>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Quote author goes here</a:t>
            </a:r>
            <a:endParaRPr lang="en-US"/>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rot="10800000">
            <a:off x="570830" y="585788"/>
            <a:ext cx="674370" cy="587754"/>
          </a:xfrm>
          <a:prstGeom prst="rect">
            <a:avLst/>
          </a:prstGeom>
        </p:spPr>
      </p:pic>
      <p:sp>
        <p:nvSpPr>
          <p:cNvPr id="3" name="Rectangle 2">
            <a:extLst>
              <a:ext uri="{FF2B5EF4-FFF2-40B4-BE49-F238E27FC236}">
                <a16:creationId xmlns:a16="http://schemas.microsoft.com/office/drawing/2014/main" id="{F16A6EE5-CD15-B7A3-AEB7-86AE5CFE429D}"/>
              </a:ext>
            </a:extLst>
          </p:cNvPr>
          <p:cNvSpPr/>
          <p:nvPr userDrawn="1"/>
        </p:nvSpPr>
        <p:spPr bwMode="auto">
          <a:xfrm rot="16200000">
            <a:off x="5977814" y="-1052245"/>
            <a:ext cx="236372" cy="12192000"/>
          </a:xfrm>
          <a:prstGeom prst="rect">
            <a:avLst/>
          </a:prstGeom>
          <a:gradFill>
            <a:gsLst>
              <a:gs pos="0">
                <a:srgbClr val="FECBE6"/>
              </a:gs>
              <a:gs pos="26000">
                <a:srgbClr val="BABAFF"/>
              </a:gs>
              <a:gs pos="50000">
                <a:srgbClr val="58AAFE"/>
              </a:gs>
              <a:gs pos="98165">
                <a:srgbClr val="1B45B3"/>
              </a:gs>
              <a:gs pos="88000">
                <a:srgbClr val="2764E7"/>
              </a:gs>
              <a:gs pos="72000">
                <a:srgbClr val="4894FE"/>
              </a:gs>
            </a:gsLst>
            <a:lin ang="15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5" name="Rectangle 4">
            <a:extLst>
              <a:ext uri="{FF2B5EF4-FFF2-40B4-BE49-F238E27FC236}">
                <a16:creationId xmlns:a16="http://schemas.microsoft.com/office/drawing/2014/main" id="{3D831958-4235-B125-3531-635C83D032B1}"/>
              </a:ext>
            </a:extLst>
          </p:cNvPr>
          <p:cNvSpPr/>
          <p:nvPr userDrawn="1"/>
        </p:nvSpPr>
        <p:spPr bwMode="auto">
          <a:xfrm rot="16200000">
            <a:off x="5237154" y="-96846"/>
            <a:ext cx="1717691" cy="12192000"/>
          </a:xfrm>
          <a:prstGeom prst="rect">
            <a:avLst/>
          </a:prstGeom>
          <a:gradFill>
            <a:gsLst>
              <a:gs pos="0">
                <a:srgbClr val="FECBE6">
                  <a:alpha val="10000"/>
                </a:srgbClr>
              </a:gs>
              <a:gs pos="28000">
                <a:srgbClr val="BABAFF">
                  <a:alpha val="60000"/>
                </a:srgbClr>
              </a:gs>
              <a:gs pos="50000">
                <a:srgbClr val="58AAFE">
                  <a:alpha val="60000"/>
                </a:srgbClr>
              </a:gs>
              <a:gs pos="98165">
                <a:srgbClr val="1B45B3">
                  <a:alpha val="60000"/>
                </a:srgbClr>
              </a:gs>
              <a:gs pos="88000">
                <a:srgbClr val="2764E7">
                  <a:alpha val="60000"/>
                </a:srgbClr>
              </a:gs>
              <a:gs pos="72000">
                <a:srgbClr val="4894FE">
                  <a:alpha val="60000"/>
                </a:srgbClr>
              </a:gs>
            </a:gsLst>
            <a:lin ang="15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a:stretch>
              <a:fillRect/>
            </a:stretch>
          </a:blipFill>
        </p:spPr>
        <p:txBody>
          <a:bodyPr lIns="0" tIns="1188720" rIns="0" anchor="t" anchorCtr="0">
            <a:noAutofit/>
          </a:bodyPr>
          <a:lstStyle>
            <a:lvl1pPr marL="0" indent="0" algn="ctr">
              <a:lnSpc>
                <a:spcPct val="100000"/>
              </a:lnSpc>
              <a:buNone/>
              <a:defRPr sz="12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9" name="Rectangle 8">
            <a:extLst>
              <a:ext uri="{FF2B5EF4-FFF2-40B4-BE49-F238E27FC236}">
                <a16:creationId xmlns:a16="http://schemas.microsoft.com/office/drawing/2014/main" id="{18C8E98C-F760-F6E5-898D-A97C884230CA}"/>
              </a:ext>
            </a:extLst>
          </p:cNvPr>
          <p:cNvSpPr/>
          <p:nvPr userDrawn="1"/>
        </p:nvSpPr>
        <p:spPr bwMode="auto">
          <a:xfrm rot="16200000">
            <a:off x="9716916" y="-1301547"/>
            <a:ext cx="263869" cy="4686303"/>
          </a:xfrm>
          <a:prstGeom prst="rect">
            <a:avLst/>
          </a:prstGeom>
          <a:gradFill>
            <a:gsLst>
              <a:gs pos="0">
                <a:srgbClr val="FECBE6"/>
              </a:gs>
              <a:gs pos="26000">
                <a:srgbClr val="BABAFF"/>
              </a:gs>
              <a:gs pos="50000">
                <a:srgbClr val="58AAFE"/>
              </a:gs>
              <a:gs pos="98165">
                <a:srgbClr val="1B45B3"/>
              </a:gs>
              <a:gs pos="88000">
                <a:srgbClr val="2764E7"/>
              </a:gs>
              <a:gs pos="72000">
                <a:srgbClr val="4894FE"/>
              </a:gs>
            </a:gsLst>
            <a:lin ang="15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34428486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ote Slide 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solidFill>
                  <a:schemeClr val="bg1"/>
                </a:solidFill>
                <a:latin typeface="+mn-lt"/>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Quote goes here</a:t>
            </a:r>
            <a:endParaRPr lang="en-US"/>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solidFill>
                  <a:schemeClr val="bg1"/>
                </a:solidFill>
              </a:defRPr>
            </a:lvl1pPr>
          </a:lstStyle>
          <a:p>
            <a:pPr lvl="0"/>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Author </a:t>
            </a:r>
            <a:endParaRPr lang="en-US"/>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7325585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ckground 2">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81C1390B-DA6C-0C43-6516-B4F79B35830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b="4745"/>
          <a:stretch>
            <a:fillRect/>
          </a:stretch>
        </p:blipFill>
        <p:spPr>
          <a:xfrm>
            <a:off x="0" y="1"/>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2D2FB8B6-DDDF-697C-B70D-3ADE6D7DB1E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00088318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Prompt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D8E97AB-E9B4-C9D4-DE56-664E03D4EF81}"/>
              </a:ext>
            </a:extLst>
          </p:cNvPr>
          <p:cNvPicPr>
            <a:picLocks noChangeAspect="1"/>
          </p:cNvPicPr>
          <p:nvPr userDrawn="1"/>
        </p:nvPicPr>
        <p:blipFill>
          <a:blip r:embed="rId3">
            <a:alphaModFix/>
          </a:blip>
          <a:srcRect l="22539" t="-557" r="47170" b="69196"/>
          <a:stretch>
            <a:fillRect/>
          </a:stretch>
        </p:blipFill>
        <p:spPr>
          <a:xfrm>
            <a:off x="0" y="-242241"/>
            <a:ext cx="12192000" cy="7100242"/>
          </a:xfrm>
          <a:prstGeom prst="rect">
            <a:avLst/>
          </a:prstGeom>
        </p:spPr>
      </p:pic>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3086100" y="2220685"/>
            <a:ext cx="6486525"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3086100" y="3317965"/>
            <a:ext cx="6486525"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3086100" y="4415245"/>
            <a:ext cx="6486525"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hasCustomPrompt="1"/>
          </p:nvPr>
        </p:nvSpPr>
        <p:spPr>
          <a:xfrm>
            <a:off x="588263" y="457200"/>
            <a:ext cx="11018520" cy="553998"/>
          </a:xfrm>
          <a:prstGeom prst="rect">
            <a:avLst/>
          </a:prstGeom>
        </p:spPr>
        <p:txBody>
          <a:bodyPr vert="horz" wrap="square" lIns="0" tIns="0" rIns="0" bIns="0" rtlCol="0" anchor="t">
            <a:spAutoFit/>
          </a:bodyPr>
          <a:lstStyle>
            <a:lvl1pPr>
              <a:defRPr>
                <a:solidFill>
                  <a:schemeClr val="bg1"/>
                </a:solidFill>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Tree>
    <p:extLst>
      <p:ext uri="{BB962C8B-B14F-4D97-AF65-F5344CB8AC3E}">
        <p14:creationId xmlns:p14="http://schemas.microsoft.com/office/powerpoint/2010/main" val="34382909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17B18E1-4721-EAE2-312C-681C221A4C1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4" name="Picture 3">
            <a:extLst>
              <a:ext uri="{FF2B5EF4-FFF2-40B4-BE49-F238E27FC236}">
                <a16:creationId xmlns:a16="http://schemas.microsoft.com/office/drawing/2014/main" id="{9A0EDD4B-0DBE-839F-5794-924F662D2DB4}"/>
              </a:ext>
            </a:extLst>
          </p:cNvPr>
          <p:cNvPicPr>
            <a:picLocks noChangeAspect="1"/>
          </p:cNvPicPr>
          <p:nvPr userDrawn="1"/>
        </p:nvPicPr>
        <p:blipFill>
          <a:blip r:embed="rId3"/>
          <a:stretch>
            <a:fillRect/>
          </a:stretch>
        </p:blipFill>
        <p:spPr>
          <a:xfrm>
            <a:off x="571500" y="509250"/>
            <a:ext cx="495300" cy="495300"/>
          </a:xfrm>
          <a:prstGeom prst="rect">
            <a:avLst/>
          </a:prstGeom>
        </p:spPr>
      </p:pic>
      <p:sp>
        <p:nvSpPr>
          <p:cNvPr id="5" name="TextBox 4">
            <a:extLst>
              <a:ext uri="{FF2B5EF4-FFF2-40B4-BE49-F238E27FC236}">
                <a16:creationId xmlns:a16="http://schemas.microsoft.com/office/drawing/2014/main" id="{71CFAFC2-6B71-435A-D211-88E89E6993CC}"/>
              </a:ext>
            </a:extLst>
          </p:cNvPr>
          <p:cNvSpPr txBox="1"/>
          <p:nvPr userDrawn="1"/>
        </p:nvSpPr>
        <p:spPr>
          <a:xfrm>
            <a:off x="571500" y="1064973"/>
            <a:ext cx="3273552" cy="307777"/>
          </a:xfrm>
          <a:prstGeom prst="rect">
            <a:avLst/>
          </a:prstGeom>
          <a:noFill/>
        </p:spPr>
        <p:txBody>
          <a:bodyPr wrap="square" lIns="0" tIns="0" rIns="0" bIns="0" rtlCol="0">
            <a:spAutoFit/>
          </a:bodyPr>
          <a:lstStyle/>
          <a:p>
            <a:pPr algn="l"/>
            <a:r>
              <a:rPr lang="en-US" sz="2000">
                <a:solidFill>
                  <a:srgbClr val="FFFFFF"/>
                </a:solidFill>
              </a:rPr>
              <a:t>Agent 365</a:t>
            </a:r>
          </a:p>
        </p:txBody>
      </p:sp>
      <p:pic>
        <p:nvPicPr>
          <p:cNvPr id="3" name="Picture 2">
            <a:extLst>
              <a:ext uri="{FF2B5EF4-FFF2-40B4-BE49-F238E27FC236}">
                <a16:creationId xmlns:a16="http://schemas.microsoft.com/office/drawing/2014/main" id="{09687E54-914A-71BF-E098-3E4B0C6B1D0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61544"/>
          </a:xfrm>
          <a:prstGeom prst="rect">
            <a:avLst/>
          </a:prstGeom>
        </p:spPr>
      </p:pic>
      <p:sp>
        <p:nvSpPr>
          <p:cNvPr id="6" name="!! Box">
            <a:extLst>
              <a:ext uri="{FF2B5EF4-FFF2-40B4-BE49-F238E27FC236}">
                <a16:creationId xmlns:a16="http://schemas.microsoft.com/office/drawing/2014/main" id="{057741B9-83A5-6E41-B090-B42422C2DBC2}"/>
              </a:ext>
              <a:ext uri="{C183D7F6-B498-43B3-948B-1728B52AA6E4}">
                <adec:decorative xmlns:adec="http://schemas.microsoft.com/office/drawing/2017/decorative" val="1"/>
              </a:ext>
            </a:extLst>
          </p:cNvPr>
          <p:cNvSpPr/>
          <p:nvPr userDrawn="1"/>
        </p:nvSpPr>
        <p:spPr bwMode="auto">
          <a:xfrm>
            <a:off x="1280625" y="-1563006"/>
            <a:ext cx="1523990" cy="1268694"/>
          </a:xfrm>
          <a:prstGeom prst="roundRect">
            <a:avLst>
              <a:gd name="adj" fmla="val 10307"/>
            </a:avLst>
          </a:prstGeom>
          <a:noFill/>
          <a:ln w="25400" cap="rnd" cmpd="sng" algn="ctr">
            <a:noFill/>
            <a:prstDash val="solid"/>
            <a:headEnd type="none" w="lg" len="sm"/>
            <a:tailEnd type="none" w="lg" len="sm"/>
          </a:ln>
          <a:effectLst/>
        </p:spPr>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defPPr>
              <a:defRPr lang="en-US"/>
            </a:defPPr>
            <a:lvl1pPr marL="0" algn="l" defTabSz="3277091" rtl="0" eaLnBrk="1" latinLnBrk="0" hangingPunct="1">
              <a:defRPr sz="6326" kern="1200">
                <a:solidFill>
                  <a:schemeClr val="tx1"/>
                </a:solidFill>
                <a:latin typeface="+mn-lt"/>
                <a:ea typeface="+mn-ea"/>
                <a:cs typeface="+mn-cs"/>
              </a:defRPr>
            </a:lvl1pPr>
            <a:lvl2pPr marL="1638544" algn="l" defTabSz="3277091" rtl="0" eaLnBrk="1" latinLnBrk="0" hangingPunct="1">
              <a:defRPr sz="6326" kern="1200">
                <a:solidFill>
                  <a:schemeClr val="tx1"/>
                </a:solidFill>
                <a:latin typeface="+mn-lt"/>
                <a:ea typeface="+mn-ea"/>
                <a:cs typeface="+mn-cs"/>
              </a:defRPr>
            </a:lvl2pPr>
            <a:lvl3pPr marL="3277091" algn="l" defTabSz="3277091" rtl="0" eaLnBrk="1" latinLnBrk="0" hangingPunct="1">
              <a:defRPr sz="6326" kern="1200">
                <a:solidFill>
                  <a:schemeClr val="tx1"/>
                </a:solidFill>
                <a:latin typeface="+mn-lt"/>
                <a:ea typeface="+mn-ea"/>
                <a:cs typeface="+mn-cs"/>
              </a:defRPr>
            </a:lvl3pPr>
            <a:lvl4pPr marL="4915635" algn="l" defTabSz="3277091" rtl="0" eaLnBrk="1" latinLnBrk="0" hangingPunct="1">
              <a:defRPr sz="6326" kern="1200">
                <a:solidFill>
                  <a:schemeClr val="tx1"/>
                </a:solidFill>
                <a:latin typeface="+mn-lt"/>
                <a:ea typeface="+mn-ea"/>
                <a:cs typeface="+mn-cs"/>
              </a:defRPr>
            </a:lvl4pPr>
            <a:lvl5pPr marL="6554183" algn="l" defTabSz="3277091" rtl="0" eaLnBrk="1" latinLnBrk="0" hangingPunct="1">
              <a:defRPr sz="6326" kern="1200">
                <a:solidFill>
                  <a:schemeClr val="tx1"/>
                </a:solidFill>
                <a:latin typeface="+mn-lt"/>
                <a:ea typeface="+mn-ea"/>
                <a:cs typeface="+mn-cs"/>
              </a:defRPr>
            </a:lvl5pPr>
            <a:lvl6pPr marL="8192730" algn="l" defTabSz="3277091" rtl="0" eaLnBrk="1" latinLnBrk="0" hangingPunct="1">
              <a:defRPr sz="6326" kern="1200">
                <a:solidFill>
                  <a:schemeClr val="tx1"/>
                </a:solidFill>
                <a:latin typeface="+mn-lt"/>
                <a:ea typeface="+mn-ea"/>
                <a:cs typeface="+mn-cs"/>
              </a:defRPr>
            </a:lvl6pPr>
            <a:lvl7pPr marL="9831274" algn="l" defTabSz="3277091" rtl="0" eaLnBrk="1" latinLnBrk="0" hangingPunct="1">
              <a:defRPr sz="6326" kern="1200">
                <a:solidFill>
                  <a:schemeClr val="tx1"/>
                </a:solidFill>
                <a:latin typeface="+mn-lt"/>
                <a:ea typeface="+mn-ea"/>
                <a:cs typeface="+mn-cs"/>
              </a:defRPr>
            </a:lvl7pPr>
            <a:lvl8pPr marL="11469818" algn="l" defTabSz="3277091" rtl="0" eaLnBrk="1" latinLnBrk="0" hangingPunct="1">
              <a:defRPr sz="6326" kern="1200">
                <a:solidFill>
                  <a:schemeClr val="tx1"/>
                </a:solidFill>
                <a:latin typeface="+mn-lt"/>
                <a:ea typeface="+mn-ea"/>
                <a:cs typeface="+mn-cs"/>
              </a:defRPr>
            </a:lvl8pPr>
            <a:lvl9pPr marL="13108369" algn="l" defTabSz="3277091" rtl="0" eaLnBrk="1" latinLnBrk="0" hangingPunct="1">
              <a:defRPr sz="6326" kern="1200">
                <a:solidFill>
                  <a:schemeClr val="tx1"/>
                </a:solidFill>
                <a:latin typeface="+mn-lt"/>
                <a:ea typeface="+mn-ea"/>
                <a:cs typeface="+mn-cs"/>
              </a:defRPr>
            </a:lvl9p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700" b="1" i="0" u="none" strike="noStrike" kern="0" cap="none" spc="0" normalizeH="0" baseline="0" noProof="0">
              <a:ln>
                <a:noFill/>
              </a:ln>
              <a:gradFill>
                <a:gsLst>
                  <a:gs pos="0">
                    <a:srgbClr val="000000"/>
                  </a:gs>
                  <a:gs pos="99000">
                    <a:srgbClr val="000000"/>
                  </a:gs>
                </a:gsLst>
                <a:path path="circle">
                  <a:fillToRect r="100000" b="100000"/>
                </a:path>
              </a:gradFill>
              <a:effectLst/>
              <a:uLnTx/>
              <a:uFillTx/>
              <a:latin typeface="Segoe UI Variable Display Semibold" pitchFamily="2" charset="0"/>
              <a:ea typeface="+mn-ea"/>
              <a:cs typeface="Segoe UI" pitchFamily="34" charset="0"/>
            </a:endParaRPr>
          </a:p>
        </p:txBody>
      </p:sp>
      <p:sp>
        <p:nvSpPr>
          <p:cNvPr id="8" name="Rounded Rectangle 3">
            <a:extLst>
              <a:ext uri="{FF2B5EF4-FFF2-40B4-BE49-F238E27FC236}">
                <a16:creationId xmlns:a16="http://schemas.microsoft.com/office/drawing/2014/main" id="{A3318C28-B281-577D-EDDD-818D4185EDF4}"/>
              </a:ext>
            </a:extLst>
          </p:cNvPr>
          <p:cNvSpPr/>
          <p:nvPr userDrawn="1"/>
        </p:nvSpPr>
        <p:spPr bwMode="auto">
          <a:xfrm>
            <a:off x="7621273" y="5128178"/>
            <a:ext cx="4421202" cy="1314208"/>
          </a:xfrm>
          <a:prstGeom prst="roundRect">
            <a:avLst>
              <a:gd name="adj" fmla="val 39049"/>
            </a:avLst>
          </a:prstGeom>
          <a:gradFill flip="none" rotWithShape="1">
            <a:gsLst>
              <a:gs pos="100000">
                <a:schemeClr val="accent4">
                  <a:lumMod val="90000"/>
                </a:schemeClr>
              </a:gs>
              <a:gs pos="29400">
                <a:schemeClr val="accent3">
                  <a:lumMod val="40000"/>
                  <a:lumOff val="60000"/>
                </a:schemeClr>
              </a:gs>
              <a:gs pos="0">
                <a:schemeClr val="accent5"/>
              </a:gs>
            </a:gsLst>
            <a:path path="circle">
              <a:fillToRect l="100000" t="100000"/>
            </a:path>
            <a:tileRect r="-100000" b="-100000"/>
          </a:gradFill>
          <a:ln w="76200">
            <a:noFill/>
            <a:headEnd type="none" w="med" len="med"/>
            <a:tailEnd type="none" w="med" len="med"/>
          </a:ln>
          <a:effectLst>
            <a:outerShdw blurRad="375109" dist="101600" dir="5400000" sx="105000" sy="105000" algn="t"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80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5400" b="1" i="0" u="none" strike="noStrike" kern="1200" cap="none" spc="-150" normalizeH="0" baseline="0" noProof="0">
                <a:ln>
                  <a:noFill/>
                </a:ln>
                <a:solidFill>
                  <a:schemeClr val="tx1"/>
                </a:solidFill>
                <a:effectLst/>
                <a:uLnTx/>
                <a:uFillTx/>
                <a:latin typeface="Segoe Sans Display Semibold" pitchFamily="2" charset="0"/>
                <a:ea typeface="Segoe UI" pitchFamily="34" charset="0"/>
                <a:cs typeface="Segoe Sans Display Semibold" pitchFamily="2" charset="0"/>
              </a:rPr>
              <a:t>Thank you!</a:t>
            </a:r>
            <a:endParaRPr kumimoji="0" lang="en-US" sz="5400" b="1" i="0" u="none" strike="noStrike" kern="1200" cap="none" spc="0" normalizeH="0" baseline="0" noProof="0">
              <a:ln>
                <a:noFill/>
              </a:ln>
              <a:solidFill>
                <a:schemeClr val="tx1"/>
              </a:solidFill>
              <a:effectLst/>
              <a:uLnTx/>
              <a:uFillTx/>
              <a:latin typeface="Segoe Sans Display Semibold" pitchFamily="2" charset="0"/>
              <a:ea typeface="Segoe UI" pitchFamily="34" charset="0"/>
              <a:cs typeface="Segoe Sans Display Semibold" pitchFamily="2" charset="0"/>
            </a:endParaRPr>
          </a:p>
        </p:txBody>
      </p:sp>
      <p:sp>
        <p:nvSpPr>
          <p:cNvPr id="9" name="Rectangle 8">
            <a:extLst>
              <a:ext uri="{FF2B5EF4-FFF2-40B4-BE49-F238E27FC236}">
                <a16:creationId xmlns:a16="http://schemas.microsoft.com/office/drawing/2014/main" id="{680F95E0-BB61-4881-F21A-31DD3575D78C}"/>
              </a:ext>
            </a:extLst>
          </p:cNvPr>
          <p:cNvSpPr/>
          <p:nvPr userDrawn="1"/>
        </p:nvSpPr>
        <p:spPr>
          <a:xfrm>
            <a:off x="12271075" y="5672832"/>
            <a:ext cx="415115" cy="112450"/>
          </a:xfrm>
          <a:prstGeom prst="rect">
            <a:avLst/>
          </a:prstGeom>
          <a:solidFill>
            <a:srgbClr val="126871"/>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367487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2"/>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chemeClr val="accent4"/>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13991359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exture-BIC">
    <p:bg>
      <p:bgPr>
        <a:solidFill>
          <a:schemeClr val="tx1"/>
        </a:solidFill>
        <a:effectLst/>
      </p:bgPr>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A5DDC46-131E-1932-E5FF-2DB33DAECB56}"/>
              </a:ext>
            </a:extLst>
          </p:cNvPr>
          <p:cNvSpPr>
            <a:spLocks noGrp="1"/>
          </p:cNvSpPr>
          <p:nvPr>
            <p:ph type="body" sz="quarter" idx="11" hasCustomPrompt="1"/>
          </p:nvPr>
        </p:nvSpPr>
        <p:spPr>
          <a:xfrm>
            <a:off x="10121900" y="-558800"/>
            <a:ext cx="2070100" cy="330200"/>
          </a:xfrm>
          <a:prstGeom prst="rect">
            <a:avLst/>
          </a:prstGeom>
          <a:solidFill>
            <a:schemeClr val="bg1">
              <a:lumMod val="95000"/>
            </a:schemeClr>
          </a:solidFill>
          <a:ln>
            <a:solidFill>
              <a:schemeClr val="bg1">
                <a:lumMod val="50000"/>
              </a:schemeClr>
            </a:solidFill>
            <a:prstDash val="sysDot"/>
          </a:ln>
        </p:spPr>
        <p:txBody>
          <a:bodyPr anchor="ctr"/>
          <a:lstStyle>
            <a:lvl1pPr marL="0" indent="0" algn="r">
              <a:buNone/>
              <a:defRPr sz="1400" b="0" i="0">
                <a:solidFill>
                  <a:schemeClr val="bg1">
                    <a:lumMod val="50000"/>
                  </a:schemeClr>
                </a:solidFill>
                <a:latin typeface="Segoe UI" panose="020B0502040204020203" pitchFamily="34" charset="0"/>
                <a:cs typeface="Segoe UI" panose="020B0502040204020203" pitchFamily="34" charset="0"/>
              </a:defRPr>
            </a:lvl1pPr>
            <a:lvl2pPr marL="457200" indent="0">
              <a:buNone/>
              <a:defRPr sz="1000" b="0" i="0">
                <a:solidFill>
                  <a:schemeClr val="bg1">
                    <a:lumMod val="50000"/>
                  </a:schemeClr>
                </a:solidFill>
                <a:latin typeface="Segoe UI" panose="020B0502040204020203" pitchFamily="34" charset="0"/>
                <a:cs typeface="Segoe UI" panose="020B0502040204020203" pitchFamily="34" charset="0"/>
              </a:defRPr>
            </a:lvl2pPr>
            <a:lvl3pPr marL="914400" indent="0">
              <a:buNone/>
              <a:defRPr sz="1000" b="0" i="0">
                <a:solidFill>
                  <a:schemeClr val="bg1">
                    <a:lumMod val="50000"/>
                  </a:schemeClr>
                </a:solidFill>
                <a:latin typeface="Segoe UI" panose="020B0502040204020203" pitchFamily="34" charset="0"/>
                <a:cs typeface="Segoe UI" panose="020B0502040204020203" pitchFamily="34" charset="0"/>
              </a:defRPr>
            </a:lvl3pPr>
            <a:lvl4pPr marL="1371600" indent="0">
              <a:buNone/>
              <a:defRPr sz="1000" b="0" i="0">
                <a:solidFill>
                  <a:schemeClr val="bg1">
                    <a:lumMod val="50000"/>
                  </a:schemeClr>
                </a:solidFill>
                <a:latin typeface="Segoe UI" panose="020B0502040204020203" pitchFamily="34" charset="0"/>
                <a:cs typeface="Segoe UI" panose="020B0502040204020203" pitchFamily="34" charset="0"/>
              </a:defRPr>
            </a:lvl4pPr>
            <a:lvl5pPr marL="1828800" indent="0">
              <a:buNone/>
              <a:defRPr sz="1000" b="0" i="0">
                <a:solidFill>
                  <a:schemeClr val="bg1">
                    <a:lumMod val="50000"/>
                  </a:schemeClr>
                </a:solidFill>
                <a:latin typeface="Segoe UI" panose="020B0502040204020203" pitchFamily="34" charset="0"/>
                <a:cs typeface="Segoe UI" panose="020B0502040204020203" pitchFamily="34" charset="0"/>
              </a:defRPr>
            </a:lvl5pPr>
          </a:lstStyle>
          <a:p>
            <a:pPr lvl="0"/>
            <a:r>
              <a:rPr lang="en-US"/>
              <a:t>#</a:t>
            </a:r>
          </a:p>
        </p:txBody>
      </p:sp>
    </p:spTree>
    <p:extLst>
      <p:ext uri="{BB962C8B-B14F-4D97-AF65-F5344CB8AC3E}">
        <p14:creationId xmlns:p14="http://schemas.microsoft.com/office/powerpoint/2010/main" val="27516689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ckground 3">
    <p:spTree>
      <p:nvGrpSpPr>
        <p:cNvPr id="1" name=""/>
        <p:cNvGrpSpPr/>
        <p:nvPr/>
      </p:nvGrpSpPr>
      <p:grpSpPr>
        <a:xfrm>
          <a:off x="0" y="0"/>
          <a:ext cx="0" cy="0"/>
          <a:chOff x="0" y="0"/>
          <a:chExt cx="0" cy="0"/>
        </a:xfrm>
      </p:grpSpPr>
      <p:pic>
        <p:nvPicPr>
          <p:cNvPr id="3" name="Picture 2" descr="A blue and red background&#10;&#10;AI-generated content may be incorrect.">
            <a:extLst>
              <a:ext uri="{FF2B5EF4-FFF2-40B4-BE49-F238E27FC236}">
                <a16:creationId xmlns:a16="http://schemas.microsoft.com/office/drawing/2014/main" id="{BBFC8868-BCF8-2EF4-AE9B-8641F358F3F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1345" b="4744"/>
          <a:stretch>
            <a:fillRect/>
          </a:stretch>
        </p:blipFill>
        <p:spPr>
          <a:xfrm>
            <a:off x="0" y="0"/>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17832389-BBB4-D415-2E01-214D01BA99EF}"/>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37723193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ckground 4">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E3AEC7EF-E1D3-2298-1DBE-67672CD44B5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576" b="4818"/>
          <a:stretch>
            <a:fillRect/>
          </a:stretch>
        </p:blipFill>
        <p:spPr>
          <a:xfrm>
            <a:off x="-9334" y="1"/>
            <a:ext cx="12201333"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90CC1B2A-918B-0FDA-2DDE-31F074644669}"/>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00196029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ackground 5">
    <p:spTree>
      <p:nvGrpSpPr>
        <p:cNvPr id="1" name=""/>
        <p:cNvGrpSpPr/>
        <p:nvPr/>
      </p:nvGrpSpPr>
      <p:grpSpPr>
        <a:xfrm>
          <a:off x="0" y="0"/>
          <a:ext cx="0" cy="0"/>
          <a:chOff x="0" y="0"/>
          <a:chExt cx="0" cy="0"/>
        </a:xfrm>
      </p:grpSpPr>
      <p:pic>
        <p:nvPicPr>
          <p:cNvPr id="2" name="Picture 1" descr="A blue and black background&#10;&#10;AI-generated content may be incorrect.">
            <a:extLst>
              <a:ext uri="{FF2B5EF4-FFF2-40B4-BE49-F238E27FC236}">
                <a16:creationId xmlns:a16="http://schemas.microsoft.com/office/drawing/2014/main" id="{01333BD5-0115-B424-BB58-BBB0B87C1CE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1042" b="4818"/>
          <a:stretch>
            <a:fillRect/>
          </a:stretch>
        </p:blipFill>
        <p:spPr>
          <a:xfrm>
            <a:off x="-1" y="0"/>
            <a:ext cx="12201331"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itle 1">
            <a:extLst>
              <a:ext uri="{FF2B5EF4-FFF2-40B4-BE49-F238E27FC236}">
                <a16:creationId xmlns:a16="http://schemas.microsoft.com/office/drawing/2014/main" id="{847134EB-8BAD-722F-C9AD-CF4EF682FF56}"/>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409420795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ackground 6">
    <p:spTree>
      <p:nvGrpSpPr>
        <p:cNvPr id="1" name=""/>
        <p:cNvGrpSpPr/>
        <p:nvPr/>
      </p:nvGrpSpPr>
      <p:grpSpPr>
        <a:xfrm>
          <a:off x="0" y="0"/>
          <a:ext cx="0" cy="0"/>
          <a:chOff x="0" y="0"/>
          <a:chExt cx="0" cy="0"/>
        </a:xfrm>
      </p:grpSpPr>
      <p:pic>
        <p:nvPicPr>
          <p:cNvPr id="3" name="Picture 2" descr="A blue background with a light&#10;&#10;AI-generated content may be incorrect.">
            <a:extLst>
              <a:ext uri="{FF2B5EF4-FFF2-40B4-BE49-F238E27FC236}">
                <a16:creationId xmlns:a16="http://schemas.microsoft.com/office/drawing/2014/main" id="{58CC931A-0D2A-512C-EAB0-14D8857A356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32F7015F-B3C8-994E-AF5D-DEDEF171EB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34605491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a:extLst>
              <a:ext uri="{28A0092B-C50C-407E-A947-70E740481C1C}">
                <a14:useLocalDpi xmlns:a14="http://schemas.microsoft.com/office/drawing/2010/main" val="0"/>
              </a:ext>
            </a:extLst>
          </a:blip>
          <a:srcRect l="3907" t="2396" b="11468"/>
          <a:stretch>
            <a:fillRect/>
          </a:stretch>
        </p:blipFill>
        <p:spPr>
          <a:xfrm>
            <a:off x="-17894" y="0"/>
            <a:ext cx="12209894" cy="6868066"/>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3">
            <a:extLst>
              <a:ext uri="{28A0092B-C50C-407E-A947-70E740481C1C}">
                <a14:useLocalDpi xmlns:a14="http://schemas.microsoft.com/office/drawing/2010/main" val="0"/>
              </a:ext>
            </a:extLst>
          </a:blip>
          <a:srcRect r="33553" b="21301"/>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11581" b="22533"/>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6" name="Graphic 25">
            <a:extLst>
              <a:ext uri="{FF2B5EF4-FFF2-40B4-BE49-F238E27FC236}">
                <a16:creationId xmlns:a16="http://schemas.microsoft.com/office/drawing/2014/main" id="{D68EE504-0061-C86F-7C4A-E4787ED6DEB3}"/>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481040" y="713232"/>
            <a:ext cx="1337566" cy="705394"/>
          </a:xfrm>
          <a:prstGeom prst="rect">
            <a:avLst/>
          </a:pr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F8EC1A4-C990-1806-D162-5E0CA8201959}"/>
              </a:ext>
            </a:extLst>
          </p:cNvPr>
          <p:cNvSpPr>
            <a:spLocks noGrp="1"/>
          </p:cNvSpPr>
          <p:nvPr>
            <p:ph type="title"/>
          </p:nvPr>
        </p:nvSpPr>
        <p:spPr>
          <a:xfrm>
            <a:off x="591451" y="2511166"/>
            <a:ext cx="5504550"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65ED941-89EA-A7B1-0F7E-AB2C3A360992}"/>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5985455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ackground 7">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15B616D5-ACB3-F40B-E303-B79FE7D1C934}"/>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56370C7-A3D5-E477-12B1-A448861CBE35}"/>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406447557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ckground 7 Blank">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383054059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avy Background">
    <p:bg>
      <p:bgPr>
        <a:solidFill>
          <a:srgbClr val="151E47"/>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49841215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pic>
        <p:nvPicPr>
          <p:cNvPr id="11" name="Picture 10" descr="A blue background with a light&#10;&#10;AI-generated content may be incorrect.">
            <a:extLst>
              <a:ext uri="{FF2B5EF4-FFF2-40B4-BE49-F238E27FC236}">
                <a16:creationId xmlns:a16="http://schemas.microsoft.com/office/drawing/2014/main" id="{3FC72557-3C59-DB05-F117-34400904D0D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pic>
        <p:nvPicPr>
          <p:cNvPr id="6" name="Picture 5">
            <a:extLst>
              <a:ext uri="{FF2B5EF4-FFF2-40B4-BE49-F238E27FC236}">
                <a16:creationId xmlns:a16="http://schemas.microsoft.com/office/drawing/2014/main" id="{B9EE9B54-C910-AF4F-330A-965CE1B959D5}"/>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ext Placeholder 4">
            <a:extLst>
              <a:ext uri="{FF2B5EF4-FFF2-40B4-BE49-F238E27FC236}">
                <a16:creationId xmlns:a16="http://schemas.microsoft.com/office/drawing/2014/main" id="{EA931C13-91CA-1E4E-BA2A-D76092953AC5}"/>
              </a:ext>
            </a:extLst>
          </p:cNvPr>
          <p:cNvSpPr>
            <a:spLocks noGrp="1"/>
          </p:cNvSpPr>
          <p:nvPr>
            <p:ph type="body" sz="quarter" idx="13" hasCustomPrompt="1"/>
          </p:nvPr>
        </p:nvSpPr>
        <p:spPr>
          <a:xfrm>
            <a:off x="3582416" y="4383719"/>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0" i="0" spc="0" baseline="0">
                <a:solidFill>
                  <a:schemeClr val="tx1"/>
                </a:solidFill>
                <a:latin typeface="+mn-lt"/>
                <a:cs typeface="Segoe UI" panose="020B0502040204020203" pitchFamily="34" charset="0"/>
              </a:defRPr>
            </a:lvl1pPr>
          </a:lstStyle>
          <a:p>
            <a:pPr lvl="0"/>
            <a:r>
              <a:rPr lang="en-US"/>
              <a:t>Company or position</a:t>
            </a:r>
          </a:p>
        </p:txBody>
      </p:sp>
      <p:sp>
        <p:nvSpPr>
          <p:cNvPr id="4" name="Text Placeholder 4">
            <a:extLst>
              <a:ext uri="{FF2B5EF4-FFF2-40B4-BE49-F238E27FC236}">
                <a16:creationId xmlns:a16="http://schemas.microsoft.com/office/drawing/2014/main" id="{8239844E-B1F9-4340-B431-2107F3D0EBC9}"/>
              </a:ext>
            </a:extLst>
          </p:cNvPr>
          <p:cNvSpPr>
            <a:spLocks noGrp="1"/>
          </p:cNvSpPr>
          <p:nvPr>
            <p:ph type="body" sz="quarter" idx="12" hasCustomPrompt="1"/>
          </p:nvPr>
        </p:nvSpPr>
        <p:spPr>
          <a:xfrm>
            <a:off x="3582416" y="4060953"/>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1" i="0" spc="0" baseline="0">
                <a:solidFill>
                  <a:schemeClr val="tx1"/>
                </a:solidFill>
                <a:latin typeface="+mn-lt"/>
                <a:cs typeface="Segoe UI Semibold" panose="020B0502040204020203" pitchFamily="34" charset="0"/>
              </a:defRPr>
            </a:lvl1pPr>
          </a:lstStyle>
          <a:p>
            <a:pPr lvl="0"/>
            <a:r>
              <a:rPr lang="en-US"/>
              <a:t>Name</a:t>
            </a:r>
          </a:p>
        </p:txBody>
      </p:sp>
      <p:pic>
        <p:nvPicPr>
          <p:cNvPr id="7" name="Picture 6" descr="Quotation mark">
            <a:extLst>
              <a:ext uri="{FF2B5EF4-FFF2-40B4-BE49-F238E27FC236}">
                <a16:creationId xmlns:a16="http://schemas.microsoft.com/office/drawing/2014/main" id="{EABB847D-C857-0388-8E19-D6724CB4046B}"/>
              </a:ext>
            </a:extLst>
          </p:cNvPr>
          <p:cNvPicPr>
            <a:picLocks noChangeAspect="1"/>
          </p:cNvPicPr>
          <p:nvPr userDrawn="1"/>
        </p:nvPicPr>
        <p:blipFill>
          <a:blip r:embed="rId4"/>
          <a:stretch>
            <a:fillRect/>
          </a:stretch>
        </p:blipFill>
        <p:spPr>
          <a:xfrm>
            <a:off x="584200" y="1490472"/>
            <a:ext cx="2226687" cy="1938528"/>
          </a:xfrm>
          <a:prstGeom prst="rect">
            <a:avLst/>
          </a:prstGeom>
          <a:noFill/>
        </p:spPr>
      </p:pic>
      <p:sp>
        <p:nvSpPr>
          <p:cNvPr id="3" name="Title 1">
            <a:extLst>
              <a:ext uri="{FF2B5EF4-FFF2-40B4-BE49-F238E27FC236}">
                <a16:creationId xmlns:a16="http://schemas.microsoft.com/office/drawing/2014/main" id="{C62AA90A-06F1-29E3-2ABB-61028BFA1A77}"/>
              </a:ext>
            </a:extLst>
          </p:cNvPr>
          <p:cNvSpPr>
            <a:spLocks noGrp="1"/>
          </p:cNvSpPr>
          <p:nvPr>
            <p:ph type="title"/>
          </p:nvPr>
        </p:nvSpPr>
        <p:spPr>
          <a:xfrm>
            <a:off x="3582416" y="3088260"/>
            <a:ext cx="8025384" cy="498598"/>
          </a:xfrm>
          <a:prstGeom prst="rect">
            <a:avLst/>
          </a:prstGeom>
        </p:spPr>
        <p:txBody>
          <a:bodyPr lIns="0" rIns="0"/>
          <a:lstStyle>
            <a:lvl1pPr marL="0" algn="l" defTabSz="457200" rtl="0" eaLnBrk="1" latinLnBrk="0" hangingPunct="1">
              <a:lnSpc>
                <a:spcPct val="90000"/>
              </a:lnSpc>
              <a:spcBef>
                <a:spcPts val="0"/>
              </a:spcBef>
              <a:buNone/>
              <a:defRPr lang="en-US" sz="3600" b="0" kern="1200" cap="none" spc="0" baseline="0" dirty="0">
                <a:ln>
                  <a:noFill/>
                </a:ln>
                <a:gradFill flip="none" rotWithShape="1">
                  <a:gsLst>
                    <a:gs pos="0">
                      <a:srgbClr val="94D8FE"/>
                    </a:gs>
                    <a:gs pos="100000">
                      <a:prstClr val="white"/>
                    </a:gs>
                  </a:gsLst>
                  <a:lin ang="162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684784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170BB12D-8CE0-A385-EFC8-00809E995063}"/>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5841A6FB-2885-3BFF-70D4-A220E7814E50}"/>
              </a:ext>
            </a:extLst>
          </p:cNvPr>
          <p:cNvSpPr>
            <a:spLocks noGrp="1"/>
          </p:cNvSpPr>
          <p:nvPr>
            <p:ph type="title"/>
          </p:nvPr>
        </p:nvSpPr>
        <p:spPr>
          <a:xfrm>
            <a:off x="588263" y="2090220"/>
            <a:ext cx="5624968" cy="1588127"/>
          </a:xfrm>
          <a:prstGeom prst="rect">
            <a:avLst/>
          </a:prstGeom>
        </p:spPr>
        <p:txBody>
          <a:bodyPr wrap="square" lIns="0" tIns="45720" rIns="0" bIns="45720">
            <a:spAutoFit/>
          </a:bodyPr>
          <a:lstStyle>
            <a:lvl1pPr>
              <a:defRPr lang="en-US" sz="5400" spc="0" baseline="0">
                <a:ln>
                  <a:noFill/>
                </a:ln>
                <a:gradFill flip="none" rotWithShape="1">
                  <a:gsLst>
                    <a:gs pos="0">
                      <a:srgbClr val="94D8FE"/>
                    </a:gs>
                    <a:gs pos="100000">
                      <a:prstClr val="white"/>
                    </a:gs>
                  </a:gsLst>
                  <a:lin ang="16200000" scaled="1"/>
                  <a:tileRect/>
                </a:gradFill>
              </a:defRPr>
            </a:lvl1pPr>
          </a:lstStyle>
          <a:p>
            <a:pPr marL="0" lvl="0" defTabSz="457200">
              <a:lnSpc>
                <a:spcPct val="90000"/>
              </a:lnSpc>
              <a:spcBef>
                <a:spcPts val="0"/>
              </a:spcBef>
            </a:pPr>
            <a:r>
              <a:rPr lang="en-US"/>
              <a:t>Click to edit Master title style</a:t>
            </a:r>
          </a:p>
        </p:txBody>
      </p:sp>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4200" y="4253049"/>
            <a:ext cx="11018520" cy="1138773"/>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166898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yout 2">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b="4745"/>
          <a:stretch>
            <a:fillRect/>
          </a:stretch>
        </p:blipFill>
        <p:spPr>
          <a:xfrm>
            <a:off x="0" y="0"/>
            <a:ext cx="12192000" cy="6858000"/>
          </a:xfrm>
          <a:prstGeom prst="rect">
            <a:avLst/>
          </a:prstGeom>
        </p:spPr>
      </p:pic>
      <p:sp>
        <p:nvSpPr>
          <p:cNvPr id="4" name="Rectangle: Rounded Corners 3">
            <a:extLst>
              <a:ext uri="{FF2B5EF4-FFF2-40B4-BE49-F238E27FC236}">
                <a16:creationId xmlns:a16="http://schemas.microsoft.com/office/drawing/2014/main" id="{D0E162CF-D51E-042E-52CB-B4C7AD85FF93}"/>
              </a:ext>
            </a:extLst>
          </p:cNvPr>
          <p:cNvSpPr/>
          <p:nvPr userDrawn="1"/>
        </p:nvSpPr>
        <p:spPr bwMode="auto">
          <a:xfrm rot="16200000" flipH="1">
            <a:off x="3202634" y="-2045346"/>
            <a:ext cx="5786733" cy="11049002"/>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1182813" y="940284"/>
            <a:ext cx="10098100" cy="498598"/>
          </a:xfrm>
          <a:prstGeom prst="rect">
            <a:avLst/>
          </a:prstGeom>
        </p:spPr>
        <p:txBody>
          <a:bodyPr lIns="0" rIns="0"/>
          <a:lstStyle>
            <a:lvl1pPr>
              <a:defRPr spc="0" baseline="0">
                <a:solidFill>
                  <a:schemeClr val="bg1"/>
                </a:solidFill>
              </a:defRPr>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1182813" y="1741480"/>
            <a:ext cx="10098100" cy="1612749"/>
          </a:xfrm>
          <a:prstGeom prst="rect">
            <a:avLst/>
          </a:prstGeom>
        </p:spPr>
        <p:txBody>
          <a:bodyPr vert="horz" wrap="square" lIns="0" tIns="0" rIns="0" bIns="0" rtlCol="0">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325369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yout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840B3E2-2543-6A21-CBC3-324EA6159EDA}"/>
              </a:ext>
            </a:extLst>
          </p:cNvPr>
          <p:cNvSpPr/>
          <p:nvPr userDrawn="1"/>
        </p:nvSpPr>
        <p:spPr bwMode="auto">
          <a:xfrm>
            <a:off x="3048" y="0"/>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5" name="Picture 4" descr="A blurry image of a blue and orange sky&#10;&#10;AI-generated content may be incorrect.">
            <a:extLst>
              <a:ext uri="{FF2B5EF4-FFF2-40B4-BE49-F238E27FC236}">
                <a16:creationId xmlns:a16="http://schemas.microsoft.com/office/drawing/2014/main" id="{7ECCAC18-2F4F-C147-45FB-166E499C5522}"/>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6522" t="1189" r="13264" b="356"/>
          <a:stretch>
            <a:fillRect/>
          </a:stretch>
        </p:blipFill>
        <p:spPr>
          <a:xfrm rot="10800000" flipV="1">
            <a:off x="3621432" y="1"/>
            <a:ext cx="8567520" cy="6857999"/>
          </a:xfrm>
          <a:prstGeom prst="rect">
            <a:avLst/>
          </a:prstGeom>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4253948" y="2117026"/>
            <a:ext cx="7348772" cy="1465016"/>
          </a:xfrm>
          <a:prstGeom prst="rect">
            <a:avLst/>
          </a:prstGeom>
        </p:spPr>
        <p:txBody>
          <a:bodyPr vert="horz" wrap="square" lIns="0" tIns="0" rIns="0" bIns="0" rtlCol="0">
            <a:spAutoFit/>
          </a:bodyPr>
          <a:lstStyle>
            <a:lvl1pPr marL="0" indent="0">
              <a:buFontTx/>
              <a:buNone/>
              <a:defRPr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2117026"/>
            <a:ext cx="2373598"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83708218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yout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89DEF3-0942-1417-41F0-756470802144}"/>
              </a:ext>
            </a:extLst>
          </p:cNvPr>
          <p:cNvSpPr/>
          <p:nvPr userDrawn="1"/>
        </p:nvSpPr>
        <p:spPr bwMode="auto">
          <a:xfrm>
            <a:off x="3048" y="0"/>
            <a:ext cx="12188952" cy="6858000"/>
          </a:xfrm>
          <a:prstGeom prst="rect">
            <a:avLst/>
          </a:prstGeom>
          <a:solidFill>
            <a:srgbClr val="151E47"/>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9DDE651D-7217-BBE7-49BC-45969F3319F3}"/>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983" t="-246" r="24" b="356"/>
          <a:stretch>
            <a:fillRect/>
          </a:stretch>
        </p:blipFill>
        <p:spPr>
          <a:xfrm flipH="1" flipV="1">
            <a:off x="6096000" y="4492"/>
            <a:ext cx="6095994"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9279"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79" y="1140036"/>
            <a:ext cx="4589008" cy="1297925"/>
          </a:xfrm>
          <a:prstGeom prst="rect">
            <a:avLst/>
          </a:prstGeom>
        </p:spPr>
        <p:txBody>
          <a:bodyPr lIns="0" rIns="0"/>
          <a:lstStyle>
            <a:lvl1pPr>
              <a:defRPr spc="0" baseline="0"/>
            </a:lvl1pPr>
          </a:lstStyle>
          <a:p>
            <a:r>
              <a:rPr lang="en-US"/>
              <a:t>Click to edit Master title style</a:t>
            </a:r>
          </a:p>
        </p:txBody>
      </p:sp>
      <p:sp>
        <p:nvSpPr>
          <p:cNvPr id="7" name="Text Placeholder 3">
            <a:extLst>
              <a:ext uri="{FF2B5EF4-FFF2-40B4-BE49-F238E27FC236}">
                <a16:creationId xmlns:a16="http://schemas.microsoft.com/office/drawing/2014/main" id="{8C2EA7BC-13E3-34AE-5CA1-6EACB20A3A70}"/>
              </a:ext>
            </a:extLst>
          </p:cNvPr>
          <p:cNvSpPr>
            <a:spLocks noGrp="1"/>
          </p:cNvSpPr>
          <p:nvPr>
            <p:ph idx="10"/>
          </p:nvPr>
        </p:nvSpPr>
        <p:spPr>
          <a:xfrm>
            <a:off x="7031492"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9FC8DB7-4630-1E38-B757-DD8B179A530D}"/>
              </a:ext>
            </a:extLst>
          </p:cNvPr>
          <p:cNvSpPr>
            <a:spLocks noGrp="1"/>
          </p:cNvSpPr>
          <p:nvPr>
            <p:ph idx="11" hasCustomPrompt="1"/>
          </p:nvPr>
        </p:nvSpPr>
        <p:spPr>
          <a:xfrm>
            <a:off x="7031492" y="1140036"/>
            <a:ext cx="4589008" cy="1107996"/>
          </a:xfrm>
          <a:prstGeom prst="rect">
            <a:avLst/>
          </a:prstGeom>
        </p:spPr>
        <p:txBody>
          <a:bodyPr vert="horz" wrap="square" lIns="0" tIns="0" rIns="0" bIns="0" rtlCol="0">
            <a:spAutoFit/>
          </a:bodyPr>
          <a:lstStyle>
            <a:lvl1pPr marL="0" indent="0" algn="l" defTabSz="932742" rtl="0" eaLnBrk="1" latinLnBrk="0" hangingPunct="1">
              <a:lnSpc>
                <a:spcPct val="100000"/>
              </a:lnSpc>
              <a:spcBef>
                <a:spcPct val="0"/>
              </a:spcBef>
              <a:buFontTx/>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itle style</a:t>
            </a:r>
          </a:p>
        </p:txBody>
      </p:sp>
    </p:spTree>
    <p:extLst>
      <p:ext uri="{BB962C8B-B14F-4D97-AF65-F5344CB8AC3E}">
        <p14:creationId xmlns:p14="http://schemas.microsoft.com/office/powerpoint/2010/main" val="264570937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86725FD6-88E3-D175-3BB1-C08805073FE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532D0726-123A-C3BC-D902-F43835E657A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4" name="Title 1">
            <a:extLst>
              <a:ext uri="{FF2B5EF4-FFF2-40B4-BE49-F238E27FC236}">
                <a16:creationId xmlns:a16="http://schemas.microsoft.com/office/drawing/2014/main" id="{DEE10654-E662-486A-91E4-A0B519907B3A}"/>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4458403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column bullet">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EC0129C9-611E-40C7-935F-FE79CCB43F1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0AF402B5-027B-5EC2-96FF-0F2D2940C8EC}"/>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itle 1">
            <a:extLst>
              <a:ext uri="{FF2B5EF4-FFF2-40B4-BE49-F238E27FC236}">
                <a16:creationId xmlns:a16="http://schemas.microsoft.com/office/drawing/2014/main" id="{E069B642-F814-0105-94A5-568EB275A72B}"/>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12703015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title 3">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403" t="8437" r="24933" b="17871"/>
          <a:stretch>
            <a:fillRect/>
          </a:stretch>
        </p:blipFill>
        <p:spPr>
          <a:xfrm>
            <a:off x="5488599" y="-1"/>
            <a:ext cx="6721295" cy="6704117"/>
          </a:xfrm>
          <a:prstGeom prst="rect">
            <a:avLst/>
          </a:prstGeom>
        </p:spPr>
      </p:pic>
      <p:pic>
        <p:nvPicPr>
          <p:cNvPr id="9" name="Graphic 8">
            <a:extLst>
              <a:ext uri="{FF2B5EF4-FFF2-40B4-BE49-F238E27FC236}">
                <a16:creationId xmlns:a16="http://schemas.microsoft.com/office/drawing/2014/main" id="{E56B8725-F274-0386-69F7-43D4973C88FB}"/>
              </a:ext>
            </a:extLst>
          </p:cNvPr>
          <p:cNvPicPr>
            <a:picLocks noChangeAspect="1"/>
          </p:cNvPicPr>
          <p:nvPr userDrawn="1"/>
        </p:nvPicPr>
        <p:blipFill>
          <a:blip>
            <a:extLst>
              <a:ext uri="{96DAC541-7B7A-43D3-8B79-37D633B846F1}">
                <asvg:svgBlip xmlns:asvg="http://schemas.microsoft.com/office/drawing/2016/SVG/main" r:embed="rId4"/>
              </a:ext>
            </a:extLst>
          </a:blip>
          <a:srcRect l="42711"/>
          <a:stretch>
            <a:fillRect/>
          </a:stretch>
        </p:blipFill>
        <p:spPr>
          <a:xfrm>
            <a:off x="553107" y="645732"/>
            <a:ext cx="1187697" cy="787800"/>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90DDCB4A-090E-DB77-E702-EFFDB3D32280}"/>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8599F99-D574-5D55-8723-03233D2B17BF}"/>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314936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84830D14-0F50-91A0-8E6A-E336C41030D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6"/>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1618146"/>
            <a:ext cx="5367528"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6" name="Picture 5">
            <a:extLst>
              <a:ext uri="{FF2B5EF4-FFF2-40B4-BE49-F238E27FC236}">
                <a16:creationId xmlns:a16="http://schemas.microsoft.com/office/drawing/2014/main" id="{EA9B12E0-2F4A-3379-ADB3-EBE82CFC317D}"/>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3" name="Title 1">
            <a:extLst>
              <a:ext uri="{FF2B5EF4-FFF2-40B4-BE49-F238E27FC236}">
                <a16:creationId xmlns:a16="http://schemas.microsoft.com/office/drawing/2014/main" id="{74A51CF8-7460-331F-A702-675E514AAA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8568238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CB772E2F-77B4-7D2D-FBA0-B04CAA0DD52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5"/>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1618145"/>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1618145"/>
            <a:ext cx="3474720" cy="3474720"/>
          </a:xfrm>
          <a:prstGeom prst="rect">
            <a:avLst/>
          </a:prstGeom>
          <a:blipFill>
            <a:blip r:embed="rId5"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C6B2DF11-B020-17DD-ECE5-E997AF073F0A}"/>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pic>
        <p:nvPicPr>
          <p:cNvPr id="6" name="Picture 5">
            <a:extLst>
              <a:ext uri="{FF2B5EF4-FFF2-40B4-BE49-F238E27FC236}">
                <a16:creationId xmlns:a16="http://schemas.microsoft.com/office/drawing/2014/main" id="{D91CBE31-E5B4-E569-7834-1EB2C63206A3}"/>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2313571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A30EF81F-2C86-F935-8EF6-F64F7E255C36}"/>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bg1"/>
                </a:solidFill>
                <a:latin typeface="+mn-lt"/>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solidFill>
                  <a:schemeClr val="bg1"/>
                </a:solidFill>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9" name="Picture 8">
            <a:extLst>
              <a:ext uri="{FF2B5EF4-FFF2-40B4-BE49-F238E27FC236}">
                <a16:creationId xmlns:a16="http://schemas.microsoft.com/office/drawing/2014/main" id="{52D052A6-D7A7-1A83-F3DB-CB85339C32AA}"/>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cxnSp>
        <p:nvCxnSpPr>
          <p:cNvPr id="12" name="Straight Connector 11">
            <a:extLst>
              <a:ext uri="{FF2B5EF4-FFF2-40B4-BE49-F238E27FC236}">
                <a16:creationId xmlns:a16="http://schemas.microsoft.com/office/drawing/2014/main" id="{A07110ED-B1D6-28CC-E2DD-7818577AFE6B}"/>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6CD54E-4D0E-5619-759C-8BCEADCCBCF9}"/>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59043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3" name="TextBox 2">
            <a:extLst>
              <a:ext uri="{FF2B5EF4-FFF2-40B4-BE49-F238E27FC236}">
                <a16:creationId xmlns:a16="http://schemas.microsoft.com/office/drawing/2014/main" id="{0F2B7703-B80B-4610-1A72-01F0C5AC4D49}"/>
              </a:ext>
            </a:extLst>
          </p:cNvPr>
          <p:cNvSpPr txBox="1"/>
          <p:nvPr userDrawn="1"/>
        </p:nvSpPr>
        <p:spPr>
          <a:xfrm>
            <a:off x="583953" y="2592177"/>
            <a:ext cx="7331228" cy="1335750"/>
          </a:xfrm>
          <a:prstGeom prst="rect">
            <a:avLst/>
          </a:prstGeom>
          <a:noFill/>
          <a:ln>
            <a:noFill/>
            <a:prstDash/>
          </a:ln>
          <a:effectLst/>
        </p:spPr>
        <p:txBody>
          <a:bodyPr wrap="square" lIns="0" rIns="0">
            <a:spAutoFit/>
          </a:bodyPr>
          <a:lstStyle/>
          <a:p>
            <a:pPr>
              <a:lnSpc>
                <a:spcPct val="80000"/>
              </a:lnSpc>
              <a:spcAft>
                <a:spcPts val="600"/>
              </a:spcAft>
            </a:pPr>
            <a: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Merci!</a:t>
            </a:r>
          </a:p>
        </p:txBody>
      </p:sp>
    </p:spTree>
    <p:extLst>
      <p:ext uri="{BB962C8B-B14F-4D97-AF65-F5344CB8AC3E}">
        <p14:creationId xmlns:p14="http://schemas.microsoft.com/office/powerpoint/2010/main" val="273454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1 - ligh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8E53CB7-242F-DE31-5043-E20246F1EB33}"/>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
        <p:nvSpPr>
          <p:cNvPr id="19" name="Title 1">
            <a:extLst>
              <a:ext uri="{FF2B5EF4-FFF2-40B4-BE49-F238E27FC236}">
                <a16:creationId xmlns:a16="http://schemas.microsoft.com/office/drawing/2014/main" id="{72535865-A229-5507-A2C7-11ECB16F392F}"/>
              </a:ext>
            </a:extLst>
          </p:cNvPr>
          <p:cNvSpPr>
            <a:spLocks noGrp="1"/>
          </p:cNvSpPr>
          <p:nvPr>
            <p:ph type="title"/>
          </p:nvPr>
        </p:nvSpPr>
        <p:spPr>
          <a:xfrm>
            <a:off x="588263" y="485481"/>
            <a:ext cx="11018520" cy="498598"/>
          </a:xfrm>
          <a:prstGeom prst="rect">
            <a:avLst/>
          </a:prstGeom>
        </p:spPr>
        <p:txBody>
          <a:bodyPr lIns="0" rIns="0"/>
          <a:lstStyle>
            <a:lvl1pPr>
              <a:defRPr spc="0" baseline="0">
                <a:solidFill>
                  <a:srgbClr val="151E47"/>
                </a:solidFill>
                <a:latin typeface="Segoe Sans Display Semibold" pitchFamily="2" charset="0"/>
                <a:cs typeface="Segoe Sans Display Semibold" pitchFamily="2" charset="0"/>
              </a:defRPr>
            </a:lvl1pPr>
          </a:lstStyle>
          <a:p>
            <a:r>
              <a:rPr lang="en-US"/>
              <a:t>Click to edit Master title style</a:t>
            </a:r>
          </a:p>
        </p:txBody>
      </p:sp>
      <p:sp>
        <p:nvSpPr>
          <p:cNvPr id="21" name="Text Placeholder 3">
            <a:extLst>
              <a:ext uri="{FF2B5EF4-FFF2-40B4-BE49-F238E27FC236}">
                <a16:creationId xmlns:a16="http://schemas.microsoft.com/office/drawing/2014/main" id="{C221563D-9D7D-59D4-15F5-691342AAF2A4}"/>
              </a:ext>
            </a:extLst>
          </p:cNvPr>
          <p:cNvSpPr>
            <a:spLocks noGrp="1"/>
          </p:cNvSpPr>
          <p:nvPr>
            <p:ph idx="1"/>
          </p:nvPr>
        </p:nvSpPr>
        <p:spPr>
          <a:xfrm>
            <a:off x="584200" y="1435503"/>
            <a:ext cx="11018520" cy="1428083"/>
          </a:xfrm>
          <a:prstGeom prst="rect">
            <a:avLst/>
          </a:prstGeom>
        </p:spPr>
        <p:txBody>
          <a:bodyPr vert="horz" wrap="square" lIns="0" tIns="0" rIns="0" bIns="0" rtlCol="0">
            <a:spAutoFit/>
          </a:bodyPr>
          <a:lstStyle>
            <a:lvl1pPr>
              <a:defRPr sz="1600">
                <a:solidFill>
                  <a:srgbClr val="151E47"/>
                </a:solidFill>
              </a:defRPr>
            </a:lvl1pPr>
            <a:lvl2pPr>
              <a:defRPr sz="1600">
                <a:solidFill>
                  <a:srgbClr val="151E47"/>
                </a:solidFill>
              </a:defRPr>
            </a:lvl2pPr>
            <a:lvl3pPr>
              <a:defRPr sz="1600">
                <a:solidFill>
                  <a:srgbClr val="151E47"/>
                </a:solidFill>
              </a:defRPr>
            </a:lvl3pPr>
            <a:lvl4pPr>
              <a:defRPr sz="1600">
                <a:solidFill>
                  <a:srgbClr val="151E47"/>
                </a:solidFill>
              </a:defRPr>
            </a:lvl4pPr>
            <a:lvl5pPr>
              <a:defRPr sz="1600">
                <a:solidFill>
                  <a:srgbClr val="151E4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10102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 2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9C099-894E-0D88-9D9C-CE47048BD8A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42816267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 light">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C100DC9-F079-8524-5830-3A36378B22B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6762421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column bullet - light">
    <p:spTree>
      <p:nvGrpSpPr>
        <p:cNvPr id="1" name=""/>
        <p:cNvGrpSpPr/>
        <p:nvPr/>
      </p:nvGrpSpPr>
      <p:grpSpPr>
        <a:xfrm>
          <a:off x="0" y="0"/>
          <a:ext cx="0" cy="0"/>
          <a:chOff x="0" y="0"/>
          <a:chExt cx="0" cy="0"/>
        </a:xfrm>
      </p:grpSpPr>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D947218-CB56-374F-5584-04BA67C1703D}"/>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0452656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86B7CA03-C864-862E-0B28-6FF509BF2D0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6319485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0ECD512D-523B-6987-EBE4-CD6774F2456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97676906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r="30488" b="42725"/>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t="14771" r="11937"/>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t="98301" r="96994"/>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l="-11723" t="71799" r="100000" b="1699"/>
          <a:stretch>
            <a:fill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18" name="Graphic 17">
            <a:extLst>
              <a:ext uri="{FF2B5EF4-FFF2-40B4-BE49-F238E27FC236}">
                <a16:creationId xmlns:a16="http://schemas.microsoft.com/office/drawing/2014/main" id="{A34BDEDB-DBBC-A920-0DAA-C092A8054208}"/>
              </a:ext>
            </a:extLst>
          </p:cNvPr>
          <p:cNvPicPr>
            <a:picLocks noChangeAspect="1"/>
          </p:cNvPicPr>
          <p:nvPr userDrawn="1"/>
        </p:nvPicPr>
        <p:blipFill>
          <a:blip>
            <a:extLst>
              <a:ext uri="{96DAC541-7B7A-43D3-8B79-37D633B846F1}">
                <asvg:svgBlip xmlns:asvg="http://schemas.microsoft.com/office/drawing/2016/SVG/main" r:embed="rId7"/>
              </a:ext>
            </a:extLst>
          </a:blip>
          <a:srcRect l="42711"/>
          <a:stretch>
            <a:fillRect/>
          </a:stretch>
        </p:blipFill>
        <p:spPr>
          <a:xfrm>
            <a:off x="553107" y="645732"/>
            <a:ext cx="1187697" cy="787800"/>
          </a:xfrm>
          <a:prstGeom prst="rect">
            <a:avLst/>
          </a:pr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8"/>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3C2A488F-B855-8BA1-7EAB-FAFD6264E835}"/>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DC3852C-4431-C777-7E3A-08951A007D72}"/>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27778110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text side by side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tx1"/>
                </a:solidFill>
                <a:latin typeface="Segoe Sans Display "/>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10" name="Straight Connector 9">
            <a:extLst>
              <a:ext uri="{FF2B5EF4-FFF2-40B4-BE49-F238E27FC236}">
                <a16:creationId xmlns:a16="http://schemas.microsoft.com/office/drawing/2014/main" id="{4B7175DD-9188-BAB1-B7F0-9EEC45E7818C}"/>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72173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9" name="Picture 8" descr="A group of colorful objects&#10;&#10;Description automatically generated with medium confidence">
            <a:extLst>
              <a:ext uri="{FF2B5EF4-FFF2-40B4-BE49-F238E27FC236}">
                <a16:creationId xmlns:a16="http://schemas.microsoft.com/office/drawing/2014/main" id="{4545BE87-F543-41CE-DE9C-B2C7ED9BE869}"/>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MS logo gray - EMF" descr="Microsoft logo, gray text version">
            <a:extLst>
              <a:ext uri="{FF2B5EF4-FFF2-40B4-BE49-F238E27FC236}">
                <a16:creationId xmlns:a16="http://schemas.microsoft.com/office/drawing/2014/main" id="{44B5640C-FD56-0DD1-3E3E-225048EF6B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10" name="Picture 9">
            <a:extLst>
              <a:ext uri="{FF2B5EF4-FFF2-40B4-BE49-F238E27FC236}">
                <a16:creationId xmlns:a16="http://schemas.microsoft.com/office/drawing/2014/main" id="{1FFA8274-73BF-948D-55A6-7E4DC0709A9A}"/>
              </a:ext>
            </a:extLst>
          </p:cNvPr>
          <p:cNvPicPr>
            <a:picLocks noChangeAspect="1"/>
          </p:cNvPicPr>
          <p:nvPr userDrawn="1"/>
        </p:nvPicPr>
        <p:blipFill>
          <a:blip>
            <a:extLst>
              <a:ext uri="{96DAC541-7B7A-43D3-8B79-37D633B846F1}">
                <asvg:svgBlip xmlns:asvg="http://schemas.microsoft.com/office/drawing/2016/SVG/main" r:embed="rId4"/>
              </a:ext>
            </a:extLst>
          </a:blip>
          <a:srcRect/>
          <a:stretch/>
        </p:blipFill>
        <p:spPr>
          <a:xfrm>
            <a:off x="532830" y="2680838"/>
            <a:ext cx="4128188" cy="1260872"/>
          </a:xfrm>
          <a:prstGeom prst="rect">
            <a:avLst/>
          </a:prstGeom>
        </p:spPr>
      </p:pic>
    </p:spTree>
    <p:extLst>
      <p:ext uri="{BB962C8B-B14F-4D97-AF65-F5344CB8AC3E}">
        <p14:creationId xmlns:p14="http://schemas.microsoft.com/office/powerpoint/2010/main" val="19346442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4" name="Picture 3" descr="A group of colorful objects&#10;&#10;Description automatically generated with medium confidence">
            <a:extLst>
              <a:ext uri="{FF2B5EF4-FFF2-40B4-BE49-F238E27FC236}">
                <a16:creationId xmlns:a16="http://schemas.microsoft.com/office/drawing/2014/main" id="{68126A89-90B2-4E49-909E-79F6B3F1AAC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302670"/>
            <a:ext cx="5577840" cy="123110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0078D4"/>
                </a:soli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3" name="MS logo gray - EMF" descr="Microsoft logo, gray text version">
            <a:extLst>
              <a:ext uri="{FF2B5EF4-FFF2-40B4-BE49-F238E27FC236}">
                <a16:creationId xmlns:a16="http://schemas.microsoft.com/office/drawing/2014/main" id="{528725CB-B775-081A-D40D-3A222E9843C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82345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938109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17178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08879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477474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81902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10003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382356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1">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841804CA-5B33-245C-AE53-73C33CB23EE3}"/>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7901086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82521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10343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4848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5349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89911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042281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19820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125412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055491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11494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2">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7FE96B6A-22DF-4905-8725-EB791B1D476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3241169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30897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599382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795891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744345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070025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32055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773857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23570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66782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11806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3">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2" name="Picture 1" descr="A close up of a corner of a paper&#10;&#10;AI-generated content may be incorrect.">
            <a:extLst>
              <a:ext uri="{FF2B5EF4-FFF2-40B4-BE49-F238E27FC236}">
                <a16:creationId xmlns:a16="http://schemas.microsoft.com/office/drawing/2014/main" id="{9D1D243A-BEC8-31C0-957B-7041D1ECEAB7}"/>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39669" t="-3489" r="308" b="5012"/>
          <a:stretch>
            <a:fillRect/>
          </a:stretch>
        </p:blipFill>
        <p:spPr>
          <a:xfrm rot="10800000" flipH="1" flipV="1">
            <a:off x="5931363" y="3132150"/>
            <a:ext cx="6260637" cy="3725849"/>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0" name="Title Placeholder 1">
            <a:extLst>
              <a:ext uri="{FF2B5EF4-FFF2-40B4-BE49-F238E27FC236}">
                <a16:creationId xmlns:a16="http://schemas.microsoft.com/office/drawing/2014/main" id="{A88E3D19-2226-DDC2-A8D5-813993AE86C9}"/>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8029559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252702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488669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52708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316799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18605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44584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625929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081639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260433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22695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4">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a:extLst>
              <a:ext uri="{28A0092B-C50C-407E-A947-70E740481C1C}">
                <a14:useLocalDpi xmlns:a14="http://schemas.microsoft.com/office/drawing/2010/main" val="0"/>
              </a:ext>
            </a:extLst>
          </a:blip>
          <a:srcRect l="3907" t="2396" b="11468"/>
          <a:stretch>
            <a:fillRect/>
          </a:stretch>
        </p:blipFill>
        <p:spPr>
          <a:xfrm>
            <a:off x="-17894" y="0"/>
            <a:ext cx="12209894" cy="6868066"/>
          </a:xfrm>
          <a:prstGeom prst="rect">
            <a:avLst/>
          </a:prstGeom>
        </p:spPr>
      </p:pic>
      <p:pic>
        <p:nvPicPr>
          <p:cNvPr id="11" name="Picture 10" descr="A blue and orange background&#10;&#10;AI-generated content may be incorrect.">
            <a:extLst>
              <a:ext uri="{FF2B5EF4-FFF2-40B4-BE49-F238E27FC236}">
                <a16:creationId xmlns:a16="http://schemas.microsoft.com/office/drawing/2014/main" id="{051DD8BC-6E15-4478-EACE-6ADFF16CF9E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4">
            <a:extLst>
              <a:ext uri="{28A0092B-C50C-407E-A947-70E740481C1C}">
                <a14:useLocalDpi xmlns:a14="http://schemas.microsoft.com/office/drawing/2010/main" val="0"/>
              </a:ext>
            </a:extLst>
          </a:blip>
          <a:srcRect r="33553" b="21301"/>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l="11581" b="22533"/>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0F261CA3-A777-DE33-D141-CA5CC5633FDA}"/>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61471768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658720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pic>
        <p:nvPicPr>
          <p:cNvPr id="4" name="Picture 3" descr="A blue and purple hexagons&#10;&#10;Description automatically generated">
            <a:extLst>
              <a:ext uri="{FF2B5EF4-FFF2-40B4-BE49-F238E27FC236}">
                <a16:creationId xmlns:a16="http://schemas.microsoft.com/office/drawing/2014/main" id="{A078D81F-FE21-3E92-420C-4EC15283A54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2A446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76999"/>
          </a:xfrm>
          <a:noFill/>
        </p:spPr>
        <p:txBody>
          <a:bodyPr lIns="0" tIns="0" rIns="0" bIns="0">
            <a:spAutoFit/>
          </a:bodyPr>
          <a:lstStyle>
            <a:lvl1pPr marL="0" indent="0">
              <a:spcBef>
                <a:spcPts val="0"/>
              </a:spcBef>
              <a:spcAft>
                <a:spcPts val="0"/>
              </a:spcAft>
              <a:buFont typeface="Arial" panose="020B0604020202020204" pitchFamily="34" charset="0"/>
              <a:buNone/>
              <a:defRPr sz="18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0338774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76999"/>
          </a:xfrm>
          <a:noFill/>
        </p:spPr>
        <p:txBody>
          <a:bodyPr lIns="0" tIns="0" rIns="0" bIns="0">
            <a:spAutoFit/>
          </a:bodyPr>
          <a:lstStyle>
            <a:lvl1pPr marL="0" indent="0">
              <a:spcBef>
                <a:spcPts val="0"/>
              </a:spcBef>
              <a:spcAft>
                <a:spcPts val="0"/>
              </a:spcAft>
              <a:buFont typeface="Arial" panose="020B0604020202020204" pitchFamily="34" charset="0"/>
              <a:buNone/>
              <a:defRPr sz="18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879625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B2E8E2"/>
        </a:solidFill>
        <a:effectLst/>
      </p:bgPr>
    </p:bg>
    <p:spTree>
      <p:nvGrpSpPr>
        <p:cNvPr id="1" name=""/>
        <p:cNvGrpSpPr/>
        <p:nvPr/>
      </p:nvGrpSpPr>
      <p:grpSpPr>
        <a:xfrm>
          <a:off x="0" y="0"/>
          <a:ext cx="0" cy="0"/>
          <a:chOff x="0" y="0"/>
          <a:chExt cx="0" cy="0"/>
        </a:xfrm>
      </p:grpSpPr>
      <p:pic>
        <p:nvPicPr>
          <p:cNvPr id="4" name="Picture 3" descr="A blue and purple hexagons&#10;&#10;Description automatically generated">
            <a:extLst>
              <a:ext uri="{FF2B5EF4-FFF2-40B4-BE49-F238E27FC236}">
                <a16:creationId xmlns:a16="http://schemas.microsoft.com/office/drawing/2014/main" id="{4A61EC96-D427-E3BD-8279-AE0B53BFFCB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2A446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42636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1119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00387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317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69895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0361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2455519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5">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403" t="8437" r="24933" b="17871"/>
          <a:stretch>
            <a:fillRect/>
          </a:stretch>
        </p:blipFill>
        <p:spPr>
          <a:xfrm>
            <a:off x="5488599" y="-1"/>
            <a:ext cx="6721295" cy="6704117"/>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8291BFD-F619-0250-71BD-ED5F5475E9F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06013483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7_Title &amp; Non-bulleted text">
    <p:bg>
      <p:bgPr>
        <a:gradFill>
          <a:gsLst>
            <a:gs pos="97248">
              <a:schemeClr val="accent4">
                <a:lumMod val="90000"/>
              </a:schemeClr>
            </a:gs>
            <a:gs pos="74000">
              <a:schemeClr val="accent1"/>
            </a:gs>
            <a:gs pos="18000">
              <a:srgbClr val="001642"/>
            </a:gs>
          </a:gsLst>
          <a:lin ang="1800000" scaled="0"/>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05486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CB8D68C-3D8E-5E53-1142-AF659F272741}"/>
              </a:ext>
            </a:extLst>
          </p:cNvPr>
          <p:cNvPicPr>
            <a:picLocks noChangeAspect="1"/>
          </p:cNvPicPr>
          <p:nvPr userDrawn="1"/>
        </p:nvPicPr>
        <p:blipFill>
          <a:blip r:embed="rId3"/>
          <a:srcRect l="7268" t="12785" r="29138" b="23622"/>
          <a:stretch>
            <a:fillRect/>
          </a:stretch>
        </p:blipFill>
        <p:spPr>
          <a:xfrm>
            <a:off x="-1" y="-1"/>
            <a:ext cx="12192001" cy="6858001"/>
          </a:xfrm>
          <a:prstGeom prst="rect">
            <a:avLst/>
          </a:prstGeom>
        </p:spPr>
      </p:pic>
      <p:sp>
        <p:nvSpPr>
          <p:cNvPr id="9" name="Title 1"/>
          <p:cNvSpPr>
            <a:spLocks noGrp="1"/>
          </p:cNvSpPr>
          <p:nvPr>
            <p:ph type="title" hasCustomPrompt="1"/>
          </p:nvPr>
        </p:nvSpPr>
        <p:spPr>
          <a:xfrm>
            <a:off x="584201" y="1154163"/>
            <a:ext cx="4045857" cy="487313"/>
          </a:xfrm>
          <a:noFill/>
        </p:spPr>
        <p:txBody>
          <a:bodyPr wrap="square" lIns="0" tIns="0" rIns="0" bIns="0" anchor="b" anchorCtr="0">
            <a:spAutoFit/>
          </a:bodyPr>
          <a:lstStyle>
            <a:lvl1pPr>
              <a:lnSpc>
                <a:spcPts val="3800"/>
              </a:lnSpc>
              <a:defRPr sz="4000" spc="-50" baseline="0">
                <a:solidFill>
                  <a:schemeClr val="bg1"/>
                </a:solidFill>
                <a:latin typeface="+mj-lt"/>
                <a:cs typeface="Segoe Sans Display" pitchFamily="2" charset="0"/>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5" name="Text Placeholder 4"/>
          <p:cNvSpPr>
            <a:spLocks noGrp="1"/>
          </p:cNvSpPr>
          <p:nvPr>
            <p:ph type="body" sz="quarter" idx="12" hasCustomPrompt="1"/>
          </p:nvPr>
        </p:nvSpPr>
        <p:spPr>
          <a:xfrm>
            <a:off x="584200" y="1852574"/>
            <a:ext cx="4045857"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 text</a:t>
            </a:r>
          </a:p>
        </p:txBody>
      </p:sp>
      <p:sp>
        <p:nvSpPr>
          <p:cNvPr id="4" name="TextBox 3">
            <a:extLst>
              <a:ext uri="{FF2B5EF4-FFF2-40B4-BE49-F238E27FC236}">
                <a16:creationId xmlns:a16="http://schemas.microsoft.com/office/drawing/2014/main" id="{7EAAE3D9-740A-1FF6-16C8-C63C68E2B8EC}"/>
              </a:ext>
            </a:extLst>
          </p:cNvPr>
          <p:cNvSpPr txBox="1"/>
          <p:nvPr userDrawn="1"/>
        </p:nvSpPr>
        <p:spPr>
          <a:xfrm>
            <a:off x="584200" y="518873"/>
            <a:ext cx="3273552" cy="307777"/>
          </a:xfrm>
          <a:prstGeom prst="rect">
            <a:avLst/>
          </a:prstGeom>
          <a:noFill/>
        </p:spPr>
        <p:txBody>
          <a:bodyPr wrap="square" lIns="0" tIns="0" rIns="0" bIns="0" rtlCol="0">
            <a:spAutoFit/>
          </a:bodyPr>
          <a:lstStyle/>
          <a:p>
            <a:pPr algn="l"/>
            <a:r>
              <a:rPr lang="en-US" sz="2000">
                <a:solidFill>
                  <a:schemeClr val="bg1"/>
                </a:solidFill>
              </a:rPr>
              <a:t>Agent 365</a:t>
            </a:r>
          </a:p>
        </p:txBody>
      </p:sp>
      <p:pic>
        <p:nvPicPr>
          <p:cNvPr id="2" name="MS logo white - EMF" descr="Microsoft logo white text version">
            <a:extLst>
              <a:ext uri="{FF2B5EF4-FFF2-40B4-BE49-F238E27FC236}">
                <a16:creationId xmlns:a16="http://schemas.microsoft.com/office/drawing/2014/main" id="{1840CBD0-0BEB-DC8F-CEF1-C001B4538665}"/>
              </a:ext>
            </a:extLst>
          </p:cNvPr>
          <p:cNvPicPr>
            <a:picLocks noChangeAspect="1"/>
          </p:cNvPicPr>
          <p:nvPr userDrawn="1"/>
        </p:nvPicPr>
        <p:blipFill>
          <a:blip r:embed="rId4" cstate="print">
            <a:lum bright="100000"/>
            <a:extLst>
              <a:ext uri="{28A0092B-C50C-407E-A947-70E740481C1C}">
                <a14:useLocalDpi xmlns:a14="http://schemas.microsoft.com/office/drawing/2010/main"/>
              </a:ext>
            </a:extLst>
          </a:blip>
          <a:stretch>
            <a:fillRect/>
          </a:stretch>
        </p:blipFill>
        <p:spPr bwMode="black">
          <a:xfrm>
            <a:off x="584200" y="6086021"/>
            <a:ext cx="933451" cy="199917"/>
          </a:xfrm>
          <a:prstGeom prst="rect">
            <a:avLst/>
          </a:prstGeom>
        </p:spPr>
      </p:pic>
    </p:spTree>
    <p:extLst>
      <p:ext uri="{BB962C8B-B14F-4D97-AF65-F5344CB8AC3E}">
        <p14:creationId xmlns:p14="http://schemas.microsoft.com/office/powerpoint/2010/main" val="27038343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252D4AA-19DA-243F-2A37-88B1765E7DE3}"/>
              </a:ext>
            </a:extLst>
          </p:cNvPr>
          <p:cNvPicPr>
            <a:picLocks noChangeAspect="1"/>
          </p:cNvPicPr>
          <p:nvPr userDrawn="1"/>
        </p:nvPicPr>
        <p:blipFill>
          <a:blip r:embed="rId2"/>
          <a:srcRect l="4915" t="23879" r="32588" b="13623"/>
          <a:stretch>
            <a:fillRect/>
          </a:stretch>
        </p:blipFill>
        <p:spPr>
          <a:xfrm>
            <a:off x="-1" y="-1"/>
            <a:ext cx="12192001" cy="6858001"/>
          </a:xfrm>
          <a:prstGeom prst="rect">
            <a:avLst/>
          </a:prstGeom>
        </p:spPr>
      </p:pic>
      <p:sp>
        <p:nvSpPr>
          <p:cNvPr id="9" name="Title 1"/>
          <p:cNvSpPr>
            <a:spLocks noGrp="1"/>
          </p:cNvSpPr>
          <p:nvPr>
            <p:ph type="title" hasCustomPrompt="1"/>
          </p:nvPr>
        </p:nvSpPr>
        <p:spPr>
          <a:xfrm>
            <a:off x="571500" y="5094628"/>
            <a:ext cx="3405414" cy="615553"/>
          </a:xfrm>
          <a:noFill/>
        </p:spPr>
        <p:txBody>
          <a:bodyPr wrap="square" lIns="0" tIns="0" rIns="0" bIns="0" anchor="b" anchorCtr="0">
            <a:spAutoFit/>
          </a:bodyPr>
          <a:lstStyle>
            <a:lvl1pPr>
              <a:defRPr sz="4000" spc="-50" baseline="0">
                <a:solidFill>
                  <a:srgbClr val="FFFFFF"/>
                </a:solidFill>
                <a:latin typeface="+mj-lt"/>
                <a:cs typeface="Segoe Sans Display" pitchFamily="2" charset="0"/>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5" name="Text Placeholder 4"/>
          <p:cNvSpPr>
            <a:spLocks noGrp="1"/>
          </p:cNvSpPr>
          <p:nvPr>
            <p:ph type="body" sz="quarter" idx="12" hasCustomPrompt="1"/>
          </p:nvPr>
        </p:nvSpPr>
        <p:spPr>
          <a:xfrm>
            <a:off x="571501" y="5835017"/>
            <a:ext cx="1402930" cy="492443"/>
          </a:xfrm>
          <a:noFill/>
        </p:spPr>
        <p:txBody>
          <a:bodyPr wrap="square" lIns="0" tIns="0" rIns="0" bIns="0">
            <a:spAutoFit/>
          </a:bodyPr>
          <a:lstStyle>
            <a:lvl1pPr marL="0" indent="0">
              <a:spcBef>
                <a:spcPts val="0"/>
              </a:spcBef>
              <a:buNone/>
              <a:defRPr sz="1600" spc="0" baseline="0">
                <a:solidFill>
                  <a:srgbClr val="FFFFFF"/>
                </a:solidFill>
                <a:latin typeface="+mn-lt"/>
                <a:cs typeface="Segoe Sans Display" pitchFamily="2" charset="0"/>
              </a:defRPr>
            </a:lvl1pPr>
          </a:lstStyle>
          <a:p>
            <a:pPr lvl="0"/>
            <a:r>
              <a:rPr lang="en-US"/>
              <a:t>Speaker name or subtitle text</a:t>
            </a:r>
          </a:p>
        </p:txBody>
      </p:sp>
      <p:sp>
        <p:nvSpPr>
          <p:cNvPr id="4" name="TextBox 3">
            <a:extLst>
              <a:ext uri="{FF2B5EF4-FFF2-40B4-BE49-F238E27FC236}">
                <a16:creationId xmlns:a16="http://schemas.microsoft.com/office/drawing/2014/main" id="{9AC917CB-0B4D-F51B-F63A-7A5124A9A0F1}"/>
              </a:ext>
            </a:extLst>
          </p:cNvPr>
          <p:cNvSpPr txBox="1"/>
          <p:nvPr userDrawn="1"/>
        </p:nvSpPr>
        <p:spPr>
          <a:xfrm>
            <a:off x="571500" y="4046462"/>
            <a:ext cx="3273552" cy="307777"/>
          </a:xfrm>
          <a:prstGeom prst="rect">
            <a:avLst/>
          </a:prstGeom>
          <a:noFill/>
        </p:spPr>
        <p:txBody>
          <a:bodyPr wrap="square" lIns="0" tIns="0" rIns="0" bIns="0" rtlCol="0">
            <a:spAutoFit/>
          </a:bodyPr>
          <a:lstStyle/>
          <a:p>
            <a:pPr algn="l"/>
            <a:r>
              <a:rPr lang="en-US" sz="2000">
                <a:solidFill>
                  <a:srgbClr val="FFFFFF"/>
                </a:solidFill>
              </a:rPr>
              <a:t>Agent 365</a:t>
            </a:r>
          </a:p>
        </p:txBody>
      </p:sp>
      <p:pic>
        <p:nvPicPr>
          <p:cNvPr id="11" name="Picture 10">
            <a:extLst>
              <a:ext uri="{FF2B5EF4-FFF2-40B4-BE49-F238E27FC236}">
                <a16:creationId xmlns:a16="http://schemas.microsoft.com/office/drawing/2014/main" id="{E4369DED-C10F-672A-B940-B2BF06491EB3}"/>
              </a:ext>
            </a:extLst>
          </p:cNvPr>
          <p:cNvPicPr>
            <a:picLocks noChangeAspect="1"/>
          </p:cNvPicPr>
          <p:nvPr userDrawn="1"/>
        </p:nvPicPr>
        <p:blipFill>
          <a:blip r:embed="rId3"/>
          <a:stretch>
            <a:fillRect/>
          </a:stretch>
        </p:blipFill>
        <p:spPr>
          <a:xfrm>
            <a:off x="-609685" y="0"/>
            <a:ext cx="609685" cy="1676634"/>
          </a:xfrm>
          <a:prstGeom prst="rect">
            <a:avLst/>
          </a:prstGeom>
        </p:spPr>
      </p:pic>
      <p:pic>
        <p:nvPicPr>
          <p:cNvPr id="2" name="MS logo white - EMF" descr="Microsoft logo white text version">
            <a:extLst>
              <a:ext uri="{FF2B5EF4-FFF2-40B4-BE49-F238E27FC236}">
                <a16:creationId xmlns:a16="http://schemas.microsoft.com/office/drawing/2014/main" id="{0D4BAB47-034B-4242-14E1-A133DA9DC6B7}"/>
              </a:ext>
            </a:extLst>
          </p:cNvPr>
          <p:cNvPicPr>
            <a:picLocks noChangeAspect="1"/>
          </p:cNvPicPr>
          <p:nvPr userDrawn="1"/>
        </p:nvPicPr>
        <p:blipFill>
          <a:blip r:embed="rId4" cstate="print">
            <a:lum bright="100000"/>
            <a:extLst>
              <a:ext uri="{28A0092B-C50C-407E-A947-70E740481C1C}">
                <a14:useLocalDpi xmlns:a14="http://schemas.microsoft.com/office/drawing/2010/main"/>
              </a:ext>
            </a:extLst>
          </a:blip>
          <a:stretch>
            <a:fillRect/>
          </a:stretch>
        </p:blipFill>
        <p:spPr bwMode="black">
          <a:xfrm>
            <a:off x="571500" y="268205"/>
            <a:ext cx="933451" cy="199917"/>
          </a:xfrm>
          <a:prstGeom prst="rect">
            <a:avLst/>
          </a:prstGeom>
        </p:spPr>
      </p:pic>
    </p:spTree>
    <p:extLst>
      <p:ext uri="{BB962C8B-B14F-4D97-AF65-F5344CB8AC3E}">
        <p14:creationId xmlns:p14="http://schemas.microsoft.com/office/powerpoint/2010/main" val="4182356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with replaceable image">
    <p:bg>
      <p:bgPr>
        <a:solidFill>
          <a:schemeClr val="tx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4BB602E-4FCD-3E0C-6B56-C0C5470FE7E5}"/>
              </a:ext>
            </a:extLst>
          </p:cNvPr>
          <p:cNvPicPr>
            <a:picLocks noChangeAspect="1"/>
          </p:cNvPicPr>
          <p:nvPr userDrawn="1"/>
        </p:nvPicPr>
        <p:blipFill>
          <a:blip r:embed="rId2">
            <a:alphaModFix/>
          </a:blip>
          <a:srcRect l="24140" t="23350" r="24140" b="24930"/>
          <a:stretch>
            <a:fillRect/>
          </a:stretch>
        </p:blipFill>
        <p:spPr>
          <a:xfrm>
            <a:off x="0" y="0"/>
            <a:ext cx="12192000" cy="6858000"/>
          </a:xfrm>
          <a:prstGeom prst="rect">
            <a:avLst/>
          </a:prstGeom>
        </p:spPr>
      </p:pic>
      <p:sp>
        <p:nvSpPr>
          <p:cNvPr id="7" name="Rectangle: Rounded Corners 6">
            <a:extLst>
              <a:ext uri="{FF2B5EF4-FFF2-40B4-BE49-F238E27FC236}">
                <a16:creationId xmlns:a16="http://schemas.microsoft.com/office/drawing/2014/main" id="{42460BAC-D617-BE33-F77B-EAA6ED8D84E9}"/>
              </a:ext>
            </a:extLst>
          </p:cNvPr>
          <p:cNvSpPr/>
          <p:nvPr userDrawn="1"/>
        </p:nvSpPr>
        <p:spPr bwMode="auto">
          <a:xfrm>
            <a:off x="116114" y="103756"/>
            <a:ext cx="5573486" cy="6633633"/>
          </a:xfrm>
          <a:prstGeom prst="roundRect">
            <a:avLst>
              <a:gd name="adj" fmla="val 3255"/>
            </a:avLst>
          </a:prstGeom>
          <a:gradFill>
            <a:gsLst>
              <a:gs pos="0">
                <a:srgbClr val="FECBE6"/>
              </a:gs>
              <a:gs pos="26000">
                <a:srgbClr val="BABAFF">
                  <a:alpha val="88000"/>
                </a:srgbClr>
              </a:gs>
              <a:gs pos="50000">
                <a:srgbClr val="58AAFE">
                  <a:alpha val="88000"/>
                </a:srgbClr>
              </a:gs>
              <a:gs pos="98165">
                <a:srgbClr val="1B45B3">
                  <a:alpha val="37000"/>
                </a:srgbClr>
              </a:gs>
              <a:gs pos="84000">
                <a:srgbClr val="2764E7">
                  <a:alpha val="55000"/>
                </a:srgbClr>
              </a:gs>
              <a:gs pos="72000">
                <a:srgbClr val="4894FE">
                  <a:alpha val="91000"/>
                </a:srgbClr>
              </a:gs>
            </a:gsLst>
            <a:lin ang="15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a:xfrm>
            <a:off x="584200" y="2918223"/>
            <a:ext cx="4495800" cy="615553"/>
          </a:xfrm>
          <a:noFill/>
        </p:spPr>
        <p:txBody>
          <a:bodyPr wrap="square" lIns="0" tIns="0" rIns="0" bIns="0" anchor="b" anchorCtr="0">
            <a:spAutoFit/>
          </a:bodyPr>
          <a:lstStyle>
            <a:lvl1pPr>
              <a:defRPr sz="4000" spc="-50" baseline="0">
                <a:solidFill>
                  <a:schemeClr val="tx2"/>
                </a:solidFill>
                <a:latin typeface="+mj-lt"/>
                <a:cs typeface="Segoe Sans Display" pitchFamily="2" charset="0"/>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2"/>
                </a:solidFill>
                <a:latin typeface="+mn-lt"/>
                <a:cs typeface="Segoe Sans Display" pitchFamily="2" charset="0"/>
              </a:defRPr>
            </a:lvl1pPr>
          </a:lstStyle>
          <a:p>
            <a:pPr lvl="0"/>
            <a:r>
              <a:rPr lang="en-US"/>
              <a:t>Speaker name or subtitle text</a:t>
            </a:r>
          </a:p>
        </p:txBody>
      </p:sp>
      <p:sp>
        <p:nvSpPr>
          <p:cNvPr id="6" name="TextBox 5">
            <a:extLst>
              <a:ext uri="{FF2B5EF4-FFF2-40B4-BE49-F238E27FC236}">
                <a16:creationId xmlns:a16="http://schemas.microsoft.com/office/drawing/2014/main" id="{9AD5DAB8-D3DC-9D2E-ADA8-046EF3DF1964}"/>
              </a:ext>
            </a:extLst>
          </p:cNvPr>
          <p:cNvSpPr txBox="1"/>
          <p:nvPr userDrawn="1"/>
        </p:nvSpPr>
        <p:spPr>
          <a:xfrm>
            <a:off x="584200" y="486303"/>
            <a:ext cx="3273552" cy="307777"/>
          </a:xfrm>
          <a:prstGeom prst="rect">
            <a:avLst/>
          </a:prstGeom>
          <a:noFill/>
        </p:spPr>
        <p:txBody>
          <a:bodyPr wrap="square" lIns="0" tIns="0" rIns="0" bIns="0" rtlCol="0">
            <a:spAutoFit/>
          </a:bodyPr>
          <a:lstStyle/>
          <a:p>
            <a:pPr algn="l"/>
            <a:r>
              <a:rPr lang="en-US" sz="2000">
                <a:solidFill>
                  <a:schemeClr val="bg1"/>
                </a:solidFill>
              </a:rPr>
              <a:t>Agent 365</a:t>
            </a:r>
          </a:p>
        </p:txBody>
      </p:sp>
    </p:spTree>
    <p:extLst>
      <p:ext uri="{BB962C8B-B14F-4D97-AF65-F5344CB8AC3E}">
        <p14:creationId xmlns:p14="http://schemas.microsoft.com/office/powerpoint/2010/main" val="1005664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tx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2554596-C98F-B9B0-C809-6AE87209CEE7}"/>
              </a:ext>
            </a:extLst>
          </p:cNvPr>
          <p:cNvPicPr>
            <a:picLocks noChangeAspect="1"/>
          </p:cNvPicPr>
          <p:nvPr userDrawn="1"/>
        </p:nvPicPr>
        <p:blipFill>
          <a:blip r:embed="rId2"/>
          <a:srcRect t="13391" r="26885" b="13532"/>
          <a:stretch>
            <a:fillRect/>
          </a:stretch>
        </p:blipFill>
        <p:spPr>
          <a:xfrm>
            <a:off x="-1" y="0"/>
            <a:ext cx="12192001" cy="6858000"/>
          </a:xfrm>
          <a:prstGeom prst="rect">
            <a:avLst/>
          </a:prstGeom>
        </p:spPr>
      </p:pic>
      <p:sp>
        <p:nvSpPr>
          <p:cNvPr id="14" name="Rectangle: Rounded Corners 13">
            <a:extLst>
              <a:ext uri="{FF2B5EF4-FFF2-40B4-BE49-F238E27FC236}">
                <a16:creationId xmlns:a16="http://schemas.microsoft.com/office/drawing/2014/main" id="{427934E1-C028-93AC-2F50-0A8087092388}"/>
              </a:ext>
            </a:extLst>
          </p:cNvPr>
          <p:cNvSpPr/>
          <p:nvPr userDrawn="1"/>
        </p:nvSpPr>
        <p:spPr bwMode="auto">
          <a:xfrm>
            <a:off x="116114" y="103756"/>
            <a:ext cx="5573486" cy="6633633"/>
          </a:xfrm>
          <a:prstGeom prst="roundRect">
            <a:avLst>
              <a:gd name="adj" fmla="val 3255"/>
            </a:avLst>
          </a:prstGeom>
          <a:gradFill>
            <a:gsLst>
              <a:gs pos="0">
                <a:srgbClr val="FECBE6">
                  <a:alpha val="39000"/>
                </a:srgbClr>
              </a:gs>
              <a:gs pos="33000">
                <a:srgbClr val="BABAFF">
                  <a:alpha val="52000"/>
                </a:srgbClr>
              </a:gs>
              <a:gs pos="66000">
                <a:schemeClr val="accent6">
                  <a:lumMod val="25000"/>
                  <a:lumOff val="75000"/>
                  <a:alpha val="25000"/>
                </a:schemeClr>
              </a:gs>
              <a:gs pos="98165">
                <a:schemeClr val="bg1">
                  <a:alpha val="49000"/>
                </a:schemeClr>
              </a:gs>
            </a:gsLst>
            <a:lin ang="15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8" name="Text Placeholder 4">
            <a:extLst>
              <a:ext uri="{FF2B5EF4-FFF2-40B4-BE49-F238E27FC236}">
                <a16:creationId xmlns:a16="http://schemas.microsoft.com/office/drawing/2014/main" id="{34CD61E5-47B1-1B51-9A44-1BE7F7B05641}"/>
              </a:ext>
            </a:extLst>
          </p:cNvPr>
          <p:cNvSpPr>
            <a:spLocks noGrp="1"/>
          </p:cNvSpPr>
          <p:nvPr>
            <p:ph type="body" sz="quarter" idx="13" hasCustomPrompt="1"/>
          </p:nvPr>
        </p:nvSpPr>
        <p:spPr>
          <a:xfrm>
            <a:off x="446315" y="283028"/>
            <a:ext cx="4963885" cy="400110"/>
          </a:xfrm>
          <a:noFill/>
        </p:spPr>
        <p:txBody>
          <a:bodyPr wrap="square" lIns="0" tIns="0" rIns="0" bIns="0">
            <a:spAutoFit/>
          </a:bodyPr>
          <a:lstStyle>
            <a:lvl1pPr marL="0" indent="0">
              <a:spcBef>
                <a:spcPts val="0"/>
              </a:spcBef>
              <a:buNone/>
              <a:defRPr sz="2600" b="1" spc="0" baseline="0">
                <a:solidFill>
                  <a:schemeClr val="tx2"/>
                </a:solidFill>
                <a:latin typeface="+mn-lt"/>
                <a:cs typeface="Segoe Sans Display" pitchFamily="2" charset="0"/>
              </a:defRPr>
            </a:lvl1pPr>
          </a:lstStyle>
          <a:p>
            <a:pPr lvl="0"/>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Agenda</a:t>
            </a:r>
            <a:endParaRPr lang="en-US"/>
          </a:p>
        </p:txBody>
      </p:sp>
      <p:pic>
        <p:nvPicPr>
          <p:cNvPr id="10" name="Picture 9">
            <a:extLst>
              <a:ext uri="{FF2B5EF4-FFF2-40B4-BE49-F238E27FC236}">
                <a16:creationId xmlns:a16="http://schemas.microsoft.com/office/drawing/2014/main" id="{F2AF7DE4-0CDB-A926-8AE7-A4F149BB9A7B}"/>
              </a:ext>
            </a:extLst>
          </p:cNvPr>
          <p:cNvPicPr>
            <a:picLocks noChangeAspect="1"/>
          </p:cNvPicPr>
          <p:nvPr userDrawn="1"/>
        </p:nvPicPr>
        <p:blipFill>
          <a:blip r:embed="rId3"/>
          <a:stretch>
            <a:fillRect/>
          </a:stretch>
        </p:blipFill>
        <p:spPr>
          <a:xfrm>
            <a:off x="-2209800" y="1358955"/>
            <a:ext cx="609685" cy="1676634"/>
          </a:xfrm>
          <a:prstGeom prst="rect">
            <a:avLst/>
          </a:prstGeom>
        </p:spPr>
      </p:pic>
      <p:sp>
        <p:nvSpPr>
          <p:cNvPr id="11" name="Title 1">
            <a:extLst>
              <a:ext uri="{FF2B5EF4-FFF2-40B4-BE49-F238E27FC236}">
                <a16:creationId xmlns:a16="http://schemas.microsoft.com/office/drawing/2014/main" id="{CD66D021-5D82-84DF-DEB9-0288EB483318}"/>
              </a:ext>
            </a:extLst>
          </p:cNvPr>
          <p:cNvSpPr txBox="1">
            <a:spLocks/>
          </p:cNvSpPr>
          <p:nvPr userDrawn="1"/>
        </p:nvSpPr>
        <p:spPr>
          <a:xfrm>
            <a:off x="467180" y="979039"/>
            <a:ext cx="525235" cy="400110"/>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2600" b="0" kern="1200" cap="none" spc="-50" baseline="0">
                <a:ln w="3175">
                  <a:noFill/>
                </a:ln>
                <a:solidFill>
                  <a:schemeClr val="tx2"/>
                </a:solidFill>
                <a:effectLst/>
                <a:latin typeface="+mj-lt"/>
                <a:ea typeface="+mn-ea"/>
                <a:cs typeface="Segoe Sans Display" pitchFamily="2" charset="0"/>
              </a:defRPr>
            </a:lvl1pPr>
          </a:lstStyle>
          <a:p>
            <a:r>
              <a:rPr lang="en-US">
                <a:solidFill>
                  <a:schemeClr val="accent1"/>
                </a:solidFill>
              </a:rPr>
              <a:t>1</a:t>
            </a:r>
          </a:p>
        </p:txBody>
      </p:sp>
      <p:sp>
        <p:nvSpPr>
          <p:cNvPr id="13" name="Text Placeholder 4">
            <a:extLst>
              <a:ext uri="{FF2B5EF4-FFF2-40B4-BE49-F238E27FC236}">
                <a16:creationId xmlns:a16="http://schemas.microsoft.com/office/drawing/2014/main" id="{F3C575F9-105B-CB90-4F6A-DEFAC92B65F9}"/>
              </a:ext>
            </a:extLst>
          </p:cNvPr>
          <p:cNvSpPr>
            <a:spLocks noGrp="1"/>
          </p:cNvSpPr>
          <p:nvPr>
            <p:ph type="body" sz="quarter" idx="14" hasCustomPrompt="1"/>
          </p:nvPr>
        </p:nvSpPr>
        <p:spPr>
          <a:xfrm>
            <a:off x="846754" y="1055471"/>
            <a:ext cx="4087585" cy="276999"/>
          </a:xfrm>
          <a:noFill/>
        </p:spPr>
        <p:txBody>
          <a:bodyPr wrap="square" lIns="0" tIns="0" rIns="0" bIns="0">
            <a:spAutoFit/>
          </a:bodyPr>
          <a:lstStyle>
            <a:lvl1pPr marL="0" indent="0">
              <a:spcBef>
                <a:spcPts val="0"/>
              </a:spcBef>
              <a:buNone/>
              <a:defRPr sz="1800" spc="0" baseline="0">
                <a:solidFill>
                  <a:schemeClr val="accent1"/>
                </a:solidFill>
                <a:latin typeface="+mn-lt"/>
                <a:cs typeface="Segoe Sans Display" pitchFamily="2" charset="0"/>
              </a:defRPr>
            </a:lvl1pPr>
          </a:lstStyle>
          <a:p>
            <a:pPr lvl="0"/>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Title goes here</a:t>
            </a:r>
            <a:endParaRPr lang="en-US"/>
          </a:p>
        </p:txBody>
      </p:sp>
      <p:sp>
        <p:nvSpPr>
          <p:cNvPr id="15" name="Title 1">
            <a:extLst>
              <a:ext uri="{FF2B5EF4-FFF2-40B4-BE49-F238E27FC236}">
                <a16:creationId xmlns:a16="http://schemas.microsoft.com/office/drawing/2014/main" id="{4B441AAE-1A52-EE29-03A8-16C1AA4908B0}"/>
              </a:ext>
            </a:extLst>
          </p:cNvPr>
          <p:cNvSpPr txBox="1">
            <a:spLocks/>
          </p:cNvSpPr>
          <p:nvPr userDrawn="1"/>
        </p:nvSpPr>
        <p:spPr>
          <a:xfrm>
            <a:off x="446315" y="1669361"/>
            <a:ext cx="525235" cy="400110"/>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2600" b="0" kern="1200" cap="none" spc="-50" baseline="0">
                <a:ln w="3175">
                  <a:noFill/>
                </a:ln>
                <a:solidFill>
                  <a:schemeClr val="tx2"/>
                </a:solidFill>
                <a:effectLst/>
                <a:latin typeface="+mj-lt"/>
                <a:ea typeface="+mn-ea"/>
                <a:cs typeface="Segoe Sans Display" pitchFamily="2" charset="0"/>
              </a:defRPr>
            </a:lvl1pPr>
          </a:lstStyle>
          <a:p>
            <a:r>
              <a:rPr lang="en-US">
                <a:solidFill>
                  <a:schemeClr val="accent1"/>
                </a:solidFill>
              </a:rPr>
              <a:t>2</a:t>
            </a:r>
          </a:p>
        </p:txBody>
      </p:sp>
      <p:sp>
        <p:nvSpPr>
          <p:cNvPr id="16" name="Text Placeholder 4">
            <a:extLst>
              <a:ext uri="{FF2B5EF4-FFF2-40B4-BE49-F238E27FC236}">
                <a16:creationId xmlns:a16="http://schemas.microsoft.com/office/drawing/2014/main" id="{01181A93-2A06-FA65-3575-7D6F3C26601E}"/>
              </a:ext>
            </a:extLst>
          </p:cNvPr>
          <p:cNvSpPr>
            <a:spLocks noGrp="1"/>
          </p:cNvSpPr>
          <p:nvPr>
            <p:ph type="body" sz="quarter" idx="15" hasCustomPrompt="1"/>
          </p:nvPr>
        </p:nvSpPr>
        <p:spPr>
          <a:xfrm>
            <a:off x="825889" y="1745793"/>
            <a:ext cx="4087585" cy="276999"/>
          </a:xfrm>
          <a:noFill/>
        </p:spPr>
        <p:txBody>
          <a:bodyPr wrap="square" lIns="0" tIns="0" rIns="0" bIns="0">
            <a:spAutoFit/>
          </a:bodyPr>
          <a:lstStyle>
            <a:lvl1pPr marL="0" indent="0">
              <a:spcBef>
                <a:spcPts val="0"/>
              </a:spcBef>
              <a:buNone/>
              <a:defRPr sz="1800" spc="0" baseline="0">
                <a:solidFill>
                  <a:schemeClr val="accent1"/>
                </a:solidFill>
                <a:latin typeface="+mn-lt"/>
                <a:cs typeface="Segoe Sans Display" pitchFamily="2" charset="0"/>
              </a:defRPr>
            </a:lvl1pPr>
          </a:lstStyle>
          <a:p>
            <a:pPr lvl="0"/>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Title goes here</a:t>
            </a:r>
            <a:endParaRPr lang="en-US"/>
          </a:p>
        </p:txBody>
      </p:sp>
      <p:sp>
        <p:nvSpPr>
          <p:cNvPr id="17" name="Title 1">
            <a:extLst>
              <a:ext uri="{FF2B5EF4-FFF2-40B4-BE49-F238E27FC236}">
                <a16:creationId xmlns:a16="http://schemas.microsoft.com/office/drawing/2014/main" id="{852C7AED-8279-5187-C91C-07D7E0905B33}"/>
              </a:ext>
            </a:extLst>
          </p:cNvPr>
          <p:cNvSpPr txBox="1">
            <a:spLocks/>
          </p:cNvSpPr>
          <p:nvPr userDrawn="1"/>
        </p:nvSpPr>
        <p:spPr>
          <a:xfrm>
            <a:off x="446315" y="2365372"/>
            <a:ext cx="525235" cy="400110"/>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2600" b="0" kern="1200" cap="none" spc="-50" baseline="0">
                <a:ln w="3175">
                  <a:noFill/>
                </a:ln>
                <a:solidFill>
                  <a:schemeClr val="tx2"/>
                </a:solidFill>
                <a:effectLst/>
                <a:latin typeface="+mj-lt"/>
                <a:ea typeface="+mn-ea"/>
                <a:cs typeface="Segoe Sans Display" pitchFamily="2" charset="0"/>
              </a:defRPr>
            </a:lvl1pPr>
          </a:lstStyle>
          <a:p>
            <a:r>
              <a:rPr lang="en-US">
                <a:solidFill>
                  <a:schemeClr val="accent1"/>
                </a:solidFill>
              </a:rPr>
              <a:t>3</a:t>
            </a:r>
          </a:p>
        </p:txBody>
      </p:sp>
      <p:sp>
        <p:nvSpPr>
          <p:cNvPr id="18" name="Text Placeholder 4">
            <a:extLst>
              <a:ext uri="{FF2B5EF4-FFF2-40B4-BE49-F238E27FC236}">
                <a16:creationId xmlns:a16="http://schemas.microsoft.com/office/drawing/2014/main" id="{2F555836-E37E-06C4-D5AC-4C2C9D973796}"/>
              </a:ext>
            </a:extLst>
          </p:cNvPr>
          <p:cNvSpPr>
            <a:spLocks noGrp="1"/>
          </p:cNvSpPr>
          <p:nvPr>
            <p:ph type="body" sz="quarter" idx="16" hasCustomPrompt="1"/>
          </p:nvPr>
        </p:nvSpPr>
        <p:spPr>
          <a:xfrm>
            <a:off x="825889" y="2441804"/>
            <a:ext cx="4087585" cy="276999"/>
          </a:xfrm>
          <a:noFill/>
        </p:spPr>
        <p:txBody>
          <a:bodyPr wrap="square" lIns="0" tIns="0" rIns="0" bIns="0">
            <a:spAutoFit/>
          </a:bodyPr>
          <a:lstStyle>
            <a:lvl1pPr marL="0" indent="0">
              <a:spcBef>
                <a:spcPts val="0"/>
              </a:spcBef>
              <a:buNone/>
              <a:defRPr sz="1800" spc="0" baseline="0">
                <a:solidFill>
                  <a:schemeClr val="accent1"/>
                </a:solidFill>
                <a:latin typeface="+mn-lt"/>
                <a:cs typeface="Segoe Sans Display" pitchFamily="2" charset="0"/>
              </a:defRPr>
            </a:lvl1pPr>
          </a:lstStyle>
          <a:p>
            <a:pPr lvl="0"/>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Title goes here</a:t>
            </a:r>
            <a:endParaRPr lang="en-US"/>
          </a:p>
        </p:txBody>
      </p:sp>
    </p:spTree>
    <p:extLst>
      <p:ext uri="{BB962C8B-B14F-4D97-AF65-F5344CB8AC3E}">
        <p14:creationId xmlns:p14="http://schemas.microsoft.com/office/powerpoint/2010/main" val="448796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B26E97-1FD8-FD31-A900-8ED1803CD893}"/>
              </a:ext>
            </a:extLst>
          </p:cNvPr>
          <p:cNvPicPr>
            <a:picLocks noChangeAspect="1"/>
          </p:cNvPicPr>
          <p:nvPr userDrawn="1"/>
        </p:nvPicPr>
        <p:blipFill>
          <a:blip r:embed="rId2">
            <a:extLst>
              <a:ext uri="{28A0092B-C50C-407E-A947-70E740481C1C}">
                <a14:useLocalDpi xmlns:a14="http://schemas.microsoft.com/office/drawing/2010/main" val="0"/>
              </a:ext>
            </a:extLst>
          </a:blip>
          <a:srcRect l="25066" b="25765"/>
          <a:stretch>
            <a:fillRect/>
          </a:stretch>
        </p:blipFill>
        <p:spPr>
          <a:xfrm>
            <a:off x="-108564" y="0"/>
            <a:ext cx="12300564" cy="6858000"/>
          </a:xfrm>
          <a:prstGeom prst="rect">
            <a:avLst/>
          </a:prstGeom>
        </p:spPr>
      </p:pic>
      <p:sp>
        <p:nvSpPr>
          <p:cNvPr id="4" name="Text Placeholder 2">
            <a:extLst>
              <a:ext uri="{FF2B5EF4-FFF2-40B4-BE49-F238E27FC236}">
                <a16:creationId xmlns:a16="http://schemas.microsoft.com/office/drawing/2014/main" id="{7F3A6E81-AAE0-2EB0-0B2D-FE9FAE7C2859}"/>
              </a:ext>
            </a:extLst>
          </p:cNvPr>
          <p:cNvSpPr>
            <a:spLocks noGrp="1"/>
          </p:cNvSpPr>
          <p:nvPr>
            <p:ph type="body" sz="quarter" idx="10" hasCustomPrompt="1"/>
          </p:nvPr>
        </p:nvSpPr>
        <p:spPr>
          <a:xfrm>
            <a:off x="6682740" y="1816251"/>
            <a:ext cx="5687060" cy="430887"/>
          </a:xfrm>
        </p:spPr>
        <p:txBody>
          <a:bodyPr/>
          <a:lstStyle>
            <a:lvl1pPr>
              <a:buNone/>
              <a:defRPr/>
            </a:lvl1pPr>
          </a:lstStyle>
          <a:p>
            <a:r>
              <a:rPr lang="en-US">
                <a:solidFill>
                  <a:schemeClr val="accent4">
                    <a:lumMod val="75000"/>
                  </a:schemeClr>
                </a:solidFill>
              </a:rPr>
              <a:t>For teams of people and agents </a:t>
            </a:r>
          </a:p>
        </p:txBody>
      </p:sp>
      <p:sp>
        <p:nvSpPr>
          <p:cNvPr id="5" name="TextBox 4">
            <a:extLst>
              <a:ext uri="{FF2B5EF4-FFF2-40B4-BE49-F238E27FC236}">
                <a16:creationId xmlns:a16="http://schemas.microsoft.com/office/drawing/2014/main" id="{439F307B-C97D-A4F4-0C53-C13C38B478FC}"/>
              </a:ext>
            </a:extLst>
          </p:cNvPr>
          <p:cNvSpPr txBox="1"/>
          <p:nvPr userDrawn="1"/>
        </p:nvSpPr>
        <p:spPr>
          <a:xfrm>
            <a:off x="9559858" y="3406927"/>
            <a:ext cx="1950724" cy="561692"/>
          </a:xfrm>
          <a:prstGeom prst="rect">
            <a:avLst/>
          </a:prstGeom>
          <a:noFill/>
        </p:spPr>
        <p:txBody>
          <a:bodyPr wrap="square">
            <a:spAutoFit/>
          </a:bodyPr>
          <a:lstStyle>
            <a:defPPr>
              <a:defRPr lang="en-US"/>
            </a:defPPr>
            <a:lvl1pPr algn="ctr" defTabSz="904701" fontAlgn="base">
              <a:spcBef>
                <a:spcPts val="315"/>
              </a:spcBef>
              <a:spcAft>
                <a:spcPct val="0"/>
              </a:spcAft>
              <a:tabLst>
                <a:tab pos="1486807" algn="l"/>
              </a:tabLst>
              <a:defRPr sz="3200" b="1">
                <a:ln w="3175">
                  <a:noFill/>
                </a:ln>
                <a:gradFill flip="none" rotWithShape="1">
                  <a:gsLst>
                    <a:gs pos="20183">
                      <a:srgbClr val="FFFFFF"/>
                    </a:gs>
                    <a:gs pos="42000">
                      <a:srgbClr val="FFFFFF"/>
                    </a:gs>
                  </a:gsLst>
                  <a:lin ang="2700000" scaled="0"/>
                  <a:tileRect/>
                </a:gradFill>
                <a:latin typeface="Segoe UI Variable Display Semibold" pitchFamily="2" charset="0"/>
                <a:cs typeface="Segoe Sans Display Semibold" pitchFamily="2" charset="0"/>
              </a:defRPr>
            </a:lvl1pPr>
          </a:lstStyle>
          <a:p>
            <a:pPr marL="0" marR="0" lvl="0" indent="0" algn="ctr" defTabSz="904701" rtl="0" eaLnBrk="1" fontAlgn="base" latinLnBrk="0" hangingPunct="1">
              <a:lnSpc>
                <a:spcPct val="100000"/>
              </a:lnSpc>
              <a:spcBef>
                <a:spcPts val="315"/>
              </a:spcBef>
              <a:spcAft>
                <a:spcPct val="0"/>
              </a:spcAft>
              <a:buClrTx/>
              <a:buSzTx/>
              <a:buFontTx/>
              <a:buNone/>
              <a:tabLst>
                <a:tab pos="1486807" algn="l"/>
              </a:tabLst>
              <a:defRPr/>
            </a:pPr>
            <a:r>
              <a:rPr kumimoji="0" lang="en-US" sz="1400" b="1" i="0" u="none" strike="noStrike" kern="0" cap="none" spc="0" normalizeH="0" baseline="0" noProof="0">
                <a:ln w="3175">
                  <a:noFill/>
                </a:ln>
                <a:solidFill>
                  <a:schemeClr val="accent4">
                    <a:lumMod val="75000"/>
                  </a:schemeClr>
                </a:solidFill>
                <a:effectLst/>
                <a:uLnTx/>
                <a:uFillTx/>
                <a:latin typeface="Segoe Sans Display Semibold" pitchFamily="2" charset="0"/>
                <a:ea typeface="+mn-ea"/>
                <a:cs typeface="Segoe Sans Display Semibold" pitchFamily="2" charset="0"/>
              </a:rPr>
              <a:t>Microsoft </a:t>
            </a:r>
          </a:p>
          <a:p>
            <a:pPr marL="0" marR="0" lvl="0" indent="0" algn="ctr" defTabSz="904701" rtl="0" eaLnBrk="1" fontAlgn="base" latinLnBrk="0" hangingPunct="1">
              <a:lnSpc>
                <a:spcPct val="100000"/>
              </a:lnSpc>
              <a:spcBef>
                <a:spcPts val="315"/>
              </a:spcBef>
              <a:spcAft>
                <a:spcPct val="0"/>
              </a:spcAft>
              <a:buClrTx/>
              <a:buSzTx/>
              <a:buFontTx/>
              <a:buNone/>
              <a:tabLst>
                <a:tab pos="1486807" algn="l"/>
              </a:tabLst>
              <a:defRPr/>
            </a:pPr>
            <a:r>
              <a:rPr kumimoji="0" lang="en-US" sz="1400" b="1" i="0" u="none" strike="noStrike" kern="0" cap="none" spc="0" normalizeH="0" baseline="0" noProof="0">
                <a:ln w="3175">
                  <a:noFill/>
                </a:ln>
                <a:solidFill>
                  <a:schemeClr val="accent4">
                    <a:lumMod val="75000"/>
                  </a:schemeClr>
                </a:solidFill>
                <a:effectLst/>
                <a:uLnTx/>
                <a:uFillTx/>
                <a:latin typeface="Segoe Sans Display Semibold" pitchFamily="2" charset="0"/>
                <a:ea typeface="+mn-ea"/>
                <a:cs typeface="Segoe Sans Display Semibold" pitchFamily="2" charset="0"/>
              </a:rPr>
              <a:t>Defender</a:t>
            </a:r>
          </a:p>
        </p:txBody>
      </p:sp>
      <p:sp>
        <p:nvSpPr>
          <p:cNvPr id="6" name="TextBox 5">
            <a:extLst>
              <a:ext uri="{FF2B5EF4-FFF2-40B4-BE49-F238E27FC236}">
                <a16:creationId xmlns:a16="http://schemas.microsoft.com/office/drawing/2014/main" id="{153C8F78-F3F3-7E43-2F61-D0AAC2DE9753}"/>
              </a:ext>
            </a:extLst>
          </p:cNvPr>
          <p:cNvSpPr txBox="1"/>
          <p:nvPr userDrawn="1"/>
        </p:nvSpPr>
        <p:spPr>
          <a:xfrm>
            <a:off x="7895459" y="3406927"/>
            <a:ext cx="1950725" cy="523220"/>
          </a:xfrm>
          <a:prstGeom prst="rect">
            <a:avLst/>
          </a:prstGeom>
          <a:noFill/>
        </p:spPr>
        <p:txBody>
          <a:bodyPr wrap="square">
            <a:spAutoFit/>
          </a:bodyPr>
          <a:lstStyle/>
          <a:p>
            <a:pPr marL="0" marR="0" lvl="0" indent="0" algn="ctr" defTabSz="904701" rtl="0" eaLnBrk="1" fontAlgn="base" latinLnBrk="0" hangingPunct="1">
              <a:lnSpc>
                <a:spcPct val="100000"/>
              </a:lnSpc>
              <a:spcBef>
                <a:spcPts val="315"/>
              </a:spcBef>
              <a:spcAft>
                <a:spcPct val="0"/>
              </a:spcAft>
              <a:buClrTx/>
              <a:buSzTx/>
              <a:buFontTx/>
              <a:buNone/>
              <a:tabLst>
                <a:tab pos="1486807" algn="l"/>
              </a:tabLst>
              <a:defRPr/>
            </a:pPr>
            <a:r>
              <a:rPr kumimoji="0" lang="en-US" sz="1400" b="1" i="0" u="none" strike="noStrike" kern="1200" cap="none" spc="0" normalizeH="0" baseline="0" noProof="0">
                <a:ln w="3175">
                  <a:noFill/>
                </a:ln>
                <a:solidFill>
                  <a:schemeClr val="accent4">
                    <a:lumMod val="75000"/>
                  </a:schemeClr>
                </a:solidFill>
                <a:effectLst/>
                <a:uLnTx/>
                <a:uFillTx/>
                <a:latin typeface="Segoe Sans Display Semibold" pitchFamily="2" charset="0"/>
                <a:ea typeface="+mn-ea"/>
                <a:cs typeface="Segoe Sans Display Semibold" pitchFamily="2" charset="0"/>
              </a:rPr>
              <a:t>Microsoft </a:t>
            </a:r>
            <a:br>
              <a:rPr kumimoji="0" lang="en-US" sz="1400" b="1" i="0" u="none" strike="noStrike" kern="1200" cap="none" spc="0" normalizeH="0" baseline="0" noProof="0">
                <a:ln w="3175">
                  <a:noFill/>
                </a:ln>
                <a:solidFill>
                  <a:schemeClr val="accent4">
                    <a:lumMod val="75000"/>
                  </a:schemeClr>
                </a:solidFill>
                <a:effectLst/>
                <a:uLnTx/>
                <a:uFillTx/>
                <a:latin typeface="Segoe Sans Display Semibold" pitchFamily="2" charset="0"/>
                <a:ea typeface="+mn-ea"/>
                <a:cs typeface="Segoe Sans Display Semibold" pitchFamily="2" charset="0"/>
              </a:rPr>
            </a:br>
            <a:r>
              <a:rPr kumimoji="0" lang="en-US" sz="1400" b="1" i="0" u="none" strike="noStrike" kern="1200" cap="none" spc="0" normalizeH="0" baseline="0" noProof="0">
                <a:ln w="3175">
                  <a:noFill/>
                </a:ln>
                <a:solidFill>
                  <a:schemeClr val="accent4">
                    <a:lumMod val="75000"/>
                  </a:schemeClr>
                </a:solidFill>
                <a:effectLst/>
                <a:uLnTx/>
                <a:uFillTx/>
                <a:latin typeface="Segoe Sans Display Semibold" pitchFamily="2" charset="0"/>
                <a:ea typeface="+mn-ea"/>
                <a:cs typeface="Segoe Sans Display Semibold" pitchFamily="2" charset="0"/>
              </a:rPr>
              <a:t>Entra</a:t>
            </a:r>
          </a:p>
        </p:txBody>
      </p:sp>
      <p:pic>
        <p:nvPicPr>
          <p:cNvPr id="7" name="Graphic 6">
            <a:extLst>
              <a:ext uri="{FF2B5EF4-FFF2-40B4-BE49-F238E27FC236}">
                <a16:creationId xmlns:a16="http://schemas.microsoft.com/office/drawing/2014/main" id="{29A0C5ED-0721-3795-40EA-98614D55EE2C}"/>
              </a:ext>
              <a:ext uri="{C183D7F6-B498-43B3-948B-1728B52AA6E4}">
                <adec:decorative xmlns:adec="http://schemas.microsoft.com/office/drawing/2017/decorative" val="1"/>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10190913" y="2571105"/>
            <a:ext cx="688614" cy="688614"/>
          </a:xfrm>
          <a:prstGeom prst="rect">
            <a:avLst/>
          </a:prstGeom>
        </p:spPr>
      </p:pic>
      <p:sp>
        <p:nvSpPr>
          <p:cNvPr id="8" name="TextBox 7">
            <a:extLst>
              <a:ext uri="{FF2B5EF4-FFF2-40B4-BE49-F238E27FC236}">
                <a16:creationId xmlns:a16="http://schemas.microsoft.com/office/drawing/2014/main" id="{C78E4AC3-B509-0156-CA8A-FE1E1E4FFBEE}"/>
              </a:ext>
            </a:extLst>
          </p:cNvPr>
          <p:cNvSpPr txBox="1"/>
          <p:nvPr userDrawn="1"/>
        </p:nvSpPr>
        <p:spPr>
          <a:xfrm>
            <a:off x="6318580" y="3406927"/>
            <a:ext cx="1695541" cy="561692"/>
          </a:xfrm>
          <a:prstGeom prst="rect">
            <a:avLst/>
          </a:prstGeom>
          <a:noFill/>
        </p:spPr>
        <p:txBody>
          <a:bodyPr wrap="square">
            <a:spAutoFit/>
          </a:bodyPr>
          <a:lstStyle/>
          <a:p>
            <a:pPr marL="0" marR="0" lvl="0" indent="0" algn="ctr" defTabSz="904701" rtl="0" eaLnBrk="1" fontAlgn="base" latinLnBrk="0" hangingPunct="1">
              <a:lnSpc>
                <a:spcPct val="100000"/>
              </a:lnSpc>
              <a:spcBef>
                <a:spcPts val="315"/>
              </a:spcBef>
              <a:spcAft>
                <a:spcPct val="0"/>
              </a:spcAft>
              <a:buClrTx/>
              <a:buSzTx/>
              <a:buFontTx/>
              <a:buNone/>
              <a:tabLst>
                <a:tab pos="1486807" algn="l"/>
              </a:tabLst>
              <a:defRPr/>
            </a:pPr>
            <a:r>
              <a:rPr kumimoji="0" lang="en-US" sz="1400" b="1" i="0" u="none" strike="noStrike" kern="1200" cap="none" spc="0" normalizeH="0" baseline="0" noProof="0">
                <a:ln w="3175">
                  <a:noFill/>
                </a:ln>
                <a:solidFill>
                  <a:schemeClr val="accent4">
                    <a:lumMod val="75000"/>
                  </a:schemeClr>
                </a:solidFill>
                <a:effectLst/>
                <a:uLnTx/>
                <a:uFillTx/>
                <a:latin typeface="Segoe Sans Display Semibold" pitchFamily="2" charset="0"/>
                <a:ea typeface="+mn-ea"/>
                <a:cs typeface="Segoe Sans Display Semibold" pitchFamily="2" charset="0"/>
              </a:rPr>
              <a:t>Microsoft </a:t>
            </a:r>
          </a:p>
          <a:p>
            <a:pPr marL="0" marR="0" lvl="0" indent="0" algn="ctr" defTabSz="904701" rtl="0" eaLnBrk="1" fontAlgn="base" latinLnBrk="0" hangingPunct="1">
              <a:lnSpc>
                <a:spcPct val="100000"/>
              </a:lnSpc>
              <a:spcBef>
                <a:spcPts val="315"/>
              </a:spcBef>
              <a:spcAft>
                <a:spcPct val="0"/>
              </a:spcAft>
              <a:buClrTx/>
              <a:buSzTx/>
              <a:buFontTx/>
              <a:buNone/>
              <a:tabLst>
                <a:tab pos="1486807" algn="l"/>
              </a:tabLst>
              <a:defRPr/>
            </a:pPr>
            <a:r>
              <a:rPr kumimoji="0" lang="en-US" sz="1400" b="1" i="0" u="none" strike="noStrike" kern="1200" cap="none" spc="0" normalizeH="0" baseline="0" noProof="0">
                <a:ln w="3175">
                  <a:noFill/>
                </a:ln>
                <a:solidFill>
                  <a:schemeClr val="accent4">
                    <a:lumMod val="75000"/>
                  </a:schemeClr>
                </a:solidFill>
                <a:effectLst/>
                <a:uLnTx/>
                <a:uFillTx/>
                <a:latin typeface="Segoe Sans Display Semibold" pitchFamily="2" charset="0"/>
                <a:ea typeface="+mn-ea"/>
                <a:cs typeface="Segoe Sans Display Semibold" pitchFamily="2" charset="0"/>
              </a:rPr>
              <a:t>Purview</a:t>
            </a:r>
          </a:p>
        </p:txBody>
      </p:sp>
      <p:pic>
        <p:nvPicPr>
          <p:cNvPr id="9" name="Picture 4">
            <a:extLst>
              <a:ext uri="{FF2B5EF4-FFF2-40B4-BE49-F238E27FC236}">
                <a16:creationId xmlns:a16="http://schemas.microsoft.com/office/drawing/2014/main" id="{CA220944-E71D-5810-A060-F0AD6627461C}"/>
              </a:ext>
              <a:ext uri="{C183D7F6-B498-43B3-948B-1728B52AA6E4}">
                <adec:decorative xmlns:adec="http://schemas.microsoft.com/office/drawing/2017/decorative" val="1"/>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805044" y="2527621"/>
            <a:ext cx="722614" cy="71174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EC416699-894F-AF9A-CAFF-DEA3F151213A}"/>
              </a:ext>
              <a:ext uri="{C183D7F6-B498-43B3-948B-1728B52AA6E4}">
                <adec:decorative xmlns:adec="http://schemas.microsoft.com/office/drawing/2017/decorative" val="1"/>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328151" y="2366220"/>
            <a:ext cx="1085343" cy="108534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E842E91-CDB3-55F2-D61A-3A19A6C0CBC3}"/>
              </a:ext>
            </a:extLst>
          </p:cNvPr>
          <p:cNvSpPr txBox="1"/>
          <p:nvPr userDrawn="1"/>
        </p:nvSpPr>
        <p:spPr>
          <a:xfrm>
            <a:off x="4596617" y="262429"/>
            <a:ext cx="6253367" cy="615553"/>
          </a:xfrm>
          <a:prstGeom prst="rect">
            <a:avLst/>
          </a:prstGeom>
          <a:noFill/>
        </p:spPr>
        <p:txBody>
          <a:bodyPr wrap="square">
            <a:spAutoFit/>
          </a:bodyPr>
          <a:lstStyle/>
          <a:p>
            <a:pPr lvl="0">
              <a:defRPr/>
            </a:pPr>
            <a:r>
              <a:rPr lang="en-US" sz="3400">
                <a:gradFill>
                  <a:gsLst>
                    <a:gs pos="0">
                      <a:schemeClr val="accent6">
                        <a:lumMod val="40000"/>
                        <a:lumOff val="60000"/>
                      </a:schemeClr>
                    </a:gs>
                    <a:gs pos="89908">
                      <a:schemeClr val="accent3">
                        <a:lumMod val="40000"/>
                        <a:lumOff val="60000"/>
                      </a:schemeClr>
                    </a:gs>
                    <a:gs pos="49000">
                      <a:schemeClr val="accent5"/>
                    </a:gs>
                  </a:gsLst>
                  <a:lin ang="13800000" scaled="0"/>
                </a:gradFill>
                <a:latin typeface="Segoe UI Semibold" panose="020B0702040204020203" pitchFamily="34" charset="0"/>
                <a:cs typeface="Segoe UI Semibold" panose="020B0702040204020203" pitchFamily="34" charset="0"/>
              </a:rPr>
              <a:t>Security and compliance</a:t>
            </a:r>
            <a:endParaRPr kumimoji="0" lang="en-US" sz="3400" i="0" u="none" strike="noStrike" kern="1200" cap="none" spc="0" normalizeH="0" baseline="0" noProof="0">
              <a:ln>
                <a:noFill/>
              </a:ln>
              <a:gradFill flip="none" rotWithShape="1">
                <a:gsLst>
                  <a:gs pos="100000">
                    <a:srgbClr val="99F1B0"/>
                  </a:gs>
                  <a:gs pos="0">
                    <a:srgbClr val="0070C0"/>
                  </a:gs>
                </a:gsLst>
                <a:path path="circle">
                  <a:fillToRect l="100000" t="100000"/>
                </a:path>
                <a:tileRect r="-100000" b="-100000"/>
              </a:gradFill>
              <a:effectLst/>
              <a:uLnTx/>
              <a:uFillTx/>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7736324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gradFill>
          <a:gsLst>
            <a:gs pos="97248">
              <a:schemeClr val="bg2">
                <a:lumMod val="75000"/>
              </a:schemeClr>
            </a:gs>
            <a:gs pos="71000">
              <a:schemeClr val="accent1">
                <a:lumMod val="89000"/>
              </a:schemeClr>
            </a:gs>
            <a:gs pos="16000">
              <a:srgbClr val="001642"/>
            </a:gs>
          </a:gsLst>
          <a:lin ang="1800000" scaled="0"/>
        </a:gra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hasCustomPrompt="1"/>
          </p:nvPr>
        </p:nvSpPr>
        <p:spPr/>
        <p:txBody>
          <a:bodyPr/>
          <a:lstStyle>
            <a:lvl1pPr>
              <a:defRPr>
                <a:solidFill>
                  <a:schemeClr val="bg1"/>
                </a:solidFill>
              </a:defRPr>
            </a:lvl1pPr>
          </a:lstStyle>
          <a:p>
            <a:r>
              <a:rPr lang="en-US">
                <a:gradFill>
                  <a:gsLst>
                    <a:gs pos="0">
                      <a:schemeClr val="accent6">
                        <a:lumMod val="40000"/>
                        <a:lumOff val="60000"/>
                      </a:schemeClr>
                    </a:gs>
                    <a:gs pos="89908">
                      <a:schemeClr val="accent3">
                        <a:lumMod val="40000"/>
                        <a:lumOff val="60000"/>
                      </a:schemeClr>
                    </a:gs>
                    <a:gs pos="49000">
                      <a:schemeClr val="accent5"/>
                    </a:gs>
                  </a:gsLst>
                  <a:lin ang="13800000" scaled="0"/>
                </a:gradFill>
              </a:rPr>
              <a:t>Title goes here</a:t>
            </a:r>
            <a:endParaRPr lang="en-US"/>
          </a:p>
        </p:txBody>
      </p:sp>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solidFill>
                  <a:schemeClr val="bg1"/>
                </a:solidFill>
              </a:defRPr>
            </a:lvl1pPr>
            <a:lvl2pPr marL="228600" indent="0">
              <a:buNone/>
              <a:defRPr>
                <a:solidFill>
                  <a:schemeClr val="bg1"/>
                </a:solidFill>
              </a:defRPr>
            </a:lvl2pPr>
            <a:lvl3pPr marL="457200" indent="0">
              <a:buNone/>
              <a:defRPr>
                <a:solidFill>
                  <a:schemeClr val="bg1"/>
                </a:solidFill>
              </a:defRPr>
            </a:lvl3pPr>
            <a:lvl4pPr marL="685800" indent="0">
              <a:buNone/>
              <a:defRPr>
                <a:solidFill>
                  <a:schemeClr val="bg1"/>
                </a:solidFill>
              </a:defRPr>
            </a:lvl4pPr>
            <a:lvl5pPr marL="914400"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3253030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and Content">
    <p:bg>
      <p:bgPr>
        <a:gradFill>
          <a:gsLst>
            <a:gs pos="0">
              <a:schemeClr val="accent6">
                <a:lumMod val="20000"/>
                <a:lumOff val="80000"/>
              </a:schemeClr>
            </a:gs>
            <a:gs pos="21000">
              <a:srgbClr val="FEE6F3"/>
            </a:gs>
            <a:gs pos="38000">
              <a:srgbClr val="D1D1FF"/>
            </a:gs>
            <a:gs pos="100000">
              <a:schemeClr val="bg1"/>
            </a:gs>
          </a:gsLst>
          <a:lin ang="14040000" scaled="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hasCustomPrompt="1"/>
          </p:nvPr>
        </p:nvSpPr>
        <p:spPr/>
        <p:txBody>
          <a:bodyPr/>
          <a:lstStyle>
            <a:lvl1pPr>
              <a:defRPr>
                <a:solidFill>
                  <a:schemeClr val="bg1"/>
                </a:solidFill>
              </a:defRPr>
            </a:lvl1pPr>
          </a:lstStyle>
          <a:p>
            <a:pPr lvl="0"/>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Agenda</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chemeClr val="bg1"/>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27205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0">
              <a:schemeClr val="accent6">
                <a:lumMod val="20000"/>
                <a:lumOff val="80000"/>
              </a:schemeClr>
            </a:gs>
            <a:gs pos="21000">
              <a:srgbClr val="FEE6F3"/>
            </a:gs>
            <a:gs pos="38000">
              <a:srgbClr val="D1D1FF"/>
            </a:gs>
            <a:gs pos="100000">
              <a:schemeClr val="bg1"/>
            </a:gs>
          </a:gsLst>
          <a:lin ang="14040000" scaled="0"/>
        </a:gradFill>
        <a:effectLst/>
      </p:bgPr>
    </p:bg>
    <p:spTree>
      <p:nvGrpSpPr>
        <p:cNvPr id="1" name=""/>
        <p:cNvGrpSpPr/>
        <p:nvPr/>
      </p:nvGrpSpPr>
      <p:grpSpPr>
        <a:xfrm>
          <a:off x="0" y="0"/>
          <a:ext cx="0" cy="0"/>
          <a:chOff x="0" y="0"/>
          <a:chExt cx="0" cy="0"/>
        </a:xfrm>
      </p:grpSpPr>
      <p:pic>
        <p:nvPicPr>
          <p:cNvPr id="10" name="Picture 9" descr="A colorful objects on a surface&#10;&#10;AI-generated content may be incorrect.">
            <a:extLst>
              <a:ext uri="{FF2B5EF4-FFF2-40B4-BE49-F238E27FC236}">
                <a16:creationId xmlns:a16="http://schemas.microsoft.com/office/drawing/2014/main" id="{69D5EA27-B3D4-EC6A-EB56-CC48CDC71131}"/>
              </a:ext>
            </a:extLst>
          </p:cNvPr>
          <p:cNvPicPr>
            <a:picLocks noChangeAspect="1"/>
          </p:cNvPicPr>
          <p:nvPr userDrawn="1"/>
        </p:nvPicPr>
        <p:blipFill>
          <a:blip r:embed="rId2">
            <a:alphaModFix amt="14000"/>
          </a:blip>
          <a:stretch>
            <a:fillRect/>
          </a:stretch>
        </p:blipFill>
        <p:spPr>
          <a:xfrm>
            <a:off x="0" y="-3600"/>
            <a:ext cx="12192000" cy="6861544"/>
          </a:xfrm>
          <a:prstGeom prst="rect">
            <a:avLst/>
          </a:prstGeom>
        </p:spPr>
      </p:pic>
      <p:sp>
        <p:nvSpPr>
          <p:cNvPr id="11" name="Rectangle 10">
            <a:extLst>
              <a:ext uri="{FF2B5EF4-FFF2-40B4-BE49-F238E27FC236}">
                <a16:creationId xmlns:a16="http://schemas.microsoft.com/office/drawing/2014/main" id="{09D1AF4E-0BE2-A6E3-7090-4EAA3B19F5CC}"/>
              </a:ext>
            </a:extLst>
          </p:cNvPr>
          <p:cNvSpPr/>
          <p:nvPr userDrawn="1"/>
        </p:nvSpPr>
        <p:spPr bwMode="auto">
          <a:xfrm>
            <a:off x="-3600" y="-3600"/>
            <a:ext cx="12192000" cy="6861544"/>
          </a:xfrm>
          <a:prstGeom prst="rect">
            <a:avLst/>
          </a:prstGeom>
          <a:gradFill>
            <a:gsLst>
              <a:gs pos="0">
                <a:srgbClr val="FECBE6">
                  <a:alpha val="39000"/>
                </a:srgbClr>
              </a:gs>
              <a:gs pos="33000">
                <a:srgbClr val="BABAFF">
                  <a:alpha val="52000"/>
                </a:srgbClr>
              </a:gs>
              <a:gs pos="66000">
                <a:schemeClr val="accent6">
                  <a:lumMod val="25000"/>
                  <a:lumOff val="75000"/>
                  <a:alpha val="67000"/>
                </a:schemeClr>
              </a:gs>
              <a:gs pos="98165">
                <a:schemeClr val="bg1">
                  <a:alpha val="49000"/>
                </a:schemeClr>
              </a:gs>
            </a:gsLst>
            <a:lin ang="15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12" name="TextBox 11">
            <a:extLst>
              <a:ext uri="{FF2B5EF4-FFF2-40B4-BE49-F238E27FC236}">
                <a16:creationId xmlns:a16="http://schemas.microsoft.com/office/drawing/2014/main" id="{38F520CC-94B5-C1F7-F3F0-AA279994F64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chemeClr val="bg1"/>
                </a:solidFill>
              </a:rPr>
              <a:t>ELT layout</a:t>
            </a:r>
          </a:p>
        </p:txBody>
      </p:sp>
      <p:sp>
        <p:nvSpPr>
          <p:cNvPr id="3" name="Title 1">
            <a:extLst>
              <a:ext uri="{FF2B5EF4-FFF2-40B4-BE49-F238E27FC236}">
                <a16:creationId xmlns:a16="http://schemas.microsoft.com/office/drawing/2014/main" id="{CBAADCDE-83AF-AD7A-C23E-625F457EA2CB}"/>
              </a:ext>
            </a:extLst>
          </p:cNvPr>
          <p:cNvSpPr>
            <a:spLocks noGrp="1"/>
          </p:cNvSpPr>
          <p:nvPr userDrawn="1">
            <p:ph type="title" hasCustomPrompt="1"/>
          </p:nvPr>
        </p:nvSpPr>
        <p:spPr>
          <a:xfrm>
            <a:off x="588263" y="457200"/>
            <a:ext cx="11018520" cy="553998"/>
          </a:xfrm>
        </p:spPr>
        <p:txBody>
          <a:bodyPr/>
          <a:lstStyle>
            <a:lvl1pPr algn="l" defTabSz="932742" rtl="0" eaLnBrk="1" latinLnBrk="0" hangingPunct="1">
              <a:lnSpc>
                <a:spcPct val="100000"/>
              </a:lnSpc>
              <a:spcBef>
                <a:spcPct val="0"/>
              </a:spcBef>
              <a:buNone/>
              <a:defRPr lang="en-US" sz="3600" b="0" kern="1200" cap="none" spc="-50" baseline="0" dirty="0">
                <a:ln w="3175">
                  <a:noFill/>
                </a:ln>
                <a:gradFill flip="none" rotWithShape="1">
                  <a:gsLst>
                    <a:gs pos="8000">
                      <a:schemeClr val="accent5">
                        <a:lumMod val="90000"/>
                      </a:schemeClr>
                    </a:gs>
                    <a:gs pos="24000">
                      <a:schemeClr val="accent4">
                        <a:lumMod val="90000"/>
                      </a:schemeClr>
                    </a:gs>
                    <a:gs pos="77000">
                      <a:schemeClr val="accent1"/>
                    </a:gs>
                    <a:gs pos="46000">
                      <a:schemeClr val="accent3"/>
                    </a:gs>
                    <a:gs pos="100000">
                      <a:schemeClr val="tx2"/>
                    </a:gs>
                  </a:gsLst>
                  <a:lin ang="2700000" scaled="1"/>
                  <a:tileRect/>
                </a:gradFill>
                <a:effectLst/>
                <a:latin typeface="+mj-lt"/>
                <a:ea typeface="+mn-ea"/>
                <a:cs typeface="Segoe Sans Display" pitchFamily="2" charset="0"/>
              </a:defRPr>
            </a:lvl1pPr>
          </a:lstStyle>
          <a:p>
            <a:pPr lvl="0"/>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Title</a:t>
            </a:r>
            <a:endParaRPr lang="en-US"/>
          </a:p>
        </p:txBody>
      </p:sp>
    </p:spTree>
    <p:extLst>
      <p:ext uri="{BB962C8B-B14F-4D97-AF65-F5344CB8AC3E}">
        <p14:creationId xmlns:p14="http://schemas.microsoft.com/office/powerpoint/2010/main" val="36534899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_Title only">
    <p:bg>
      <p:bgPr>
        <a:gradFill>
          <a:gsLst>
            <a:gs pos="0">
              <a:schemeClr val="accent6">
                <a:lumMod val="20000"/>
                <a:lumOff val="80000"/>
              </a:schemeClr>
            </a:gs>
            <a:gs pos="21000">
              <a:srgbClr val="FEE6F3"/>
            </a:gs>
            <a:gs pos="38000">
              <a:srgbClr val="D1D1FF"/>
            </a:gs>
            <a:gs pos="100000">
              <a:schemeClr val="bg1"/>
            </a:gs>
          </a:gsLst>
          <a:lin ang="14040000" scaled="0"/>
        </a:gradFill>
        <a:effectLst/>
      </p:bgPr>
    </p:bg>
    <p:spTree>
      <p:nvGrpSpPr>
        <p:cNvPr id="1" name=""/>
        <p:cNvGrpSpPr/>
        <p:nvPr/>
      </p:nvGrpSpPr>
      <p:grpSpPr>
        <a:xfrm>
          <a:off x="0" y="0"/>
          <a:ext cx="0" cy="0"/>
          <a:chOff x="0" y="0"/>
          <a:chExt cx="0" cy="0"/>
        </a:xfrm>
      </p:grpSpPr>
      <p:pic>
        <p:nvPicPr>
          <p:cNvPr id="10" name="Picture 9" descr="A colorful objects on a surface&#10;&#10;AI-generated content may be incorrect.">
            <a:extLst>
              <a:ext uri="{FF2B5EF4-FFF2-40B4-BE49-F238E27FC236}">
                <a16:creationId xmlns:a16="http://schemas.microsoft.com/office/drawing/2014/main" id="{69D5EA27-B3D4-EC6A-EB56-CC48CDC71131}"/>
              </a:ext>
            </a:extLst>
          </p:cNvPr>
          <p:cNvPicPr>
            <a:picLocks noChangeAspect="1"/>
          </p:cNvPicPr>
          <p:nvPr userDrawn="1"/>
        </p:nvPicPr>
        <p:blipFill>
          <a:blip r:embed="rId2">
            <a:alphaModFix amt="14000"/>
          </a:blip>
          <a:stretch>
            <a:fillRect/>
          </a:stretch>
        </p:blipFill>
        <p:spPr>
          <a:xfrm>
            <a:off x="0" y="-3600"/>
            <a:ext cx="12192000" cy="6861544"/>
          </a:xfrm>
          <a:prstGeom prst="rect">
            <a:avLst/>
          </a:prstGeom>
        </p:spPr>
      </p:pic>
      <p:sp>
        <p:nvSpPr>
          <p:cNvPr id="11" name="Rectangle 10">
            <a:extLst>
              <a:ext uri="{FF2B5EF4-FFF2-40B4-BE49-F238E27FC236}">
                <a16:creationId xmlns:a16="http://schemas.microsoft.com/office/drawing/2014/main" id="{09D1AF4E-0BE2-A6E3-7090-4EAA3B19F5CC}"/>
              </a:ext>
            </a:extLst>
          </p:cNvPr>
          <p:cNvSpPr/>
          <p:nvPr userDrawn="1"/>
        </p:nvSpPr>
        <p:spPr bwMode="auto">
          <a:xfrm>
            <a:off x="-3600" y="-3600"/>
            <a:ext cx="12192000" cy="6861544"/>
          </a:xfrm>
          <a:prstGeom prst="rect">
            <a:avLst/>
          </a:prstGeom>
          <a:gradFill>
            <a:gsLst>
              <a:gs pos="0">
                <a:srgbClr val="FECBE6">
                  <a:alpha val="39000"/>
                </a:srgbClr>
              </a:gs>
              <a:gs pos="33000">
                <a:srgbClr val="BABAFF">
                  <a:alpha val="52000"/>
                </a:srgbClr>
              </a:gs>
              <a:gs pos="66000">
                <a:schemeClr val="accent6">
                  <a:lumMod val="25000"/>
                  <a:lumOff val="75000"/>
                  <a:alpha val="67000"/>
                </a:schemeClr>
              </a:gs>
              <a:gs pos="98165">
                <a:schemeClr val="bg1">
                  <a:alpha val="49000"/>
                </a:schemeClr>
              </a:gs>
            </a:gsLst>
            <a:lin ang="15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12" name="TextBox 11">
            <a:extLst>
              <a:ext uri="{FF2B5EF4-FFF2-40B4-BE49-F238E27FC236}">
                <a16:creationId xmlns:a16="http://schemas.microsoft.com/office/drawing/2014/main" id="{38F520CC-94B5-C1F7-F3F0-AA279994F64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chemeClr val="bg1"/>
                </a:solidFill>
              </a:rPr>
              <a:t>ELT layout</a:t>
            </a:r>
          </a:p>
        </p:txBody>
      </p:sp>
      <p:sp>
        <p:nvSpPr>
          <p:cNvPr id="3" name="Title 1">
            <a:extLst>
              <a:ext uri="{FF2B5EF4-FFF2-40B4-BE49-F238E27FC236}">
                <a16:creationId xmlns:a16="http://schemas.microsoft.com/office/drawing/2014/main" id="{CBAADCDE-83AF-AD7A-C23E-625F457EA2CB}"/>
              </a:ext>
            </a:extLst>
          </p:cNvPr>
          <p:cNvSpPr>
            <a:spLocks noGrp="1"/>
          </p:cNvSpPr>
          <p:nvPr userDrawn="1">
            <p:ph type="title" hasCustomPrompt="1"/>
          </p:nvPr>
        </p:nvSpPr>
        <p:spPr>
          <a:xfrm>
            <a:off x="588963" y="2875002"/>
            <a:ext cx="4021137" cy="1107996"/>
          </a:xfrm>
        </p:spPr>
        <p:txBody>
          <a:bodyPr anchor="ctr">
            <a:noAutofit/>
          </a:bodyPr>
          <a:lstStyle>
            <a:lvl1pPr algn="l" defTabSz="932742" rtl="0" eaLnBrk="1" latinLnBrk="0" hangingPunct="1">
              <a:lnSpc>
                <a:spcPct val="100000"/>
              </a:lnSpc>
              <a:spcBef>
                <a:spcPct val="0"/>
              </a:spcBef>
              <a:buNone/>
              <a:defRPr lang="en-US" sz="3600" b="0" kern="1200" cap="none" spc="-50" baseline="0" dirty="0">
                <a:ln w="3175">
                  <a:noFill/>
                </a:ln>
                <a:gradFill flip="none" rotWithShape="1">
                  <a:gsLst>
                    <a:gs pos="8000">
                      <a:schemeClr val="accent5">
                        <a:lumMod val="90000"/>
                      </a:schemeClr>
                    </a:gs>
                    <a:gs pos="24000">
                      <a:schemeClr val="accent4">
                        <a:lumMod val="90000"/>
                      </a:schemeClr>
                    </a:gs>
                    <a:gs pos="77000">
                      <a:schemeClr val="accent1"/>
                    </a:gs>
                    <a:gs pos="46000">
                      <a:schemeClr val="accent3"/>
                    </a:gs>
                    <a:gs pos="100000">
                      <a:schemeClr val="tx2"/>
                    </a:gs>
                  </a:gsLst>
                  <a:lin ang="2700000" scaled="1"/>
                  <a:tileRect/>
                </a:gradFill>
                <a:effectLst/>
                <a:latin typeface="+mj-lt"/>
                <a:ea typeface="+mn-ea"/>
                <a:cs typeface="Segoe Sans Display" pitchFamily="2" charset="0"/>
              </a:defRPr>
            </a:lvl1pPr>
          </a:lstStyle>
          <a:p>
            <a:pPr lvl="0"/>
            <a:r>
              <a:rPr lang="en-US">
                <a:gradFill>
                  <a:gsLst>
                    <a:gs pos="8000">
                      <a:schemeClr val="accent5">
                        <a:lumMod val="90000"/>
                      </a:schemeClr>
                    </a:gs>
                    <a:gs pos="24000">
                      <a:schemeClr val="accent4">
                        <a:lumMod val="90000"/>
                      </a:schemeClr>
                    </a:gs>
                    <a:gs pos="77000">
                      <a:schemeClr val="accent1"/>
                    </a:gs>
                    <a:gs pos="46000">
                      <a:schemeClr val="accent3"/>
                    </a:gs>
                    <a:gs pos="100000">
                      <a:schemeClr val="tx2"/>
                    </a:gs>
                  </a:gsLst>
                  <a:lin ang="14400000" scaled="0"/>
                </a:gradFill>
              </a:rPr>
              <a:t>Title</a:t>
            </a:r>
            <a:endParaRPr lang="en-US"/>
          </a:p>
        </p:txBody>
      </p:sp>
    </p:spTree>
    <p:extLst>
      <p:ext uri="{BB962C8B-B14F-4D97-AF65-F5344CB8AC3E}">
        <p14:creationId xmlns:p14="http://schemas.microsoft.com/office/powerpoint/2010/main" val="10557192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sv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slideLayout" Target="../slideLayouts/slideLayout82.xml"/><Relationship Id="rId47" Type="http://schemas.openxmlformats.org/officeDocument/2006/relationships/slideLayout" Target="../slideLayouts/slideLayout87.xml"/><Relationship Id="rId50" Type="http://schemas.openxmlformats.org/officeDocument/2006/relationships/slideLayout" Target="../slideLayouts/slideLayout90.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9" Type="http://schemas.openxmlformats.org/officeDocument/2006/relationships/slideLayout" Target="../slideLayouts/slideLayout69.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slideLayout" Target="../slideLayouts/slideLayout85.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49" Type="http://schemas.openxmlformats.org/officeDocument/2006/relationships/slideLayout" Target="../slideLayouts/slideLayout89.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4" Type="http://schemas.openxmlformats.org/officeDocument/2006/relationships/slideLayout" Target="../slideLayouts/slideLayout84.xml"/><Relationship Id="rId52" Type="http://schemas.openxmlformats.org/officeDocument/2006/relationships/image" Target="../media/image2.svg"/><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slideLayout" Target="../slideLayouts/slideLayout83.xml"/><Relationship Id="rId48" Type="http://schemas.openxmlformats.org/officeDocument/2006/relationships/slideLayout" Target="../slideLayouts/slideLayout88.xml"/><Relationship Id="rId8" Type="http://schemas.openxmlformats.org/officeDocument/2006/relationships/slideLayout" Target="../slideLayouts/slideLayout48.xml"/><Relationship Id="rId51" Type="http://schemas.openxmlformats.org/officeDocument/2006/relationships/theme" Target="../theme/theme2.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slideLayout" Target="../slideLayouts/slideLayout86.xml"/><Relationship Id="rId20" Type="http://schemas.openxmlformats.org/officeDocument/2006/relationships/slideLayout" Target="../slideLayouts/slideLayout60.xml"/><Relationship Id="rId41" Type="http://schemas.openxmlformats.org/officeDocument/2006/relationships/slideLayout" Target="../slideLayouts/slideLayout81.xml"/><Relationship Id="rId1" Type="http://schemas.openxmlformats.org/officeDocument/2006/relationships/slideLayout" Target="../slideLayouts/slideLayout41.xml"/><Relationship Id="rId6"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16.xml"/><Relationship Id="rId21" Type="http://schemas.openxmlformats.org/officeDocument/2006/relationships/slideLayout" Target="../slideLayouts/slideLayout111.xml"/><Relationship Id="rId34" Type="http://schemas.openxmlformats.org/officeDocument/2006/relationships/slideLayout" Target="../slideLayouts/slideLayout124.xml"/><Relationship Id="rId42" Type="http://schemas.openxmlformats.org/officeDocument/2006/relationships/slideLayout" Target="../slideLayouts/slideLayout132.xml"/><Relationship Id="rId47" Type="http://schemas.openxmlformats.org/officeDocument/2006/relationships/slideLayout" Target="../slideLayouts/slideLayout137.xml"/><Relationship Id="rId50" Type="http://schemas.openxmlformats.org/officeDocument/2006/relationships/slideLayout" Target="../slideLayouts/slideLayout140.xml"/><Relationship Id="rId55" Type="http://schemas.openxmlformats.org/officeDocument/2006/relationships/slideLayout" Target="../slideLayouts/slideLayout145.xml"/><Relationship Id="rId63" Type="http://schemas.openxmlformats.org/officeDocument/2006/relationships/slideLayout" Target="../slideLayouts/slideLayout15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9" Type="http://schemas.openxmlformats.org/officeDocument/2006/relationships/slideLayout" Target="../slideLayouts/slideLayout119.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37" Type="http://schemas.openxmlformats.org/officeDocument/2006/relationships/slideLayout" Target="../slideLayouts/slideLayout127.xml"/><Relationship Id="rId40" Type="http://schemas.openxmlformats.org/officeDocument/2006/relationships/slideLayout" Target="../slideLayouts/slideLayout130.xml"/><Relationship Id="rId45" Type="http://schemas.openxmlformats.org/officeDocument/2006/relationships/slideLayout" Target="../slideLayouts/slideLayout135.xml"/><Relationship Id="rId53" Type="http://schemas.openxmlformats.org/officeDocument/2006/relationships/slideLayout" Target="../slideLayouts/slideLayout143.xml"/><Relationship Id="rId58" Type="http://schemas.openxmlformats.org/officeDocument/2006/relationships/slideLayout" Target="../slideLayouts/slideLayout148.xml"/><Relationship Id="rId5" Type="http://schemas.openxmlformats.org/officeDocument/2006/relationships/slideLayout" Target="../slideLayouts/slideLayout95.xml"/><Relationship Id="rId61" Type="http://schemas.openxmlformats.org/officeDocument/2006/relationships/slideLayout" Target="../slideLayouts/slideLayout151.xml"/><Relationship Id="rId19" Type="http://schemas.openxmlformats.org/officeDocument/2006/relationships/slideLayout" Target="../slideLayouts/slideLayout10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35" Type="http://schemas.openxmlformats.org/officeDocument/2006/relationships/slideLayout" Target="../slideLayouts/slideLayout125.xml"/><Relationship Id="rId43" Type="http://schemas.openxmlformats.org/officeDocument/2006/relationships/slideLayout" Target="../slideLayouts/slideLayout133.xml"/><Relationship Id="rId48" Type="http://schemas.openxmlformats.org/officeDocument/2006/relationships/slideLayout" Target="../slideLayouts/slideLayout138.xml"/><Relationship Id="rId56" Type="http://schemas.openxmlformats.org/officeDocument/2006/relationships/slideLayout" Target="../slideLayouts/slideLayout146.xml"/><Relationship Id="rId64" Type="http://schemas.openxmlformats.org/officeDocument/2006/relationships/theme" Target="../theme/theme3.xml"/><Relationship Id="rId8" Type="http://schemas.openxmlformats.org/officeDocument/2006/relationships/slideLayout" Target="../slideLayouts/slideLayout98.xml"/><Relationship Id="rId51" Type="http://schemas.openxmlformats.org/officeDocument/2006/relationships/slideLayout" Target="../slideLayouts/slideLayout141.xml"/><Relationship Id="rId3" Type="http://schemas.openxmlformats.org/officeDocument/2006/relationships/slideLayout" Target="../slideLayouts/slideLayout93.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slideLayout" Target="../slideLayouts/slideLayout123.xml"/><Relationship Id="rId38" Type="http://schemas.openxmlformats.org/officeDocument/2006/relationships/slideLayout" Target="../slideLayouts/slideLayout128.xml"/><Relationship Id="rId46" Type="http://schemas.openxmlformats.org/officeDocument/2006/relationships/slideLayout" Target="../slideLayouts/slideLayout136.xml"/><Relationship Id="rId59" Type="http://schemas.openxmlformats.org/officeDocument/2006/relationships/slideLayout" Target="../slideLayouts/slideLayout149.xml"/><Relationship Id="rId20" Type="http://schemas.openxmlformats.org/officeDocument/2006/relationships/slideLayout" Target="../slideLayouts/slideLayout110.xml"/><Relationship Id="rId41" Type="http://schemas.openxmlformats.org/officeDocument/2006/relationships/slideLayout" Target="../slideLayouts/slideLayout131.xml"/><Relationship Id="rId54" Type="http://schemas.openxmlformats.org/officeDocument/2006/relationships/slideLayout" Target="../slideLayouts/slideLayout144.xml"/><Relationship Id="rId62" Type="http://schemas.openxmlformats.org/officeDocument/2006/relationships/slideLayout" Target="../slideLayouts/slideLayout15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36" Type="http://schemas.openxmlformats.org/officeDocument/2006/relationships/slideLayout" Target="../slideLayouts/slideLayout126.xml"/><Relationship Id="rId49" Type="http://schemas.openxmlformats.org/officeDocument/2006/relationships/slideLayout" Target="../slideLayouts/slideLayout139.xml"/><Relationship Id="rId57" Type="http://schemas.openxmlformats.org/officeDocument/2006/relationships/slideLayout" Target="../slideLayouts/slideLayout147.xml"/><Relationship Id="rId10" Type="http://schemas.openxmlformats.org/officeDocument/2006/relationships/slideLayout" Target="../slideLayouts/slideLayout100.xml"/><Relationship Id="rId31" Type="http://schemas.openxmlformats.org/officeDocument/2006/relationships/slideLayout" Target="../slideLayouts/slideLayout121.xml"/><Relationship Id="rId44" Type="http://schemas.openxmlformats.org/officeDocument/2006/relationships/slideLayout" Target="../slideLayouts/slideLayout134.xml"/><Relationship Id="rId52" Type="http://schemas.openxmlformats.org/officeDocument/2006/relationships/slideLayout" Target="../slideLayouts/slideLayout142.xml"/><Relationship Id="rId60" Type="http://schemas.openxmlformats.org/officeDocument/2006/relationships/slideLayout" Target="../slideLayouts/slideLayout150.xml"/><Relationship Id="rId65" Type="http://schemas.openxmlformats.org/officeDocument/2006/relationships/image" Target="../media/image2.svg"/><Relationship Id="rId4" Type="http://schemas.openxmlformats.org/officeDocument/2006/relationships/slideLayout" Target="../slideLayouts/slideLayout94.xml"/><Relationship Id="rId9" Type="http://schemas.openxmlformats.org/officeDocument/2006/relationships/slideLayout" Target="../slideLayouts/slideLayout99.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39" Type="http://schemas.openxmlformats.org/officeDocument/2006/relationships/slideLayout" Target="../slideLayouts/slideLayout1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6B07C2E4-0DFA-F8B9-B096-ECFDEA07D54A}"/>
              </a:ext>
              <a:ext uri="{C183D7F6-B498-43B3-948B-1728B52AA6E4}">
                <adec:decorative xmlns:adec="http://schemas.microsoft.com/office/drawing/2017/decorative" val="1"/>
              </a:ext>
            </a:extLst>
          </p:cNvPr>
          <p:cNvPicPr>
            <a:picLocks noChangeAspect="1"/>
          </p:cNvPicPr>
          <p:nvPr userDrawn="1"/>
        </p:nvPicPr>
        <p:blipFill rotWithShape="1">
          <a:blip r:embed="rId42"/>
          <a:srcRect l="370" t="1" r="531" b="29523"/>
          <a:stretch>
            <a:fillRect/>
          </a:stretch>
        </p:blipFill>
        <p:spPr>
          <a:xfrm rot="10800000" flipV="1">
            <a:off x="-9333" y="6675119"/>
            <a:ext cx="12201331" cy="182880"/>
          </a:xfrm>
          <a:prstGeom prst="rect">
            <a:avLst/>
          </a:prstGeom>
          <a:ln>
            <a:noFill/>
          </a:ln>
          <a:effectLst/>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43"/>
              </a:ext>
            </a:extLst>
          </a:blip>
          <a:srcRect/>
          <a:stretch/>
        </p:blipFill>
        <p:spPr>
          <a:xfrm rot="5400000">
            <a:off x="9509919" y="2743200"/>
            <a:ext cx="6858000" cy="1371600"/>
          </a:xfrm>
          <a:prstGeom prst="rect">
            <a:avLst/>
          </a:prstGeom>
        </p:spPr>
      </p:pic>
      <p:sp>
        <p:nvSpPr>
          <p:cNvPr id="4" name="TextBox 3">
            <a:extLst>
              <a:ext uri="{FF2B5EF4-FFF2-40B4-BE49-F238E27FC236}">
                <a16:creationId xmlns:a16="http://schemas.microsoft.com/office/drawing/2014/main" id="{D4615CC7-23DD-3D0C-B59D-4151AD0EA4E2}"/>
              </a:ext>
            </a:extLst>
          </p:cNvPr>
          <p:cNvSpPr txBox="1"/>
          <p:nvPr userDrawn="1">
            <p:extLst>
              <p:ext uri="{1162E1C5-73C7-4A58-AE30-91384D911F3F}">
                <p184:classification xmlns:p184="http://schemas.microsoft.com/office/powerpoint/2018/4/main" val="ftr"/>
              </p:ext>
            </p:extLst>
          </p:nvPr>
        </p:nvSpPr>
        <p:spPr>
          <a:xfrm>
            <a:off x="63500" y="6642100"/>
            <a:ext cx="1978025"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Classified as Microsoft Confidential</a:t>
            </a:r>
          </a:p>
        </p:txBody>
      </p:sp>
    </p:spTree>
    <p:extLst>
      <p:ext uri="{BB962C8B-B14F-4D97-AF65-F5344CB8AC3E}">
        <p14:creationId xmlns:p14="http://schemas.microsoft.com/office/powerpoint/2010/main" val="3418689686"/>
      </p:ext>
    </p:extLst>
  </p:cSld>
  <p:clrMap bg1="lt1" tx1="dk1" bg2="lt2" tx2="dk2" accent1="accent1" accent2="accent2" accent3="accent3" accent4="accent4" accent5="accent5" accent6="accent6" hlink="hlink" folHlink="folHlink"/>
  <p:sldLayoutIdLst>
    <p:sldLayoutId id="2147485808" r:id="rId1"/>
    <p:sldLayoutId id="2147485809" r:id="rId2"/>
    <p:sldLayoutId id="2147485810" r:id="rId3"/>
    <p:sldLayoutId id="2147485811" r:id="rId4"/>
    <p:sldLayoutId id="2147485824" r:id="rId5"/>
    <p:sldLayoutId id="2147485524" r:id="rId6"/>
    <p:sldLayoutId id="2147485827" r:id="rId7"/>
    <p:sldLayoutId id="2147485821" r:id="rId8"/>
    <p:sldLayoutId id="2147485822" r:id="rId9"/>
    <p:sldLayoutId id="2147485823" r:id="rId10"/>
    <p:sldLayoutId id="2147485829" r:id="rId11"/>
    <p:sldLayoutId id="2147485830" r:id="rId12"/>
    <p:sldLayoutId id="2147485828" r:id="rId13"/>
    <p:sldLayoutId id="2147485814" r:id="rId14"/>
    <p:sldLayoutId id="2147485815" r:id="rId15"/>
    <p:sldLayoutId id="2147485816" r:id="rId16"/>
    <p:sldLayoutId id="2147485817" r:id="rId17"/>
    <p:sldLayoutId id="2147485818" r:id="rId18"/>
    <p:sldLayoutId id="2147485819" r:id="rId19"/>
    <p:sldLayoutId id="2147485838" r:id="rId20"/>
    <p:sldLayoutId id="2147485839" r:id="rId21"/>
    <p:sldLayoutId id="2147485840" r:id="rId22"/>
    <p:sldLayoutId id="2147485732" r:id="rId23"/>
    <p:sldLayoutId id="2147485813" r:id="rId24"/>
    <p:sldLayoutId id="2147485820" r:id="rId25"/>
    <p:sldLayoutId id="2147485837" r:id="rId26"/>
    <p:sldLayoutId id="2147485826" r:id="rId27"/>
    <p:sldLayoutId id="2147485832" r:id="rId28"/>
    <p:sldLayoutId id="2147485833" r:id="rId29"/>
    <p:sldLayoutId id="2147485472" r:id="rId30"/>
    <p:sldLayoutId id="2147485473" r:id="rId31"/>
    <p:sldLayoutId id="2147485836" r:id="rId32"/>
    <p:sldLayoutId id="2147485831" r:id="rId33"/>
    <p:sldLayoutId id="2147485812" r:id="rId34"/>
    <p:sldLayoutId id="2147485462" r:id="rId35"/>
    <p:sldLayoutId id="2147485455" r:id="rId36"/>
    <p:sldLayoutId id="2147485459" r:id="rId37"/>
    <p:sldLayoutId id="2147485834" r:id="rId38"/>
    <p:sldLayoutId id="2147485835" r:id="rId39"/>
    <p:sldLayoutId id="2147485482"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Tx/>
        <a:buNone/>
        <a:tabLst/>
        <a:defRPr sz="2800" kern="1200" spc="0" baseline="0">
          <a:solidFill>
            <a:srgbClr val="091F2C"/>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userDrawn="1">
          <p15:clr>
            <a:srgbClr val="C35EA4"/>
          </p15:clr>
        </p15:guide>
        <p15:guide id="17" pos="7320" userDrawn="1">
          <p15:clr>
            <a:srgbClr val="C35EA4"/>
          </p15:clr>
        </p15:guide>
        <p15:guide id="25" orient="horz" pos="369">
          <p15:clr>
            <a:srgbClr val="C35EA4"/>
          </p15:clr>
        </p15:guide>
        <p15:guide id="26" orient="horz" pos="3949">
          <p15:clr>
            <a:srgbClr val="C35EA4"/>
          </p15:clr>
        </p15:guide>
        <p15:guide id="28" pos="192" userDrawn="1">
          <p15:clr>
            <a:srgbClr val="A4A3A4"/>
          </p15:clr>
        </p15:guide>
        <p15:guide id="29" orient="horz" pos="4135">
          <p15:clr>
            <a:srgbClr val="A4A3A4"/>
          </p15:clr>
        </p15:guide>
        <p15:guide id="30" pos="7488" userDrawn="1">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52"/>
              </a:ext>
            </a:extLst>
          </a:blip>
          <a:srcRect/>
          <a:stretch/>
        </p:blipFill>
        <p:spPr>
          <a:xfrm rot="5400000">
            <a:off x="9509919" y="2743200"/>
            <a:ext cx="6858000" cy="1371600"/>
          </a:xfrm>
          <a:prstGeom prst="rect">
            <a:avLst/>
          </a:prstGeom>
        </p:spPr>
      </p:pic>
      <p:sp>
        <p:nvSpPr>
          <p:cNvPr id="6" name="TextBox 5">
            <a:extLst>
              <a:ext uri="{FF2B5EF4-FFF2-40B4-BE49-F238E27FC236}">
                <a16:creationId xmlns:a16="http://schemas.microsoft.com/office/drawing/2014/main" id="{1F274B19-9C0A-430D-5B99-841D0F39F7B7}"/>
              </a:ext>
            </a:extLst>
          </p:cNvPr>
          <p:cNvSpPr txBox="1"/>
          <p:nvPr>
            <p:extLst>
              <p:ext uri="{1162E1C5-73C7-4A58-AE30-91384D911F3F}">
                <p184:classification xmlns:p184="http://schemas.microsoft.com/office/powerpoint/2018/4/main" val="ftr"/>
              </p:ext>
            </p:extLst>
          </p:nvPr>
        </p:nvSpPr>
        <p:spPr>
          <a:xfrm>
            <a:off x="63500" y="6642100"/>
            <a:ext cx="1978025"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Classified as Microsoft Confidential</a:t>
            </a:r>
          </a:p>
        </p:txBody>
      </p:sp>
    </p:spTree>
    <p:extLst>
      <p:ext uri="{BB962C8B-B14F-4D97-AF65-F5344CB8AC3E}">
        <p14:creationId xmlns:p14="http://schemas.microsoft.com/office/powerpoint/2010/main" val="3023243838"/>
      </p:ext>
    </p:extLst>
  </p:cSld>
  <p:clrMap bg1="lt1" tx1="dk1" bg2="lt2" tx2="dk2" accent1="accent1" accent2="accent2" accent3="accent3" accent4="accent4" accent5="accent5" accent6="accent6" hlink="hlink" folHlink="folHlink"/>
  <p:sldLayoutIdLst>
    <p:sldLayoutId id="2147485842" r:id="rId1"/>
    <p:sldLayoutId id="2147485843" r:id="rId2"/>
    <p:sldLayoutId id="2147485844" r:id="rId3"/>
    <p:sldLayoutId id="2147485845" r:id="rId4"/>
    <p:sldLayoutId id="2147485846" r:id="rId5"/>
    <p:sldLayoutId id="2147485847" r:id="rId6"/>
    <p:sldLayoutId id="2147485848" r:id="rId7"/>
    <p:sldLayoutId id="2147485849" r:id="rId8"/>
    <p:sldLayoutId id="2147485850" r:id="rId9"/>
    <p:sldLayoutId id="2147485851" r:id="rId10"/>
    <p:sldLayoutId id="2147485852" r:id="rId11"/>
    <p:sldLayoutId id="2147485853" r:id="rId12"/>
    <p:sldLayoutId id="2147485854" r:id="rId13"/>
    <p:sldLayoutId id="2147485855" r:id="rId14"/>
    <p:sldLayoutId id="2147485856" r:id="rId15"/>
    <p:sldLayoutId id="2147485857" r:id="rId16"/>
    <p:sldLayoutId id="2147485858" r:id="rId17"/>
    <p:sldLayoutId id="2147485859" r:id="rId18"/>
    <p:sldLayoutId id="2147485860" r:id="rId19"/>
    <p:sldLayoutId id="2147485861" r:id="rId20"/>
    <p:sldLayoutId id="2147485862" r:id="rId21"/>
    <p:sldLayoutId id="2147485863" r:id="rId22"/>
    <p:sldLayoutId id="2147485864" r:id="rId23"/>
    <p:sldLayoutId id="2147485865" r:id="rId24"/>
    <p:sldLayoutId id="2147485866" r:id="rId25"/>
    <p:sldLayoutId id="2147485867" r:id="rId26"/>
    <p:sldLayoutId id="2147485868" r:id="rId27"/>
    <p:sldLayoutId id="2147485869" r:id="rId28"/>
    <p:sldLayoutId id="2147485870" r:id="rId29"/>
    <p:sldLayoutId id="2147485871" r:id="rId30"/>
    <p:sldLayoutId id="2147485872" r:id="rId31"/>
    <p:sldLayoutId id="2147485873" r:id="rId32"/>
    <p:sldLayoutId id="2147485874" r:id="rId33"/>
    <p:sldLayoutId id="2147485875" r:id="rId34"/>
    <p:sldLayoutId id="2147485876" r:id="rId35"/>
    <p:sldLayoutId id="2147485877" r:id="rId36"/>
    <p:sldLayoutId id="2147485878" r:id="rId37"/>
    <p:sldLayoutId id="2147485879" r:id="rId38"/>
    <p:sldLayoutId id="2147485880" r:id="rId39"/>
    <p:sldLayoutId id="2147485881" r:id="rId40"/>
    <p:sldLayoutId id="2147485882" r:id="rId41"/>
    <p:sldLayoutId id="2147485883" r:id="rId42"/>
    <p:sldLayoutId id="2147485884" r:id="rId43"/>
    <p:sldLayoutId id="2147485885" r:id="rId44"/>
    <p:sldLayoutId id="2147485886" r:id="rId45"/>
    <p:sldLayoutId id="2147485887" r:id="rId46"/>
    <p:sldLayoutId id="2147485888" r:id="rId47"/>
    <p:sldLayoutId id="2147485889" r:id="rId48"/>
    <p:sldLayoutId id="2147485890" r:id="rId49"/>
    <p:sldLayoutId id="2147485891" r:id="rId50"/>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65"/>
              </a:ext>
            </a:extLst>
          </a:blip>
          <a:srcRect/>
          <a:stretch/>
        </p:blipFill>
        <p:spPr>
          <a:xfrm rot="5400000">
            <a:off x="9509919" y="2743200"/>
            <a:ext cx="6858000" cy="1371600"/>
          </a:xfrm>
          <a:prstGeom prst="rect">
            <a:avLst/>
          </a:prstGeom>
        </p:spPr>
      </p:pic>
      <p:sp>
        <p:nvSpPr>
          <p:cNvPr id="6" name="TextBox 5">
            <a:extLst>
              <a:ext uri="{FF2B5EF4-FFF2-40B4-BE49-F238E27FC236}">
                <a16:creationId xmlns:a16="http://schemas.microsoft.com/office/drawing/2014/main" id="{DA58AAD5-FE74-CD52-A13B-EE8451CE901C}"/>
              </a:ext>
            </a:extLst>
          </p:cNvPr>
          <p:cNvSpPr txBox="1"/>
          <p:nvPr>
            <p:extLst>
              <p:ext uri="{1162E1C5-73C7-4A58-AE30-91384D911F3F}">
                <p184:classification xmlns:p184="http://schemas.microsoft.com/office/powerpoint/2018/4/main" val="ftr"/>
              </p:ext>
            </p:extLst>
          </p:nvPr>
        </p:nvSpPr>
        <p:spPr>
          <a:xfrm>
            <a:off x="63500" y="6642100"/>
            <a:ext cx="1978025"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Classified as Microsoft Confidential</a:t>
            </a:r>
          </a:p>
        </p:txBody>
      </p:sp>
    </p:spTree>
    <p:extLst>
      <p:ext uri="{BB962C8B-B14F-4D97-AF65-F5344CB8AC3E}">
        <p14:creationId xmlns:p14="http://schemas.microsoft.com/office/powerpoint/2010/main" val="263224901"/>
      </p:ext>
    </p:extLst>
  </p:cSld>
  <p:clrMap bg1="lt1" tx1="dk1" bg2="lt2" tx2="dk2" accent1="accent1" accent2="accent2" accent3="accent3" accent4="accent4" accent5="accent5" accent6="accent6" hlink="hlink" folHlink="folHlink"/>
  <p:sldLayoutIdLst>
    <p:sldLayoutId id="2147485893" r:id="rId1"/>
    <p:sldLayoutId id="2147485894" r:id="rId2"/>
    <p:sldLayoutId id="2147485895" r:id="rId3"/>
    <p:sldLayoutId id="2147485896" r:id="rId4"/>
    <p:sldLayoutId id="2147485897" r:id="rId5"/>
    <p:sldLayoutId id="2147485898" r:id="rId6"/>
    <p:sldLayoutId id="2147485899" r:id="rId7"/>
    <p:sldLayoutId id="2147485900" r:id="rId8"/>
    <p:sldLayoutId id="2147485901" r:id="rId9"/>
    <p:sldLayoutId id="2147485902" r:id="rId10"/>
    <p:sldLayoutId id="2147485903" r:id="rId11"/>
    <p:sldLayoutId id="2147485904" r:id="rId12"/>
    <p:sldLayoutId id="2147485905" r:id="rId13"/>
    <p:sldLayoutId id="2147485906" r:id="rId14"/>
    <p:sldLayoutId id="2147485907" r:id="rId15"/>
    <p:sldLayoutId id="2147485908" r:id="rId16"/>
    <p:sldLayoutId id="2147485909" r:id="rId17"/>
    <p:sldLayoutId id="2147485910" r:id="rId18"/>
    <p:sldLayoutId id="2147485911" r:id="rId19"/>
    <p:sldLayoutId id="2147485912" r:id="rId20"/>
    <p:sldLayoutId id="2147485913" r:id="rId21"/>
    <p:sldLayoutId id="2147485914" r:id="rId22"/>
    <p:sldLayoutId id="2147485915" r:id="rId23"/>
    <p:sldLayoutId id="2147485916" r:id="rId24"/>
    <p:sldLayoutId id="2147485917" r:id="rId25"/>
    <p:sldLayoutId id="2147485918" r:id="rId26"/>
    <p:sldLayoutId id="2147485919" r:id="rId27"/>
    <p:sldLayoutId id="2147485920" r:id="rId28"/>
    <p:sldLayoutId id="2147485921" r:id="rId29"/>
    <p:sldLayoutId id="2147485922" r:id="rId30"/>
    <p:sldLayoutId id="2147485923" r:id="rId31"/>
    <p:sldLayoutId id="2147485924" r:id="rId32"/>
    <p:sldLayoutId id="2147485925" r:id="rId33"/>
    <p:sldLayoutId id="2147485926" r:id="rId34"/>
    <p:sldLayoutId id="2147485927" r:id="rId35"/>
    <p:sldLayoutId id="2147485928" r:id="rId36"/>
    <p:sldLayoutId id="2147485929" r:id="rId37"/>
    <p:sldLayoutId id="2147485930" r:id="rId38"/>
    <p:sldLayoutId id="2147485931" r:id="rId39"/>
    <p:sldLayoutId id="2147485932" r:id="rId40"/>
    <p:sldLayoutId id="2147485933" r:id="rId41"/>
    <p:sldLayoutId id="2147485934" r:id="rId42"/>
    <p:sldLayoutId id="2147485935" r:id="rId43"/>
    <p:sldLayoutId id="2147485936" r:id="rId44"/>
    <p:sldLayoutId id="2147485937" r:id="rId45"/>
    <p:sldLayoutId id="2147485938" r:id="rId46"/>
    <p:sldLayoutId id="2147485939" r:id="rId47"/>
    <p:sldLayoutId id="2147485940" r:id="rId48"/>
    <p:sldLayoutId id="2147485941" r:id="rId49"/>
    <p:sldLayoutId id="2147485942" r:id="rId50"/>
    <p:sldLayoutId id="2147485943" r:id="rId51"/>
    <p:sldLayoutId id="2147485944" r:id="rId52"/>
    <p:sldLayoutId id="2147485945" r:id="rId53"/>
    <p:sldLayoutId id="2147485946" r:id="rId54"/>
    <p:sldLayoutId id="2147485947" r:id="rId55"/>
    <p:sldLayoutId id="2147485948" r:id="rId56"/>
    <p:sldLayoutId id="2147485949" r:id="rId57"/>
    <p:sldLayoutId id="2147485950" r:id="rId58"/>
    <p:sldLayoutId id="2147485951" r:id="rId59"/>
    <p:sldLayoutId id="2147485952" r:id="rId60"/>
    <p:sldLayoutId id="2147485953" r:id="rId61"/>
    <p:sldLayoutId id="2147485954" r:id="rId62"/>
    <p:sldLayoutId id="2147485955" r:id="rId63"/>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6.xml"/><Relationship Id="rId1" Type="http://schemas.openxmlformats.org/officeDocument/2006/relationships/tags" Target="../tags/tag1.xml"/><Relationship Id="rId5" Type="http://schemas.openxmlformats.org/officeDocument/2006/relationships/image" Target="../media/image112.svg"/><Relationship Id="rId4" Type="http://schemas.openxmlformats.org/officeDocument/2006/relationships/image" Target="../media/image111.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13.emf"/><Relationship Id="rId5" Type="http://schemas.openxmlformats.org/officeDocument/2006/relationships/oleObject" Target="../embeddings/oleObject1.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13.emf"/><Relationship Id="rId5" Type="http://schemas.openxmlformats.org/officeDocument/2006/relationships/oleObject" Target="../embeddings/oleObject1.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13.emf"/><Relationship Id="rId5" Type="http://schemas.openxmlformats.org/officeDocument/2006/relationships/oleObject" Target="../embeddings/oleObject1.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13.emf"/><Relationship Id="rId5" Type="http://schemas.openxmlformats.org/officeDocument/2006/relationships/oleObject" Target="../embeddings/oleObject1.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13.emf"/><Relationship Id="rId5" Type="http://schemas.openxmlformats.org/officeDocument/2006/relationships/oleObject" Target="../embeddings/oleObject1.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13.emf"/><Relationship Id="rId5" Type="http://schemas.openxmlformats.org/officeDocument/2006/relationships/oleObject" Target="../embeddings/oleObject1.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3.png"/><Relationship Id="rId18" Type="http://schemas.openxmlformats.org/officeDocument/2006/relationships/image" Target="../media/image127.jpeg"/><Relationship Id="rId3" Type="http://schemas.openxmlformats.org/officeDocument/2006/relationships/notesSlide" Target="../notesSlides/notesSlide21.xml"/><Relationship Id="rId7" Type="http://schemas.openxmlformats.org/officeDocument/2006/relationships/image" Target="../media/image117.png"/><Relationship Id="rId12" Type="http://schemas.openxmlformats.org/officeDocument/2006/relationships/image" Target="../media/image122.png"/><Relationship Id="rId17" Type="http://schemas.microsoft.com/office/2007/relationships/hdphoto" Target="../media/hdphoto3.wdp"/><Relationship Id="rId2" Type="http://schemas.openxmlformats.org/officeDocument/2006/relationships/slideLayout" Target="../slideLayouts/slideLayout98.xml"/><Relationship Id="rId16" Type="http://schemas.openxmlformats.org/officeDocument/2006/relationships/image" Target="../media/image126.png"/><Relationship Id="rId1" Type="http://schemas.openxmlformats.org/officeDocument/2006/relationships/tags" Target="../tags/tag14.xml"/><Relationship Id="rId6" Type="http://schemas.openxmlformats.org/officeDocument/2006/relationships/image" Target="../media/image116.png"/><Relationship Id="rId11" Type="http://schemas.openxmlformats.org/officeDocument/2006/relationships/image" Target="../media/image121.png"/><Relationship Id="rId5" Type="http://schemas.openxmlformats.org/officeDocument/2006/relationships/image" Target="../media/image115.png"/><Relationship Id="rId15" Type="http://schemas.openxmlformats.org/officeDocument/2006/relationships/image" Target="../media/image125.png"/><Relationship Id="rId10" Type="http://schemas.openxmlformats.org/officeDocument/2006/relationships/image" Target="../media/image120.png"/><Relationship Id="rId4" Type="http://schemas.openxmlformats.org/officeDocument/2006/relationships/image" Target="../media/image114.png"/><Relationship Id="rId9" Type="http://schemas.openxmlformats.org/officeDocument/2006/relationships/image" Target="../media/image119.png"/><Relationship Id="rId14" Type="http://schemas.openxmlformats.org/officeDocument/2006/relationships/image" Target="../media/image124.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5.xml"/></Relationships>
</file>

<file path=ppt/slides/_rels/slide24.xml.rels><?xml version="1.0" encoding="UTF-8" standalone="yes"?>
<Relationships xmlns="http://schemas.openxmlformats.org/package/2006/relationships"><Relationship Id="rId3" Type="http://schemas.openxmlformats.org/officeDocument/2006/relationships/image" Target="../media/image128.svg"/><Relationship Id="rId2" Type="http://schemas.openxmlformats.org/officeDocument/2006/relationships/notesSlide" Target="../notesSlides/notesSlide24.xml"/><Relationship Id="rId1" Type="http://schemas.openxmlformats.org/officeDocument/2006/relationships/slideLayout" Target="../slideLayouts/slideLayout90.xml"/></Relationships>
</file>

<file path=ppt/slides/_rels/slide25.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5.xml"/><Relationship Id="rId1" Type="http://schemas.openxmlformats.org/officeDocument/2006/relationships/slideLayout" Target="../slideLayouts/slideLayout90.xml"/><Relationship Id="rId5" Type="http://schemas.openxmlformats.org/officeDocument/2006/relationships/image" Target="../media/image131.png"/><Relationship Id="rId4" Type="http://schemas.openxmlformats.org/officeDocument/2006/relationships/image" Target="../media/image130.png"/></Relationships>
</file>

<file path=ppt/slides/_rels/slide26.xml.rels><?xml version="1.0" encoding="UTF-8" standalone="yes"?>
<Relationships xmlns="http://schemas.openxmlformats.org/package/2006/relationships"><Relationship Id="rId3" Type="http://schemas.openxmlformats.org/officeDocument/2006/relationships/image" Target="../media/image132.svg"/><Relationship Id="rId2" Type="http://schemas.openxmlformats.org/officeDocument/2006/relationships/notesSlide" Target="../notesSlides/notesSlide26.xml"/><Relationship Id="rId1" Type="http://schemas.openxmlformats.org/officeDocument/2006/relationships/slideLayout" Target="../slideLayouts/slideLayout90.xml"/></Relationships>
</file>

<file path=ppt/slides/_rels/slide2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7.xml"/><Relationship Id="rId1" Type="http://schemas.openxmlformats.org/officeDocument/2006/relationships/slideLayout" Target="../slideLayouts/slideLayout90.xml"/><Relationship Id="rId5" Type="http://schemas.openxmlformats.org/officeDocument/2006/relationships/image" Target="../media/image131.png"/><Relationship Id="rId4" Type="http://schemas.openxmlformats.org/officeDocument/2006/relationships/image" Target="../media/image130.png"/></Relationships>
</file>

<file path=ppt/slides/_rels/slide28.xml.rels><?xml version="1.0" encoding="UTF-8" standalone="yes"?>
<Relationships xmlns="http://schemas.openxmlformats.org/package/2006/relationships"><Relationship Id="rId3" Type="http://schemas.openxmlformats.org/officeDocument/2006/relationships/image" Target="../media/image133.svg"/><Relationship Id="rId2" Type="http://schemas.openxmlformats.org/officeDocument/2006/relationships/notesSlide" Target="../notesSlides/notesSlide28.xml"/><Relationship Id="rId1" Type="http://schemas.openxmlformats.org/officeDocument/2006/relationships/slideLayout" Target="../slideLayouts/slideLayout90.xml"/></Relationships>
</file>

<file path=ppt/slides/_rels/slide2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9.xml"/><Relationship Id="rId1" Type="http://schemas.openxmlformats.org/officeDocument/2006/relationships/slideLayout" Target="../slideLayouts/slideLayout90.xml"/><Relationship Id="rId5" Type="http://schemas.openxmlformats.org/officeDocument/2006/relationships/image" Target="../media/image131.png"/><Relationship Id="rId4" Type="http://schemas.openxmlformats.org/officeDocument/2006/relationships/image" Target="../media/image130.png"/></Relationships>
</file>

<file path=ppt/slides/_rels/slide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0.xml"/></Relationships>
</file>

<file path=ppt/slides/_rels/slide31.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31.xml"/><Relationship Id="rId1" Type="http://schemas.openxmlformats.org/officeDocument/2006/relationships/slideLayout" Target="../slideLayouts/slideLayout15.xml"/><Relationship Id="rId4" Type="http://schemas.openxmlformats.org/officeDocument/2006/relationships/image" Target="../media/image135.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4.xml"/><Relationship Id="rId1" Type="http://schemas.openxmlformats.org/officeDocument/2006/relationships/slideLayout" Target="../slideLayouts/slideLayout15.xml"/><Relationship Id="rId4" Type="http://schemas.openxmlformats.org/officeDocument/2006/relationships/image" Target="../media/image138.png"/></Relationships>
</file>

<file path=ppt/slides/_rels/slide35.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36.xml"/><Relationship Id="rId1" Type="http://schemas.openxmlformats.org/officeDocument/2006/relationships/slideLayout" Target="../slideLayouts/slideLayout15.xml"/><Relationship Id="rId4" Type="http://schemas.openxmlformats.org/officeDocument/2006/relationships/image" Target="../media/image141.png"/></Relationships>
</file>

<file path=ppt/slides/_rels/slide37.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37.xml"/><Relationship Id="rId1" Type="http://schemas.openxmlformats.org/officeDocument/2006/relationships/slideLayout" Target="../slideLayouts/slideLayout15.xml"/><Relationship Id="rId4" Type="http://schemas.openxmlformats.org/officeDocument/2006/relationships/image" Target="../media/image143.png"/></Relationships>
</file>

<file path=ppt/slides/_rels/slide38.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notesSlide" Target="../notesSlides/notesSlide4.xml"/><Relationship Id="rId1" Type="http://schemas.openxmlformats.org/officeDocument/2006/relationships/slideLayout" Target="../slideLayouts/slideLayout27.xml"/><Relationship Id="rId5" Type="http://schemas.openxmlformats.org/officeDocument/2006/relationships/image" Target="../media/image97.svg"/><Relationship Id="rId4" Type="http://schemas.openxmlformats.org/officeDocument/2006/relationships/image" Target="../media/image96.svg"/></Relationships>
</file>

<file path=ppt/slides/_rels/slide40.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41.xml"/><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42.xml"/><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43.xml"/><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44.xml"/><Relationship Id="rId1" Type="http://schemas.openxmlformats.org/officeDocument/2006/relationships/slideLayout" Target="../slideLayouts/slideLayout15.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1.png"/></Relationships>
</file>

<file path=ppt/slides/_rels/slide45.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45.xml"/><Relationship Id="rId1" Type="http://schemas.openxmlformats.org/officeDocument/2006/relationships/slideLayout" Target="../slideLayouts/slideLayout15.xml"/><Relationship Id="rId5" Type="http://schemas.openxmlformats.org/officeDocument/2006/relationships/image" Target="../media/image156.png"/><Relationship Id="rId4" Type="http://schemas.openxmlformats.org/officeDocument/2006/relationships/image" Target="../media/image155.png"/></Relationships>
</file>

<file path=ppt/slides/_rels/slide4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46.xml"/><Relationship Id="rId1" Type="http://schemas.openxmlformats.org/officeDocument/2006/relationships/slideLayout" Target="../slideLayouts/slideLayout15.xml"/><Relationship Id="rId4" Type="http://schemas.openxmlformats.org/officeDocument/2006/relationships/image" Target="../media/image158.png"/></Relationships>
</file>

<file path=ppt/slides/_rels/slide47.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47.xml"/><Relationship Id="rId1" Type="http://schemas.openxmlformats.org/officeDocument/2006/relationships/slideLayout" Target="../slideLayouts/slideLayout15.xml"/></Relationships>
</file>

<file path=ppt/slides/_rels/slide48.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48.xml"/><Relationship Id="rId1" Type="http://schemas.openxmlformats.org/officeDocument/2006/relationships/slideLayout" Target="../slideLayouts/slideLayout15.xml"/><Relationship Id="rId4" Type="http://schemas.openxmlformats.org/officeDocument/2006/relationships/image" Target="../media/image161.png"/></Relationships>
</file>

<file path=ppt/slides/_rels/slide49.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49.xml"/><Relationship Id="rId1" Type="http://schemas.openxmlformats.org/officeDocument/2006/relationships/slideLayout" Target="../slideLayouts/slideLayout15.xml"/><Relationship Id="rId4" Type="http://schemas.openxmlformats.org/officeDocument/2006/relationships/image" Target="../media/image16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50.xml"/><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51.xml"/><Relationship Id="rId1" Type="http://schemas.openxmlformats.org/officeDocument/2006/relationships/slideLayout" Target="../slideLayouts/slideLayout15.xml"/><Relationship Id="rId4" Type="http://schemas.openxmlformats.org/officeDocument/2006/relationships/image" Target="../media/image166.png"/></Relationships>
</file>

<file path=ppt/slides/_rels/slide52.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52.xml"/><Relationship Id="rId1" Type="http://schemas.openxmlformats.org/officeDocument/2006/relationships/slideLayout" Target="../slideLayouts/slideLayout15.xml"/><Relationship Id="rId5" Type="http://schemas.openxmlformats.org/officeDocument/2006/relationships/image" Target="../media/image169.png"/><Relationship Id="rId4" Type="http://schemas.openxmlformats.org/officeDocument/2006/relationships/image" Target="../media/image168.png"/></Relationships>
</file>

<file path=ppt/slides/_rels/slide53.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53.xml"/><Relationship Id="rId1"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54.xml"/><Relationship Id="rId1" Type="http://schemas.openxmlformats.org/officeDocument/2006/relationships/slideLayout" Target="../slideLayouts/slideLayout15.xml"/></Relationships>
</file>

<file path=ppt/slides/_rels/slide55.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55.xml"/><Relationship Id="rId1" Type="http://schemas.openxmlformats.org/officeDocument/2006/relationships/slideLayout" Target="../slideLayouts/slideLayout15.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73.png"/><Relationship Id="rId4" Type="http://schemas.openxmlformats.org/officeDocument/2006/relationships/notesSlide" Target="../notesSlides/notesSlide56.xml"/></Relationships>
</file>

<file path=ppt/slides/_rels/slide57.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57.xml"/><Relationship Id="rId1" Type="http://schemas.openxmlformats.org/officeDocument/2006/relationships/slideLayout" Target="../slideLayouts/slideLayout15.xml"/><Relationship Id="rId6" Type="http://schemas.openxmlformats.org/officeDocument/2006/relationships/image" Target="../media/image176.png"/><Relationship Id="rId5" Type="http://schemas.openxmlformats.org/officeDocument/2006/relationships/hyperlink" Target="https://learn.microsoft.com/en-us/microsoft-copilot-studio/admin-api-quarantine" TargetMode="External"/><Relationship Id="rId4" Type="http://schemas.openxmlformats.org/officeDocument/2006/relationships/image" Target="../media/image175.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5.xml"/></Relationships>
</file>

<file path=ppt/slides/_rels/slide59.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59.xml"/><Relationship Id="rId1" Type="http://schemas.openxmlformats.org/officeDocument/2006/relationships/slideLayout" Target="../slideLayouts/slideLayout15.xml"/><Relationship Id="rId5" Type="http://schemas.openxmlformats.org/officeDocument/2006/relationships/image" Target="../media/image179.png"/><Relationship Id="rId4" Type="http://schemas.openxmlformats.org/officeDocument/2006/relationships/image" Target="../media/image17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61.xml"/><Relationship Id="rId1" Type="http://schemas.openxmlformats.org/officeDocument/2006/relationships/slideLayout" Target="../slideLayouts/slideLayout15.xml"/></Relationships>
</file>

<file path=ppt/slides/_rels/slide62.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62.xml"/><Relationship Id="rId1" Type="http://schemas.openxmlformats.org/officeDocument/2006/relationships/slideLayout" Target="../slideLayouts/slideLayout15.xml"/></Relationships>
</file>

<file path=ppt/slides/_rels/slide63.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63.xml"/><Relationship Id="rId1" Type="http://schemas.openxmlformats.org/officeDocument/2006/relationships/slideLayout" Target="../slideLayouts/slideLayout15.xml"/></Relationships>
</file>

<file path=ppt/slides/_rels/slide64.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64.xml"/><Relationship Id="rId1" Type="http://schemas.openxmlformats.org/officeDocument/2006/relationships/slideLayout" Target="../slideLayouts/slideLayout15.xml"/></Relationships>
</file>

<file path=ppt/slides/_rels/slide65.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65.xml"/><Relationship Id="rId1" Type="http://schemas.openxmlformats.org/officeDocument/2006/relationships/slideLayout" Target="../slideLayouts/slideLayout15.xml"/><Relationship Id="rId5" Type="http://schemas.openxmlformats.org/officeDocument/2006/relationships/image" Target="../media/image186.png"/><Relationship Id="rId4" Type="http://schemas.openxmlformats.org/officeDocument/2006/relationships/image" Target="../media/image185.png"/></Relationships>
</file>

<file path=ppt/slides/_rels/slide66.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66.xml"/><Relationship Id="rId1" Type="http://schemas.openxmlformats.org/officeDocument/2006/relationships/slideLayout" Target="../slideLayouts/slideLayout15.xml"/></Relationships>
</file>

<file path=ppt/slides/_rels/slide67.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67.xml"/><Relationship Id="rId1" Type="http://schemas.openxmlformats.org/officeDocument/2006/relationships/slideLayout" Target="../slideLayouts/slideLayout15.xml"/><Relationship Id="rId4" Type="http://schemas.openxmlformats.org/officeDocument/2006/relationships/image" Target="../media/image189.png"/></Relationships>
</file>

<file path=ppt/slides/_rels/slide68.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68.xml"/><Relationship Id="rId1" Type="http://schemas.openxmlformats.org/officeDocument/2006/relationships/slideLayout" Target="../slideLayouts/slideLayout15.xml"/><Relationship Id="rId5" Type="http://schemas.openxmlformats.org/officeDocument/2006/relationships/image" Target="../media/image192.png"/><Relationship Id="rId4" Type="http://schemas.openxmlformats.org/officeDocument/2006/relationships/image" Target="../media/image191.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98.svg"/><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image" Target="../media/image101.svg"/><Relationship Id="rId5" Type="http://schemas.openxmlformats.org/officeDocument/2006/relationships/image" Target="../media/image100.svg"/><Relationship Id="rId4" Type="http://schemas.openxmlformats.org/officeDocument/2006/relationships/image" Target="../media/image99.svg"/></Relationships>
</file>

<file path=ppt/slides/_rels/slide70.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70.xml"/><Relationship Id="rId1" Type="http://schemas.openxmlformats.org/officeDocument/2006/relationships/slideLayout" Target="../slideLayouts/slideLayout15.xml"/><Relationship Id="rId4" Type="http://schemas.openxmlformats.org/officeDocument/2006/relationships/image" Target="../media/image194.png"/></Relationships>
</file>

<file path=ppt/slides/_rels/slide71.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71.xml"/><Relationship Id="rId1" Type="http://schemas.openxmlformats.org/officeDocument/2006/relationships/slideLayout" Target="../slideLayouts/slideLayout15.xml"/><Relationship Id="rId4" Type="http://schemas.openxmlformats.org/officeDocument/2006/relationships/image" Target="../media/image196.png"/></Relationships>
</file>

<file path=ppt/slides/_rels/slide72.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72.xml"/><Relationship Id="rId1" Type="http://schemas.openxmlformats.org/officeDocument/2006/relationships/slideLayout" Target="../slideLayouts/slideLayout15.xml"/></Relationships>
</file>

<file path=ppt/slides/_rels/slide73.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73.xml"/><Relationship Id="rId1" Type="http://schemas.openxmlformats.org/officeDocument/2006/relationships/slideLayout" Target="../slideLayouts/slideLayout15.xml"/><Relationship Id="rId4" Type="http://schemas.openxmlformats.org/officeDocument/2006/relationships/image" Target="../media/image199.png"/></Relationships>
</file>

<file path=ppt/slides/_rels/slide74.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74.xml"/><Relationship Id="rId1" Type="http://schemas.openxmlformats.org/officeDocument/2006/relationships/slideLayout" Target="../slideLayouts/slideLayout15.xml"/></Relationships>
</file>

<file path=ppt/slides/_rels/slide75.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75.xml"/><Relationship Id="rId1" Type="http://schemas.openxmlformats.org/officeDocument/2006/relationships/slideLayout" Target="../slideLayouts/slideLayout15.xml"/><Relationship Id="rId4" Type="http://schemas.openxmlformats.org/officeDocument/2006/relationships/image" Target="../media/image202.png"/></Relationships>
</file>

<file path=ppt/slides/_rels/slide76.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76.xml"/><Relationship Id="rId1" Type="http://schemas.openxmlformats.org/officeDocument/2006/relationships/slideLayout" Target="../slideLayouts/slideLayout15.xml"/></Relationships>
</file>

<file path=ppt/slides/_rels/slide77.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77.xml"/><Relationship Id="rId1" Type="http://schemas.openxmlformats.org/officeDocument/2006/relationships/slideLayout" Target="../slideLayouts/slideLayout15.xml"/></Relationships>
</file>

<file path=ppt/slides/_rels/slide78.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78.xml"/><Relationship Id="rId1" Type="http://schemas.openxmlformats.org/officeDocument/2006/relationships/slideLayout" Target="../slideLayouts/slideLayout15.xml"/><Relationship Id="rId5" Type="http://schemas.openxmlformats.org/officeDocument/2006/relationships/image" Target="../media/image207.png"/><Relationship Id="rId4" Type="http://schemas.openxmlformats.org/officeDocument/2006/relationships/image" Target="../media/image206.png"/></Relationships>
</file>

<file path=ppt/slides/_rels/slide79.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79.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80.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80.xml"/><Relationship Id="rId1" Type="http://schemas.openxmlformats.org/officeDocument/2006/relationships/slideLayout" Target="../slideLayouts/slideLayout15.xml"/><Relationship Id="rId4" Type="http://schemas.openxmlformats.org/officeDocument/2006/relationships/image" Target="../media/image210.png"/></Relationships>
</file>

<file path=ppt/slides/_rels/slide81.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81.xml"/><Relationship Id="rId1" Type="http://schemas.openxmlformats.org/officeDocument/2006/relationships/slideLayout" Target="../slideLayouts/slideLayout15.xml"/></Relationships>
</file>

<file path=ppt/slides/_rels/slide82.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82.xml"/><Relationship Id="rId1" Type="http://schemas.openxmlformats.org/officeDocument/2006/relationships/slideLayout" Target="../slideLayouts/slideLayout15.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4.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5.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85.xml"/><Relationship Id="rId1" Type="http://schemas.openxmlformats.org/officeDocument/2006/relationships/slideLayout" Target="../slideLayouts/slideLayout22.xml"/><Relationship Id="rId6" Type="http://schemas.microsoft.com/office/2007/relationships/hdphoto" Target="../media/hdphoto2.wdp"/><Relationship Id="rId5" Type="http://schemas.openxmlformats.org/officeDocument/2006/relationships/image" Target="../media/image17.png"/><Relationship Id="rId4" Type="http://schemas.openxmlformats.org/officeDocument/2006/relationships/hyperlink" Target="https://aka.ms/CustomerHubSurvey" TargetMode="External"/></Relationships>
</file>

<file path=ppt/slides/_rels/slide86.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9.png"/><Relationship Id="rId7" Type="http://schemas.openxmlformats.org/officeDocument/2006/relationships/hyperlink" Target="https://aka.ms/CustomerHubSessions" TargetMode="External"/><Relationship Id="rId2" Type="http://schemas.openxmlformats.org/officeDocument/2006/relationships/notesSlide" Target="../notesSlides/notesSlide86.xml"/><Relationship Id="rId1" Type="http://schemas.openxmlformats.org/officeDocument/2006/relationships/slideLayout" Target="../slideLayouts/slideLayout26.xml"/><Relationship Id="rId6" Type="http://schemas.microsoft.com/office/2007/relationships/hdphoto" Target="../media/hdphoto2.wdp"/><Relationship Id="rId5" Type="http://schemas.openxmlformats.org/officeDocument/2006/relationships/image" Target="../media/image17.png"/><Relationship Id="rId4" Type="http://schemas.openxmlformats.org/officeDocument/2006/relationships/image" Target="../media/image5.png"/></Relationships>
</file>

<file path=ppt/slides/_rels/slide87.xml.rels><?xml version="1.0" encoding="UTF-8" standalone="yes"?>
<Relationships xmlns="http://schemas.openxmlformats.org/package/2006/relationships"><Relationship Id="rId3" Type="http://schemas.openxmlformats.org/officeDocument/2006/relationships/hyperlink" Target="https://adoption.microsoft.com/customer-hub/microsoft-365-copilot-chat-for-all-users/" TargetMode="External"/><Relationship Id="rId2" Type="http://schemas.openxmlformats.org/officeDocument/2006/relationships/notesSlide" Target="../notesSlides/notesSlide87.xml"/><Relationship Id="rId1" Type="http://schemas.openxmlformats.org/officeDocument/2006/relationships/slideLayout" Target="../slideLayouts/slideLayout29.xml"/><Relationship Id="rId6" Type="http://schemas.openxmlformats.org/officeDocument/2006/relationships/hyperlink" Target="https://aka.ms/CustomerHubSessions" TargetMode="External"/><Relationship Id="rId5" Type="http://schemas.openxmlformats.org/officeDocument/2006/relationships/image" Target="../media/image5.png"/><Relationship Id="rId4" Type="http://schemas.openxmlformats.org/officeDocument/2006/relationships/image" Target="../media/image219.png"/></Relationships>
</file>

<file path=ppt/slides/_rels/slide8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88.xml"/><Relationship Id="rId1" Type="http://schemas.openxmlformats.org/officeDocument/2006/relationships/slideLayout" Target="../slideLayouts/slideLayout21.xml"/><Relationship Id="rId5" Type="http://schemas.openxmlformats.org/officeDocument/2006/relationships/image" Target="../media/image221.svg"/><Relationship Id="rId4" Type="http://schemas.openxmlformats.org/officeDocument/2006/relationships/hyperlink" Target="https://aka.ms/M365Champions"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89.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103.png"/><Relationship Id="rId7" Type="http://schemas.openxmlformats.org/officeDocument/2006/relationships/image" Target="../media/image107.png"/><Relationship Id="rId2" Type="http://schemas.openxmlformats.org/officeDocument/2006/relationships/notesSlide" Target="../notesSlides/notesSlide9.xml"/><Relationship Id="rId1" Type="http://schemas.openxmlformats.org/officeDocument/2006/relationships/slideLayout" Target="../slideLayouts/slideLayout15.xml"/><Relationship Id="rId6" Type="http://schemas.openxmlformats.org/officeDocument/2006/relationships/image" Target="../media/image106.png"/><Relationship Id="rId5" Type="http://schemas.openxmlformats.org/officeDocument/2006/relationships/image" Target="../media/image105.svg"/><Relationship Id="rId4" Type="http://schemas.openxmlformats.org/officeDocument/2006/relationships/image" Target="../media/image104.png"/><Relationship Id="rId9" Type="http://schemas.openxmlformats.org/officeDocument/2006/relationships/image" Target="../media/image109.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DAB78B8C-EFEA-2E5D-EE39-A01559AB7FAC}"/>
              </a:ext>
            </a:extLst>
          </p:cNvPr>
          <p:cNvSpPr>
            <a:spLocks noGrp="1"/>
          </p:cNvSpPr>
          <p:nvPr>
            <p:ph type="title"/>
          </p:nvPr>
        </p:nvSpPr>
        <p:spPr>
          <a:xfrm>
            <a:off x="584199" y="2162063"/>
            <a:ext cx="5957278" cy="1421928"/>
          </a:xfrm>
          <a:prstGeom prst="rect">
            <a:avLst/>
          </a:prstGeom>
        </p:spPr>
        <p:txBody>
          <a:bodyPr wrap="square" lIns="0" tIns="45720" rIns="0" bIns="45720" anchor="t">
            <a:spAutoFit/>
          </a:bodyPr>
          <a:lstStyle/>
          <a:p>
            <a:pPr defTabSz="457200">
              <a:lnSpc>
                <a:spcPct val="90000"/>
              </a:lnSpc>
              <a:spcBef>
                <a:spcPts val="0"/>
              </a:spcBef>
              <a:defRPr/>
            </a:pPr>
            <a:r>
              <a:rPr lang="fr-fr" sz="4800">
                <a:ln>
                  <a:noFill/>
                </a:ln>
                <a:gradFill flip="none">
                  <a:gsLst>
                    <a:gs pos="0">
                      <a:srgbClr val="94D8FE"/>
                    </a:gs>
                    <a:gs pos="100000">
                      <a:srgbClr val="FFFFFF"/>
                    </a:gs>
                  </a:gsLst>
                  <a:lin ang="16200000" scaled="1"/>
                  <a:tileRect/>
                </a:gradFill>
                <a:latin typeface="Segoe Sans Display Semibold"/>
                <a:cs typeface="Segoe Sans Display Semibold"/>
              </a:rPr>
              <a:t>Bonjour et bienvenue sur</a:t>
            </a:r>
            <a:r>
              <a:rPr lang="fr-fr" sz="4800">
                <a:gradFill flip="none">
                  <a:gsLst>
                    <a:gs pos="0">
                      <a:srgbClr val="94D8FE"/>
                    </a:gs>
                    <a:gs pos="100000">
                      <a:srgbClr val="FFFFFF"/>
                    </a:gs>
                  </a:gsLst>
                  <a:lin ang="16200000" scaled="1"/>
                  <a:tileRect/>
                </a:gradFill>
                <a:latin typeface="Segoe Sans Display Semibold"/>
                <a:cs typeface="Segoe Sans Display Semibold"/>
              </a:rPr>
              <a:t> </a:t>
            </a:r>
            <a:r>
              <a:rPr lang="fr-fr" sz="4800">
                <a:ln>
                  <a:noFill/>
                </a:ln>
                <a:gradFill flip="none">
                  <a:gsLst>
                    <a:gs pos="0">
                      <a:srgbClr val="94D8FE"/>
                    </a:gs>
                    <a:gs pos="100000">
                      <a:srgbClr val="FFFFFF"/>
                    </a:gs>
                  </a:gsLst>
                  <a:lin ang="16200000" scaled="1"/>
                  <a:tileRect/>
                </a:gradFill>
                <a:latin typeface="Segoe Sans Display Semibold"/>
                <a:cs typeface="Segoe Sans Display Semibold"/>
              </a:rPr>
              <a:t>le Hub client</a:t>
            </a:r>
          </a:p>
        </p:txBody>
      </p:sp>
      <p:sp>
        <p:nvSpPr>
          <p:cNvPr id="6" name="Text Placeholder 16">
            <a:extLst>
              <a:ext uri="{FF2B5EF4-FFF2-40B4-BE49-F238E27FC236}">
                <a16:creationId xmlns:a16="http://schemas.microsoft.com/office/drawing/2014/main" id="{8CB8FEB4-F53C-D2A1-3501-916E64E29296}"/>
              </a:ext>
            </a:extLst>
          </p:cNvPr>
          <p:cNvSpPr txBox="1">
            <a:spLocks/>
          </p:cNvSpPr>
          <p:nvPr/>
        </p:nvSpPr>
        <p:spPr>
          <a:xfrm>
            <a:off x="584200" y="4834378"/>
            <a:ext cx="6858000" cy="276999"/>
          </a:xfrm>
          <a:prstGeom prst="rect">
            <a:avLst/>
          </a:prstGeom>
        </p:spPr>
        <p:txBody>
          <a:bodyPr lIns="0" rIns="0"/>
          <a:lstStyle>
            <a:lvl1pPr marL="0" marR="0" indent="0" algn="l" defTabSz="932742" rtl="0" eaLnBrk="1" fontAlgn="auto" latinLnBrk="0" hangingPunct="1">
              <a:lnSpc>
                <a:spcPct val="100000"/>
              </a:lnSpc>
              <a:spcBef>
                <a:spcPct val="20000"/>
              </a:spcBef>
              <a:spcAft>
                <a:spcPts val="0"/>
              </a:spcAft>
              <a:buClrTx/>
              <a:buSzPct val="90000"/>
              <a:buFontTx/>
              <a:buNone/>
              <a:tabLst/>
              <a:defRPr sz="2800" kern="1200" spc="0" baseline="0">
                <a:solidFill>
                  <a:srgbClr val="091F2C"/>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90000"/>
              </a:lnSpc>
              <a:buSzTx/>
              <a:defRPr/>
            </a:pPr>
            <a:r>
              <a:rPr lang="fr-fr" sz="2000">
                <a:solidFill>
                  <a:prstClr val="white"/>
                </a:solidFill>
                <a:latin typeface="Segoe Sans Display" pitchFamily="2" charset="0"/>
              </a:rPr>
              <a:t>Nous commencerons </a:t>
            </a:r>
            <a:r>
              <a:rPr lang="fr-fr" sz="2000">
                <a:solidFill>
                  <a:prstClr val="white"/>
                </a:solidFill>
                <a:latin typeface="+mj-lt"/>
              </a:rPr>
              <a:t>2 minutes </a:t>
            </a:r>
            <a:r>
              <a:rPr lang="fr-fr" sz="2000">
                <a:solidFill>
                  <a:prstClr val="white"/>
                </a:solidFill>
                <a:latin typeface="Segoe Sans Display" pitchFamily="2" charset="0"/>
              </a:rPr>
              <a:t>après l’heure</a:t>
            </a:r>
          </a:p>
        </p:txBody>
      </p:sp>
    </p:spTree>
    <p:extLst>
      <p:ext uri="{BB962C8B-B14F-4D97-AF65-F5344CB8AC3E}">
        <p14:creationId xmlns:p14="http://schemas.microsoft.com/office/powerpoint/2010/main" val="216504367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F59117-8EB8-690E-A1A5-D0B86D796799}"/>
            </a:ext>
          </a:extLst>
        </p:cNvPr>
        <p:cNvGrpSpPr/>
        <p:nvPr/>
      </p:nvGrpSpPr>
      <p:grpSpPr>
        <a:xfrm>
          <a:off x="0" y="0"/>
          <a:ext cx="0" cy="0"/>
          <a:chOff x="0" y="0"/>
          <a:chExt cx="0" cy="0"/>
        </a:xfrm>
      </p:grpSpPr>
      <p:sp>
        <p:nvSpPr>
          <p:cNvPr id="29" name="Title 3">
            <a:extLst>
              <a:ext uri="{FF2B5EF4-FFF2-40B4-BE49-F238E27FC236}">
                <a16:creationId xmlns:a16="http://schemas.microsoft.com/office/drawing/2014/main" id="{A67191EA-14CF-313D-9611-66B023208207}"/>
              </a:ext>
            </a:extLst>
          </p:cNvPr>
          <p:cNvSpPr>
            <a:spLocks noGrp="1"/>
          </p:cNvSpPr>
          <p:nvPr>
            <p:ph type="title"/>
          </p:nvPr>
        </p:nvSpPr>
        <p:spPr>
          <a:xfrm>
            <a:off x="588263" y="485481"/>
            <a:ext cx="11018520" cy="498598"/>
          </a:xfrm>
        </p:spPr>
        <p:txBody>
          <a:bodyPr/>
          <a:lstStyle/>
          <a:p>
            <a:r>
              <a:rPr lang="fr-fr"/>
              <a:t>Licences Copilot Studio</a:t>
            </a:r>
          </a:p>
        </p:txBody>
      </p:sp>
      <p:sp>
        <p:nvSpPr>
          <p:cNvPr id="3" name="Rectangle: Rounded Corners 2">
            <a:extLst>
              <a:ext uri="{FF2B5EF4-FFF2-40B4-BE49-F238E27FC236}">
                <a16:creationId xmlns:a16="http://schemas.microsoft.com/office/drawing/2014/main" id="{25E8E571-CF44-01DE-F662-A8A027EAA50D}"/>
              </a:ext>
              <a:ext uri="{C183D7F6-B498-43B3-948B-1728B52AA6E4}">
                <adec:decorative xmlns:adec="http://schemas.microsoft.com/office/drawing/2017/decorative" val="1"/>
              </a:ext>
            </a:extLst>
          </p:cNvPr>
          <p:cNvSpPr/>
          <p:nvPr/>
        </p:nvSpPr>
        <p:spPr bwMode="auto">
          <a:xfrm>
            <a:off x="359227" y="1777382"/>
            <a:ext cx="11538858" cy="4156748"/>
          </a:xfrm>
          <a:prstGeom prst="roundRect">
            <a:avLst>
              <a:gd name="adj" fmla="val 6831"/>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Segoe UI"/>
              <a:ea typeface="+mn-ea"/>
              <a:cs typeface="Segoe UI"/>
            </a:endParaRPr>
          </a:p>
        </p:txBody>
      </p:sp>
      <p:cxnSp>
        <p:nvCxnSpPr>
          <p:cNvPr id="4" name="Straight Connector 3">
            <a:extLst>
              <a:ext uri="{FF2B5EF4-FFF2-40B4-BE49-F238E27FC236}">
                <a16:creationId xmlns:a16="http://schemas.microsoft.com/office/drawing/2014/main" id="{95912FF4-CAA9-4251-94F8-7488632C0702}"/>
              </a:ext>
              <a:ext uri="{C183D7F6-B498-43B3-948B-1728B52AA6E4}">
                <adec:decorative xmlns:adec="http://schemas.microsoft.com/office/drawing/2017/decorative" val="1"/>
              </a:ext>
            </a:extLst>
          </p:cNvPr>
          <p:cNvCxnSpPr>
            <a:cxnSpLocks/>
          </p:cNvCxnSpPr>
          <p:nvPr/>
        </p:nvCxnSpPr>
        <p:spPr>
          <a:xfrm>
            <a:off x="6097515" y="1777382"/>
            <a:ext cx="0" cy="415674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Rounded Rectangle 59">
            <a:extLst>
              <a:ext uri="{FF2B5EF4-FFF2-40B4-BE49-F238E27FC236}">
                <a16:creationId xmlns:a16="http://schemas.microsoft.com/office/drawing/2014/main" id="{BB7D9146-F91E-17A0-E3EE-53BBDD475CDE}"/>
              </a:ext>
            </a:extLst>
          </p:cNvPr>
          <p:cNvSpPr/>
          <p:nvPr/>
        </p:nvSpPr>
        <p:spPr bwMode="auto">
          <a:xfrm>
            <a:off x="3329203" y="2201457"/>
            <a:ext cx="2705634" cy="759665"/>
          </a:xfrm>
          <a:prstGeom prst="roundRect">
            <a:avLst>
              <a:gd name="adj" fmla="val 50000"/>
            </a:avLst>
          </a:prstGeom>
          <a:solidFill>
            <a:schemeClr val="accent1">
              <a:lumMod val="75000"/>
            </a:schemeClr>
          </a:solidFill>
          <a:ln>
            <a:noFill/>
          </a:ln>
          <a:effectLst>
            <a:outerShdw blurRad="63500" dist="381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600" b="0" i="0" u="none" strike="noStrike" kern="0" cap="none" spc="0" normalizeH="0" baseline="0" noProof="0">
                <a:ln>
                  <a:noFill/>
                </a:ln>
                <a:solidFill>
                  <a:schemeClr val="tx1"/>
                </a:solidFill>
                <a:effectLst/>
                <a:uLnTx/>
                <a:uFillTx/>
                <a:latin typeface="Segoe UI Semibold"/>
                <a:ea typeface="+mn-ea"/>
                <a:cs typeface="Segoe UI Semibold" panose="020B0702040204020203" pitchFamily="34" charset="0"/>
              </a:rPr>
              <a:t>Packs de crédits </a:t>
            </a:r>
            <a:r>
              <a:rPr kumimoji="0" lang="fr-fr" sz="1600" b="0" i="0" u="none" strike="noStrike" kern="0" cap="none" spc="0" normalizeH="0" baseline="0" noProof="0" err="1">
                <a:ln>
                  <a:noFill/>
                </a:ln>
                <a:solidFill>
                  <a:schemeClr val="tx1"/>
                </a:solidFill>
                <a:effectLst/>
                <a:uLnTx/>
                <a:uFillTx/>
                <a:latin typeface="Segoe UI Semibold"/>
                <a:ea typeface="+mn-ea"/>
                <a:cs typeface="Segoe UI Semibold" panose="020B0702040204020203" pitchFamily="34" charset="0"/>
              </a:rPr>
              <a:t>Copilot</a:t>
            </a:r>
            <a:endParaRPr kumimoji="0" lang="fr-fr" sz="1600" b="0" i="0" u="none" strike="noStrike" kern="0" cap="none" spc="0" normalizeH="0" baseline="0" noProof="0">
              <a:ln>
                <a:noFill/>
              </a:ln>
              <a:solidFill>
                <a:schemeClr val="tx1"/>
              </a:solidFill>
              <a:effectLst/>
              <a:uLnTx/>
              <a:uFillTx/>
              <a:latin typeface="Segoe UI Semibold"/>
              <a:ea typeface="+mn-ea"/>
              <a:cs typeface="Segoe UI Semibold" panose="020B0702040204020203" pitchFamily="34" charset="0"/>
            </a:endParaRPr>
          </a:p>
        </p:txBody>
      </p:sp>
      <p:sp>
        <p:nvSpPr>
          <p:cNvPr id="6" name="Rounded Rectangle 59">
            <a:extLst>
              <a:ext uri="{FF2B5EF4-FFF2-40B4-BE49-F238E27FC236}">
                <a16:creationId xmlns:a16="http://schemas.microsoft.com/office/drawing/2014/main" id="{AFD26256-DF73-0057-8508-63DB70198C3C}"/>
              </a:ext>
            </a:extLst>
          </p:cNvPr>
          <p:cNvSpPr/>
          <p:nvPr/>
        </p:nvSpPr>
        <p:spPr bwMode="auto">
          <a:xfrm>
            <a:off x="9394862" y="2201457"/>
            <a:ext cx="2319021" cy="759665"/>
          </a:xfrm>
          <a:prstGeom prst="roundRect">
            <a:avLst>
              <a:gd name="adj" fmla="val 50000"/>
            </a:avLst>
          </a:prstGeom>
          <a:solidFill>
            <a:schemeClr val="tx2"/>
          </a:solidFill>
          <a:ln>
            <a:noFill/>
          </a:ln>
          <a:effectLst>
            <a:outerShdw blurRad="63500" dist="381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600" b="0" i="0" u="none" strike="noStrike" kern="0" cap="none" spc="0" normalizeH="0" baseline="0" noProof="0">
                <a:ln>
                  <a:noFill/>
                </a:ln>
                <a:solidFill>
                  <a:schemeClr val="bg1"/>
                </a:solidFill>
                <a:effectLst/>
                <a:uLnTx/>
                <a:uFillTx/>
                <a:latin typeface="Segoe UI Semibold"/>
                <a:ea typeface="+mn-ea"/>
                <a:cs typeface="Segoe UI Semibold" panose="020B0702040204020203" pitchFamily="34" charset="0"/>
              </a:rPr>
              <a:t>Paiement </a:t>
            </a:r>
            <a:br>
              <a:rPr kumimoji="0" lang="fr-fr" sz="1600" b="0" i="0" u="none" strike="noStrike" kern="0" cap="none" spc="0" normalizeH="0" baseline="0" noProof="0">
                <a:ln>
                  <a:noFill/>
                </a:ln>
                <a:solidFill>
                  <a:schemeClr val="bg1"/>
                </a:solidFill>
                <a:effectLst/>
                <a:uLnTx/>
                <a:uFillTx/>
                <a:latin typeface="Segoe UI Semibold"/>
                <a:ea typeface="+mn-ea"/>
                <a:cs typeface="Segoe UI Semibold" panose="020B0702040204020203" pitchFamily="34" charset="0"/>
              </a:rPr>
            </a:br>
            <a:r>
              <a:rPr kumimoji="0" lang="fr-fr" sz="1600" b="0" i="0" u="none" strike="noStrike" kern="0" cap="none" spc="0" normalizeH="0" baseline="0" noProof="0">
                <a:ln>
                  <a:noFill/>
                </a:ln>
                <a:solidFill>
                  <a:schemeClr val="bg1"/>
                </a:solidFill>
                <a:effectLst/>
                <a:uLnTx/>
                <a:uFillTx/>
                <a:latin typeface="Segoe UI Semibold"/>
                <a:ea typeface="+mn-ea"/>
                <a:cs typeface="Segoe UI Semibold" panose="020B0702040204020203" pitchFamily="34" charset="0"/>
              </a:rPr>
              <a:t>à l’utilisation</a:t>
            </a:r>
          </a:p>
        </p:txBody>
      </p:sp>
      <p:grpSp>
        <p:nvGrpSpPr>
          <p:cNvPr id="7" name="Group 6">
            <a:extLst>
              <a:ext uri="{FF2B5EF4-FFF2-40B4-BE49-F238E27FC236}">
                <a16:creationId xmlns:a16="http://schemas.microsoft.com/office/drawing/2014/main" id="{07EFA956-98FA-802C-D620-4A0C0677E269}"/>
              </a:ext>
              <a:ext uri="{C183D7F6-B498-43B3-948B-1728B52AA6E4}">
                <adec:decorative xmlns:adec="http://schemas.microsoft.com/office/drawing/2017/decorative" val="1"/>
              </a:ext>
            </a:extLst>
          </p:cNvPr>
          <p:cNvGrpSpPr/>
          <p:nvPr/>
        </p:nvGrpSpPr>
        <p:grpSpPr>
          <a:xfrm>
            <a:off x="3339724" y="3152303"/>
            <a:ext cx="2575733" cy="2031325"/>
            <a:chOff x="5285145" y="3496809"/>
            <a:chExt cx="2575733" cy="2031325"/>
          </a:xfrm>
        </p:grpSpPr>
        <p:sp>
          <p:nvSpPr>
            <p:cNvPr id="8" name="TextBox 7">
              <a:extLst>
                <a:ext uri="{FF2B5EF4-FFF2-40B4-BE49-F238E27FC236}">
                  <a16:creationId xmlns:a16="http://schemas.microsoft.com/office/drawing/2014/main" id="{CC3766C0-8359-6C30-C709-0B8AB1DB8AD2}"/>
                </a:ext>
              </a:extLst>
            </p:cNvPr>
            <p:cNvSpPr txBox="1"/>
            <p:nvPr/>
          </p:nvSpPr>
          <p:spPr>
            <a:xfrm>
              <a:off x="5622879" y="3496809"/>
              <a:ext cx="2237999" cy="203132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Packs de crédits </a:t>
              </a:r>
              <a:br>
                <a:rPr sz="1600">
                  <a:latin typeface="Segoe UI" panose="020B0502040204020203" pitchFamily="34" charset="0"/>
                  <a:cs typeface="Segoe UI" panose="020B0502040204020203" pitchFamily="34" charset="0"/>
                </a:rPr>
              </a:br>
              <a:r>
                <a:rPr kumimoji="0" lang="fr-fr" sz="1600" b="0" i="0" u="none" strike="noStrike" kern="1200" cap="none" spc="0" normalizeH="0" baseline="0" noProof="0" err="1">
                  <a:ln>
                    <a:noFill/>
                  </a:ln>
                  <a:effectLst/>
                  <a:uLnTx/>
                  <a:uFillTx/>
                  <a:latin typeface="Segoe UI" panose="020B0502040204020203" pitchFamily="34" charset="0"/>
                  <a:cs typeface="Segoe UI" panose="020B0502040204020203" pitchFamily="34" charset="0"/>
                </a:rPr>
                <a:t>Copilot</a:t>
              </a:r>
              <a:r>
                <a:rPr kumimoji="0" lang="fr-fr"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 à l’échelle </a:t>
              </a:r>
              <a:br>
                <a:rPr kumimoji="0" lang="fr-fr"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br>
              <a:r>
                <a:rPr kumimoji="0" lang="fr-fr"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du locataire</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25 000 crédits/moi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200 $ par pack/mois</a:t>
              </a:r>
              <a:endPar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endParaRPr>
            </a:p>
          </p:txBody>
        </p:sp>
        <p:sp>
          <p:nvSpPr>
            <p:cNvPr id="9" name="Graphic 21" descr="Badge Tick1 avec remplissage uni">
              <a:extLst>
                <a:ext uri="{FF2B5EF4-FFF2-40B4-BE49-F238E27FC236}">
                  <a16:creationId xmlns:a16="http://schemas.microsoft.com/office/drawing/2014/main" id="{E659C1D8-239D-795B-2C42-544BF5E957DA}"/>
                </a:ext>
              </a:extLst>
            </p:cNvPr>
            <p:cNvSpPr/>
            <p:nvPr/>
          </p:nvSpPr>
          <p:spPr>
            <a:xfrm>
              <a:off x="5285145" y="3526426"/>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solidFill>
              <a:schemeClr val="accent1">
                <a:lumMod val="75000"/>
              </a:schemeClr>
            </a:solidFill>
            <a:ln w="28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0" name="Graphic 21" descr="Badge Tick1 avec remplissage uni">
              <a:extLst>
                <a:ext uri="{FF2B5EF4-FFF2-40B4-BE49-F238E27FC236}">
                  <a16:creationId xmlns:a16="http://schemas.microsoft.com/office/drawing/2014/main" id="{0875D660-81AD-48A8-40F1-433E1855BF70}"/>
                </a:ext>
              </a:extLst>
            </p:cNvPr>
            <p:cNvSpPr/>
            <p:nvPr/>
          </p:nvSpPr>
          <p:spPr>
            <a:xfrm>
              <a:off x="5285145" y="4648588"/>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solidFill>
              <a:schemeClr val="accent1">
                <a:lumMod val="75000"/>
              </a:schemeClr>
            </a:solidFill>
            <a:ln w="28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1" name="Graphic 21" descr="Badge Tick1 avec remplissage uni">
              <a:extLst>
                <a:ext uri="{FF2B5EF4-FFF2-40B4-BE49-F238E27FC236}">
                  <a16:creationId xmlns:a16="http://schemas.microsoft.com/office/drawing/2014/main" id="{EED8A49C-7C1B-BE64-5DA1-56FB46858922}"/>
                </a:ext>
              </a:extLst>
            </p:cNvPr>
            <p:cNvSpPr/>
            <p:nvPr/>
          </p:nvSpPr>
          <p:spPr>
            <a:xfrm>
              <a:off x="5285145" y="5297235"/>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solidFill>
              <a:schemeClr val="accent1">
                <a:lumMod val="75000"/>
              </a:schemeClr>
            </a:solidFill>
            <a:ln w="28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F48724FC-58B6-BD87-C1C6-ED8DCE2007C8}"/>
              </a:ext>
              <a:ext uri="{C183D7F6-B498-43B3-948B-1728B52AA6E4}">
                <adec:decorative xmlns:adec="http://schemas.microsoft.com/office/drawing/2017/decorative" val="1"/>
              </a:ext>
            </a:extLst>
          </p:cNvPr>
          <p:cNvGrpSpPr/>
          <p:nvPr/>
        </p:nvGrpSpPr>
        <p:grpSpPr>
          <a:xfrm>
            <a:off x="9557869" y="3153051"/>
            <a:ext cx="2156009" cy="2031325"/>
            <a:chOff x="8626880" y="3496809"/>
            <a:chExt cx="2156009" cy="2031325"/>
          </a:xfrm>
        </p:grpSpPr>
        <p:sp>
          <p:nvSpPr>
            <p:cNvPr id="13" name="TextBox 12">
              <a:extLst>
                <a:ext uri="{FF2B5EF4-FFF2-40B4-BE49-F238E27FC236}">
                  <a16:creationId xmlns:a16="http://schemas.microsoft.com/office/drawing/2014/main" id="{80135A6E-2438-DC7F-01E3-B17E26DDDA47}"/>
                </a:ext>
              </a:extLst>
            </p:cNvPr>
            <p:cNvSpPr txBox="1"/>
            <p:nvPr/>
          </p:nvSpPr>
          <p:spPr>
            <a:xfrm>
              <a:off x="8964614" y="3496809"/>
              <a:ext cx="1818275" cy="203132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1600" b="0" i="0" u="none" strike="noStrike" kern="1200" cap="none" spc="0" normalizeH="0" baseline="0" noProof="0">
                  <a:ln>
                    <a:noFill/>
                  </a:ln>
                  <a:effectLst/>
                  <a:uLnTx/>
                  <a:uFillTx/>
                  <a:latin typeface="Segoe UI"/>
                  <a:ea typeface="+mn-ea"/>
                  <a:cs typeface="Segoe Sans Display" pitchFamily="2" charset="0"/>
                </a:rPr>
                <a:t>Nouveau compteur PAYG</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a:ln>
                  <a:noFill/>
                </a:ln>
                <a:effectLst/>
                <a:uLnTx/>
                <a:uFillTx/>
                <a:latin typeface="Segoe UI"/>
                <a:ea typeface="+mn-ea"/>
                <a:cs typeface="Segoe Sans Display" pitchFamily="2"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1600" b="0" i="0" u="none" strike="noStrike" kern="1200" cap="none" spc="0" normalizeH="0" baseline="0" noProof="0">
                  <a:ln>
                    <a:noFill/>
                  </a:ln>
                  <a:effectLst/>
                  <a:uLnTx/>
                  <a:uFillTx/>
                  <a:latin typeface="Segoe UI"/>
                  <a:ea typeface="+mn-ea"/>
                  <a:cs typeface="Segoe Sans Display" pitchFamily="2" charset="0"/>
                </a:rPr>
                <a:t>0,01 $/crédit</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a:ln>
                  <a:noFill/>
                </a:ln>
                <a:effectLst/>
                <a:uLnTx/>
                <a:uFillTx/>
                <a:latin typeface="Segoe UI"/>
                <a:ea typeface="+mn-ea"/>
                <a:cs typeface="Segoe Sans Display" pitchFamily="2"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1600" b="0" i="0" u="none" strike="noStrike" kern="1200" cap="none" spc="0" normalizeH="0" baseline="0" noProof="0">
                  <a:ln>
                    <a:noFill/>
                  </a:ln>
                  <a:effectLst/>
                  <a:uLnTx/>
                  <a:uFillTx/>
                  <a:latin typeface="Segoe UI"/>
                  <a:ea typeface="+mn-ea"/>
                  <a:cs typeface="Segoe Sans Display" pitchFamily="2" charset="0"/>
                </a:rPr>
                <a:t>Peut être décompté du MACC</a:t>
              </a:r>
            </a:p>
          </p:txBody>
        </p:sp>
        <p:sp>
          <p:nvSpPr>
            <p:cNvPr id="14" name="Graphic 21" descr="Badge Tick1 avec remplissage uni">
              <a:extLst>
                <a:ext uri="{FF2B5EF4-FFF2-40B4-BE49-F238E27FC236}">
                  <a16:creationId xmlns:a16="http://schemas.microsoft.com/office/drawing/2014/main" id="{7D323EDA-CABF-6680-4C60-A2365CB7BDE3}"/>
                </a:ext>
              </a:extLst>
            </p:cNvPr>
            <p:cNvSpPr/>
            <p:nvPr/>
          </p:nvSpPr>
          <p:spPr>
            <a:xfrm>
              <a:off x="8626880" y="3526426"/>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solidFill>
              <a:schemeClr val="tx2"/>
            </a:solidFill>
            <a:ln w="28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 name="Graphic 21" descr="Badge Tick1 avec remplissage uni">
              <a:extLst>
                <a:ext uri="{FF2B5EF4-FFF2-40B4-BE49-F238E27FC236}">
                  <a16:creationId xmlns:a16="http://schemas.microsoft.com/office/drawing/2014/main" id="{5EA982D7-5F6A-2673-5D64-2C34A537DBC4}"/>
                </a:ext>
              </a:extLst>
            </p:cNvPr>
            <p:cNvSpPr/>
            <p:nvPr/>
          </p:nvSpPr>
          <p:spPr>
            <a:xfrm>
              <a:off x="8626880" y="4443468"/>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solidFill>
              <a:schemeClr val="tx2"/>
            </a:solidFill>
            <a:ln w="28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6" name="Graphic 21" descr="Badge Tick1 avec remplissage uni">
              <a:extLst>
                <a:ext uri="{FF2B5EF4-FFF2-40B4-BE49-F238E27FC236}">
                  <a16:creationId xmlns:a16="http://schemas.microsoft.com/office/drawing/2014/main" id="{BB5A31F0-78A1-D256-50A3-AD89713820D0}"/>
                </a:ext>
              </a:extLst>
            </p:cNvPr>
            <p:cNvSpPr/>
            <p:nvPr/>
          </p:nvSpPr>
          <p:spPr>
            <a:xfrm>
              <a:off x="8626880" y="5060937"/>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solidFill>
              <a:schemeClr val="tx2"/>
            </a:solidFill>
            <a:ln w="28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cxnSp>
        <p:nvCxnSpPr>
          <p:cNvPr id="19" name="Straight Connector 18">
            <a:extLst>
              <a:ext uri="{FF2B5EF4-FFF2-40B4-BE49-F238E27FC236}">
                <a16:creationId xmlns:a16="http://schemas.microsoft.com/office/drawing/2014/main" id="{41809A0C-F8DB-B514-A443-7ABECF1CB01D}"/>
              </a:ext>
              <a:ext uri="{C183D7F6-B498-43B3-948B-1728B52AA6E4}">
                <adec:decorative xmlns:adec="http://schemas.microsoft.com/office/drawing/2017/decorative" val="1"/>
              </a:ext>
            </a:extLst>
          </p:cNvPr>
          <p:cNvCxnSpPr>
            <a:cxnSpLocks/>
          </p:cNvCxnSpPr>
          <p:nvPr/>
        </p:nvCxnSpPr>
        <p:spPr>
          <a:xfrm>
            <a:off x="3229131" y="1777382"/>
            <a:ext cx="0" cy="415674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Rounded Rectangle 59">
            <a:extLst>
              <a:ext uri="{FF2B5EF4-FFF2-40B4-BE49-F238E27FC236}">
                <a16:creationId xmlns:a16="http://schemas.microsoft.com/office/drawing/2014/main" id="{B991E006-FB05-3424-7093-7E2A736C1B21}"/>
              </a:ext>
            </a:extLst>
          </p:cNvPr>
          <p:cNvSpPr/>
          <p:nvPr/>
        </p:nvSpPr>
        <p:spPr bwMode="auto">
          <a:xfrm>
            <a:off x="454310" y="2201456"/>
            <a:ext cx="2705634" cy="759665"/>
          </a:xfrm>
          <a:prstGeom prst="roundRect">
            <a:avLst>
              <a:gd name="adj" fmla="val 50000"/>
            </a:avLst>
          </a:prstGeom>
          <a:solidFill>
            <a:schemeClr val="accent1"/>
          </a:solidFill>
          <a:ln>
            <a:noFill/>
          </a:ln>
          <a:effectLst>
            <a:outerShdw blurRad="63500" dist="381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fr-fr" sz="1600" kern="0">
                <a:solidFill>
                  <a:schemeClr val="tx1"/>
                </a:solidFill>
                <a:latin typeface="Segoe UI Semibold"/>
                <a:cs typeface="Segoe UI Semibold" panose="020B0702040204020203" pitchFamily="34" charset="0"/>
              </a:rPr>
              <a:t>Microsoft 365 Copilot</a:t>
            </a:r>
            <a:endParaRPr kumimoji="0" lang="en-US" sz="1600" b="0" i="0" u="none" strike="noStrike" kern="0" cap="none" spc="0" normalizeH="0" baseline="0" noProof="0">
              <a:ln>
                <a:noFill/>
              </a:ln>
              <a:solidFill>
                <a:schemeClr val="tx1"/>
              </a:solidFill>
              <a:effectLst/>
              <a:uLnTx/>
              <a:uFillTx/>
              <a:latin typeface="Segoe UI Semibold"/>
              <a:ea typeface="+mn-ea"/>
              <a:cs typeface="Segoe UI Semibold" panose="020B0702040204020203" pitchFamily="34" charset="0"/>
            </a:endParaRPr>
          </a:p>
        </p:txBody>
      </p:sp>
      <p:grpSp>
        <p:nvGrpSpPr>
          <p:cNvPr id="21" name="Group 20">
            <a:extLst>
              <a:ext uri="{FF2B5EF4-FFF2-40B4-BE49-F238E27FC236}">
                <a16:creationId xmlns:a16="http://schemas.microsoft.com/office/drawing/2014/main" id="{CD34CC58-D6C1-0A22-056E-153A52D470DA}"/>
              </a:ext>
              <a:ext uri="{C183D7F6-B498-43B3-948B-1728B52AA6E4}">
                <adec:decorative xmlns:adec="http://schemas.microsoft.com/office/drawing/2017/decorative" val="1"/>
              </a:ext>
            </a:extLst>
          </p:cNvPr>
          <p:cNvGrpSpPr/>
          <p:nvPr/>
        </p:nvGrpSpPr>
        <p:grpSpPr>
          <a:xfrm>
            <a:off x="575123" y="3131076"/>
            <a:ext cx="2575733" cy="1954381"/>
            <a:chOff x="5285145" y="3496809"/>
            <a:chExt cx="2575733" cy="1954381"/>
          </a:xfrm>
        </p:grpSpPr>
        <p:sp>
          <p:nvSpPr>
            <p:cNvPr id="22" name="TextBox 21">
              <a:extLst>
                <a:ext uri="{FF2B5EF4-FFF2-40B4-BE49-F238E27FC236}">
                  <a16:creationId xmlns:a16="http://schemas.microsoft.com/office/drawing/2014/main" id="{3B57B8B4-4DE7-A13B-A20C-3E693975AD8D}"/>
                </a:ext>
              </a:extLst>
            </p:cNvPr>
            <p:cNvSpPr txBox="1"/>
            <p:nvPr/>
          </p:nvSpPr>
          <p:spPr>
            <a:xfrm>
              <a:off x="5622879" y="3496809"/>
              <a:ext cx="2237999" cy="195438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fr-fr" sz="1600">
                  <a:latin typeface="Segoe UI" panose="020B0502040204020203" pitchFamily="34" charset="0"/>
                  <a:cs typeface="Segoe UI" panose="020B0502040204020203" pitchFamily="34" charset="0"/>
                </a:rPr>
                <a:t>Licence par utilisateur</a:t>
              </a:r>
              <a:endPar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endParaRPr>
            </a:p>
            <a:p>
              <a:pPr lvl="0">
                <a:spcAft>
                  <a:spcPts val="600"/>
                </a:spcAft>
                <a:defRPr/>
              </a:pPr>
              <a:r>
                <a:rPr lang="fr-fr" sz="1600">
                  <a:latin typeface="Segoe UI" panose="020B0502040204020203" pitchFamily="34" charset="0"/>
                  <a:cs typeface="Segoe UI" panose="020B0502040204020203" pitchFamily="34" charset="0"/>
                </a:rPr>
                <a:t>La plupart des fonctionnalités, sauf les déclencheurs autonomes</a:t>
              </a:r>
              <a:br>
                <a:rPr sz="1600">
                  <a:latin typeface="Segoe UI" panose="020B0502040204020203" pitchFamily="34" charset="0"/>
                  <a:cs typeface="Segoe UI" panose="020B0502040204020203" pitchFamily="34" charset="0"/>
                </a:rPr>
              </a:br>
              <a:endPar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30 </a:t>
              </a:r>
              <a:r>
                <a:rPr lang="fr-fr" sz="1600">
                  <a:latin typeface="Segoe UI" panose="020B0502040204020203" pitchFamily="34" charset="0"/>
                  <a:cs typeface="Segoe UI" panose="020B0502040204020203" pitchFamily="34" charset="0"/>
                </a:rPr>
                <a:t>$</a:t>
              </a:r>
              <a:r>
                <a:rPr kumimoji="0" lang="fr-fr"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 par </a:t>
              </a:r>
              <a:r>
                <a:rPr lang="fr-fr" sz="1600">
                  <a:latin typeface="Segoe UI" panose="020B0502040204020203" pitchFamily="34" charset="0"/>
                  <a:cs typeface="Segoe UI" panose="020B0502040204020203" pitchFamily="34" charset="0"/>
                </a:rPr>
                <a:t>utilisateur</a:t>
              </a:r>
              <a:r>
                <a:rPr kumimoji="0" lang="fr-fr"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mois</a:t>
              </a:r>
              <a:endParaRPr kumimoji="0" lang="en-US" sz="2000" b="0" i="0" u="none" strike="noStrike" kern="1200" cap="none" spc="0" normalizeH="0" baseline="0" noProof="0">
                <a:ln>
                  <a:noFill/>
                </a:ln>
                <a:effectLst/>
                <a:uLnTx/>
                <a:uFillTx/>
                <a:latin typeface="Segoe UI" panose="020B0502040204020203" pitchFamily="34" charset="0"/>
                <a:cs typeface="Segoe UI" panose="020B0502040204020203" pitchFamily="34" charset="0"/>
              </a:endParaRPr>
            </a:p>
          </p:txBody>
        </p:sp>
        <p:sp>
          <p:nvSpPr>
            <p:cNvPr id="23" name="Graphic 21" descr="Badge Tick1 avec remplissage uni">
              <a:extLst>
                <a:ext uri="{FF2B5EF4-FFF2-40B4-BE49-F238E27FC236}">
                  <a16:creationId xmlns:a16="http://schemas.microsoft.com/office/drawing/2014/main" id="{112AC26F-A226-0A7F-E53E-741489B2B8FE}"/>
                </a:ext>
              </a:extLst>
            </p:cNvPr>
            <p:cNvSpPr/>
            <p:nvPr/>
          </p:nvSpPr>
          <p:spPr>
            <a:xfrm>
              <a:off x="5285145" y="3526426"/>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solidFill>
              <a:schemeClr val="accent1"/>
            </a:solidFill>
            <a:ln w="28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24" name="Graphic 21" descr="Badge Tick1 avec remplissage uni">
              <a:extLst>
                <a:ext uri="{FF2B5EF4-FFF2-40B4-BE49-F238E27FC236}">
                  <a16:creationId xmlns:a16="http://schemas.microsoft.com/office/drawing/2014/main" id="{EFC5665E-BDC3-1DCF-A72A-252A9D7CD750}"/>
                </a:ext>
              </a:extLst>
            </p:cNvPr>
            <p:cNvSpPr/>
            <p:nvPr/>
          </p:nvSpPr>
          <p:spPr>
            <a:xfrm>
              <a:off x="5285145" y="4171441"/>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solidFill>
              <a:schemeClr val="accent1"/>
            </a:solidFill>
            <a:ln w="28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25" name="Graphic 21" descr="Badge Tick1 avec remplissage uni">
              <a:extLst>
                <a:ext uri="{FF2B5EF4-FFF2-40B4-BE49-F238E27FC236}">
                  <a16:creationId xmlns:a16="http://schemas.microsoft.com/office/drawing/2014/main" id="{7FD42AC9-BC88-7FD5-BD6F-82489C5E9B2D}"/>
                </a:ext>
              </a:extLst>
            </p:cNvPr>
            <p:cNvSpPr/>
            <p:nvPr/>
          </p:nvSpPr>
          <p:spPr>
            <a:xfrm>
              <a:off x="5285145" y="5177911"/>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solidFill>
              <a:schemeClr val="accent1"/>
            </a:solidFill>
            <a:ln w="28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2" name="Rounded Rectangle 59">
            <a:extLst>
              <a:ext uri="{FF2B5EF4-FFF2-40B4-BE49-F238E27FC236}">
                <a16:creationId xmlns:a16="http://schemas.microsoft.com/office/drawing/2014/main" id="{3BC9468D-EE15-9043-F210-4C22F0D62E88}"/>
              </a:ext>
            </a:extLst>
          </p:cNvPr>
          <p:cNvSpPr/>
          <p:nvPr/>
        </p:nvSpPr>
        <p:spPr bwMode="auto">
          <a:xfrm>
            <a:off x="6184236" y="2200658"/>
            <a:ext cx="3013069" cy="759665"/>
          </a:xfrm>
          <a:prstGeom prst="roundRect">
            <a:avLst>
              <a:gd name="adj" fmla="val 50000"/>
            </a:avLst>
          </a:prstGeom>
          <a:solidFill>
            <a:schemeClr val="accent2"/>
          </a:solidFill>
          <a:ln>
            <a:noFill/>
          </a:ln>
          <a:effectLst>
            <a:outerShdw blurRad="63500" dist="381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fr-fr" sz="1600" i="1" kern="0">
                <a:solidFill>
                  <a:srgbClr val="FEF000"/>
                </a:solidFill>
                <a:latin typeface="Segoe UI Semibold"/>
                <a:cs typeface="Segoe UI Semibold" panose="020B0702040204020203" pitchFamily="34" charset="0"/>
              </a:rPr>
              <a:t>[NOUVEAU] </a:t>
            </a:r>
            <a:r>
              <a:rPr kumimoji="0" lang="fr-fr" sz="1600" b="0" i="0" u="none" strike="noStrike" kern="0" cap="none" spc="0" normalizeH="0" baseline="0" noProof="0">
                <a:ln>
                  <a:noFill/>
                </a:ln>
                <a:solidFill>
                  <a:schemeClr val="bg1"/>
                </a:solidFill>
                <a:effectLst/>
                <a:uLnTx/>
                <a:uFillTx/>
                <a:latin typeface="Segoe UI Semibold"/>
                <a:ea typeface="+mn-ea"/>
                <a:cs typeface="Segoe UI Semibold" panose="020B0702040204020203" pitchFamily="34" charset="0"/>
              </a:rPr>
              <a:t>Unités d’engagement </a:t>
            </a:r>
            <a:r>
              <a:rPr kumimoji="0" lang="fr-fr" sz="1600" b="0" i="0" u="none" strike="noStrike" kern="0" cap="none" spc="0" normalizeH="0" baseline="0" noProof="0" err="1">
                <a:ln>
                  <a:noFill/>
                </a:ln>
                <a:solidFill>
                  <a:schemeClr val="bg1"/>
                </a:solidFill>
                <a:effectLst/>
                <a:uLnTx/>
                <a:uFillTx/>
                <a:latin typeface="Segoe UI Semibold"/>
                <a:ea typeface="+mn-ea"/>
                <a:cs typeface="Segoe UI Semibold" panose="020B0702040204020203" pitchFamily="34" charset="0"/>
              </a:rPr>
              <a:t>Copilot</a:t>
            </a:r>
            <a:r>
              <a:rPr kumimoji="0" lang="fr-fr" sz="1600" b="0" i="0" u="none" strike="noStrike" kern="0" cap="none" spc="0" normalizeH="0" baseline="0" noProof="0">
                <a:ln>
                  <a:noFill/>
                </a:ln>
                <a:solidFill>
                  <a:schemeClr val="bg1"/>
                </a:solidFill>
                <a:effectLst/>
                <a:uLnTx/>
                <a:uFillTx/>
                <a:latin typeface="Segoe UI Semibold"/>
                <a:ea typeface="+mn-ea"/>
                <a:cs typeface="Segoe UI Semibold" panose="020B0702040204020203" pitchFamily="34" charset="0"/>
              </a:rPr>
              <a:t> Studio</a:t>
            </a:r>
          </a:p>
        </p:txBody>
      </p:sp>
      <p:grpSp>
        <p:nvGrpSpPr>
          <p:cNvPr id="17" name="Group 16">
            <a:extLst>
              <a:ext uri="{FF2B5EF4-FFF2-40B4-BE49-F238E27FC236}">
                <a16:creationId xmlns:a16="http://schemas.microsoft.com/office/drawing/2014/main" id="{635E176D-D27A-7C25-93D8-D9E7D91F9A31}"/>
              </a:ext>
              <a:ext uri="{C183D7F6-B498-43B3-948B-1728B52AA6E4}">
                <adec:decorative xmlns:adec="http://schemas.microsoft.com/office/drawing/2017/decorative" val="1"/>
              </a:ext>
            </a:extLst>
          </p:cNvPr>
          <p:cNvGrpSpPr/>
          <p:nvPr/>
        </p:nvGrpSpPr>
        <p:grpSpPr>
          <a:xfrm>
            <a:off x="6254167" y="3131076"/>
            <a:ext cx="2892713" cy="2600712"/>
            <a:chOff x="8626880" y="3496809"/>
            <a:chExt cx="2981307" cy="2600712"/>
          </a:xfrm>
        </p:grpSpPr>
        <p:sp>
          <p:nvSpPr>
            <p:cNvPr id="18" name="TextBox 17">
              <a:extLst>
                <a:ext uri="{FF2B5EF4-FFF2-40B4-BE49-F238E27FC236}">
                  <a16:creationId xmlns:a16="http://schemas.microsoft.com/office/drawing/2014/main" id="{4851A8CF-2500-57BF-A285-E06E3A95FAC7}"/>
                </a:ext>
              </a:extLst>
            </p:cNvPr>
            <p:cNvSpPr txBox="1"/>
            <p:nvPr/>
          </p:nvSpPr>
          <p:spPr>
            <a:xfrm>
              <a:off x="8964614" y="3496809"/>
              <a:ext cx="2643573" cy="260071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fr-fr" sz="1600" b="0" i="0" u="none" strike="noStrike" kern="1200" cap="none" spc="0" normalizeH="0" baseline="0" noProof="0">
                  <a:ln>
                    <a:noFill/>
                  </a:ln>
                  <a:effectLst/>
                  <a:uLnTx/>
                  <a:uFillTx/>
                  <a:latin typeface="Segoe UI"/>
                  <a:ea typeface="+mn-ea"/>
                  <a:cs typeface="Segoe Sans Display" pitchFamily="2" charset="0"/>
                </a:rPr>
                <a:t>Remise de volume intégrée selon le niveau</a:t>
              </a:r>
            </a:p>
            <a:p>
              <a:pPr>
                <a:spcAft>
                  <a:spcPts val="1000"/>
                </a:spcAft>
                <a:defRPr/>
              </a:pPr>
              <a:r>
                <a:rPr lang="fr-fr" sz="1600" kern="0">
                  <a:solidFill>
                    <a:srgbClr val="000000"/>
                  </a:solidFill>
                  <a:latin typeface="Segoe UI"/>
                  <a:cs typeface="Segoe Sans Display" pitchFamily="2" charset="0"/>
                </a:rPr>
                <a:t>Achat unique via Azure (paiement anticipé)</a:t>
              </a:r>
            </a:p>
            <a:p>
              <a:pPr lvl="0">
                <a:spcAft>
                  <a:spcPts val="1000"/>
                </a:spcAft>
                <a:defRPr/>
              </a:pPr>
              <a:r>
                <a:rPr lang="fr-fr" sz="1600" kern="0">
                  <a:solidFill>
                    <a:srgbClr val="000000"/>
                  </a:solidFill>
                  <a:latin typeface="Segoe UI"/>
                  <a:cs typeface="Segoe Sans Display" pitchFamily="2" charset="0"/>
                </a:rPr>
                <a:t>Achat via le portail Azure (nécessite un abonnement Azure)</a:t>
              </a:r>
              <a:endParaRPr kumimoji="0" lang="en-US" sz="1600" b="0" i="0" u="none" strike="noStrike" kern="1200" cap="none" spc="0" normalizeH="0" baseline="0" noProof="0">
                <a:ln>
                  <a:noFill/>
                </a:ln>
                <a:effectLst/>
                <a:uLnTx/>
                <a:uFillTx/>
                <a:latin typeface="Segoe UI"/>
                <a:ea typeface="+mn-ea"/>
                <a:cs typeface="Segoe Sans Display" pitchFamily="2"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fr-fr" sz="1600" b="0" i="0" u="none" strike="noStrike" kern="1200" cap="none" spc="0" normalizeH="0" baseline="0" noProof="0">
                  <a:ln>
                    <a:noFill/>
                  </a:ln>
                  <a:effectLst/>
                  <a:uLnTx/>
                  <a:uFillTx/>
                  <a:latin typeface="Segoe UI"/>
                  <a:ea typeface="+mn-ea"/>
                  <a:cs typeface="Segoe Sans Display" pitchFamily="2" charset="0"/>
                </a:rPr>
                <a:t>Peut être décompté </a:t>
              </a:r>
              <a:br>
                <a:rPr kumimoji="0" lang="fr-fr" sz="1600" b="0" i="0" u="none" strike="noStrike" kern="1200" cap="none" spc="0" normalizeH="0" baseline="0" noProof="0">
                  <a:ln>
                    <a:noFill/>
                  </a:ln>
                  <a:effectLst/>
                  <a:uLnTx/>
                  <a:uFillTx/>
                  <a:latin typeface="Segoe UI"/>
                  <a:ea typeface="+mn-ea"/>
                  <a:cs typeface="Segoe Sans Display" pitchFamily="2" charset="0"/>
                </a:rPr>
              </a:br>
              <a:r>
                <a:rPr kumimoji="0" lang="fr-fr" sz="1600" b="0" i="0" u="none" strike="noStrike" kern="1200" cap="none" spc="0" normalizeH="0" baseline="0" noProof="0">
                  <a:ln>
                    <a:noFill/>
                  </a:ln>
                  <a:effectLst/>
                  <a:uLnTx/>
                  <a:uFillTx/>
                  <a:latin typeface="Segoe UI"/>
                  <a:ea typeface="+mn-ea"/>
                  <a:cs typeface="Segoe Sans Display" pitchFamily="2" charset="0"/>
                </a:rPr>
                <a:t>du MACC</a:t>
              </a:r>
            </a:p>
          </p:txBody>
        </p:sp>
        <p:sp>
          <p:nvSpPr>
            <p:cNvPr id="26" name="Graphic 21" descr="Badge Tick1 avec remplissage uni">
              <a:extLst>
                <a:ext uri="{FF2B5EF4-FFF2-40B4-BE49-F238E27FC236}">
                  <a16:creationId xmlns:a16="http://schemas.microsoft.com/office/drawing/2014/main" id="{EEB0BC92-6C93-5168-E5D9-6CCEBCE7E853}"/>
                </a:ext>
              </a:extLst>
            </p:cNvPr>
            <p:cNvSpPr/>
            <p:nvPr/>
          </p:nvSpPr>
          <p:spPr>
            <a:xfrm>
              <a:off x="8626880" y="3526426"/>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solidFill>
              <a:schemeClr val="accent2"/>
            </a:solidFill>
            <a:ln w="28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27" name="Graphic 21" descr="Badge Tick1 avec remplissage uni">
              <a:extLst>
                <a:ext uri="{FF2B5EF4-FFF2-40B4-BE49-F238E27FC236}">
                  <a16:creationId xmlns:a16="http://schemas.microsoft.com/office/drawing/2014/main" id="{2D833178-0DB8-AEF9-E096-B7192044C354}"/>
                </a:ext>
              </a:extLst>
            </p:cNvPr>
            <p:cNvSpPr/>
            <p:nvPr/>
          </p:nvSpPr>
          <p:spPr>
            <a:xfrm>
              <a:off x="8626880" y="4170040"/>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solidFill>
              <a:schemeClr val="accent2"/>
            </a:solidFill>
            <a:ln w="2877" cap="flat">
              <a:noFill/>
              <a:prstDash val="solid"/>
              <a:miter/>
            </a:ln>
          </p:spPr>
          <p:txBody>
            <a:bodyPr rtlCol="0" anchor="ctr"/>
            <a:lstStyle/>
            <a:p>
              <a:pPr defTabSz="914400"/>
              <a:endParaRPr lang="en-US" sz="1800">
                <a:latin typeface="Segoe UI"/>
              </a:endParaRPr>
            </a:p>
          </p:txBody>
        </p:sp>
        <p:sp>
          <p:nvSpPr>
            <p:cNvPr id="28" name="Graphic 21" descr="Badge Tick1 avec remplissage uni">
              <a:extLst>
                <a:ext uri="{FF2B5EF4-FFF2-40B4-BE49-F238E27FC236}">
                  <a16:creationId xmlns:a16="http://schemas.microsoft.com/office/drawing/2014/main" id="{1B647263-1BCC-7613-4E78-652FC2FED561}"/>
                </a:ext>
              </a:extLst>
            </p:cNvPr>
            <p:cNvSpPr/>
            <p:nvPr/>
          </p:nvSpPr>
          <p:spPr>
            <a:xfrm>
              <a:off x="8626880" y="5664773"/>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solidFill>
              <a:schemeClr val="accent2"/>
            </a:solidFill>
            <a:ln w="28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cxnSp>
        <p:nvCxnSpPr>
          <p:cNvPr id="30" name="Straight Connector 29">
            <a:extLst>
              <a:ext uri="{FF2B5EF4-FFF2-40B4-BE49-F238E27FC236}">
                <a16:creationId xmlns:a16="http://schemas.microsoft.com/office/drawing/2014/main" id="{E0E8623F-CF8C-4924-46DA-27D0BE1E77A6}"/>
              </a:ext>
              <a:ext uri="{C183D7F6-B498-43B3-948B-1728B52AA6E4}">
                <adec:decorative xmlns:adec="http://schemas.microsoft.com/office/drawing/2017/decorative" val="1"/>
              </a:ext>
            </a:extLst>
          </p:cNvPr>
          <p:cNvCxnSpPr>
            <a:cxnSpLocks/>
          </p:cNvCxnSpPr>
          <p:nvPr/>
        </p:nvCxnSpPr>
        <p:spPr>
          <a:xfrm>
            <a:off x="9270871" y="1777382"/>
            <a:ext cx="0" cy="415674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Graphic 21" descr="Badge Tick1 avec remplissage uni">
            <a:extLst>
              <a:ext uri="{FF2B5EF4-FFF2-40B4-BE49-F238E27FC236}">
                <a16:creationId xmlns:a16="http://schemas.microsoft.com/office/drawing/2014/main" id="{7D5DB098-27F8-7422-5F7D-EA3E21C45D11}"/>
              </a:ext>
            </a:extLst>
          </p:cNvPr>
          <p:cNvSpPr/>
          <p:nvPr/>
        </p:nvSpPr>
        <p:spPr>
          <a:xfrm>
            <a:off x="6254165" y="4436191"/>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solidFill>
            <a:schemeClr val="accent2"/>
          </a:solidFill>
          <a:ln w="2877" cap="flat">
            <a:noFill/>
            <a:prstDash val="solid"/>
            <a:miter/>
          </a:ln>
        </p:spPr>
        <p:txBody>
          <a:bodyPr rtlCol="0" anchor="ctr"/>
          <a:lstStyle/>
          <a:p>
            <a:pPr defTabSz="914400"/>
            <a:endParaRPr lang="en-US" sz="1800">
              <a:latin typeface="Segoe UI"/>
            </a:endParaRPr>
          </a:p>
        </p:txBody>
      </p:sp>
    </p:spTree>
    <p:extLst>
      <p:ext uri="{BB962C8B-B14F-4D97-AF65-F5344CB8AC3E}">
        <p14:creationId xmlns:p14="http://schemas.microsoft.com/office/powerpoint/2010/main" val="346467581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C13EA7-ED6C-BC6D-082E-E878AB68F5F5}"/>
            </a:ext>
          </a:extLst>
        </p:cNvPr>
        <p:cNvGrpSpPr/>
        <p:nvPr/>
      </p:nvGrpSpPr>
      <p:grpSpPr>
        <a:xfrm>
          <a:off x="0" y="0"/>
          <a:ext cx="0" cy="0"/>
          <a:chOff x="0" y="0"/>
          <a:chExt cx="0" cy="0"/>
        </a:xfrm>
      </p:grpSpPr>
      <p:sp>
        <p:nvSpPr>
          <p:cNvPr id="29" name="Title 3">
            <a:extLst>
              <a:ext uri="{FF2B5EF4-FFF2-40B4-BE49-F238E27FC236}">
                <a16:creationId xmlns:a16="http://schemas.microsoft.com/office/drawing/2014/main" id="{347DFBDC-7D55-2DAC-3E7C-EBC045793357}"/>
              </a:ext>
            </a:extLst>
          </p:cNvPr>
          <p:cNvSpPr>
            <a:spLocks noGrp="1"/>
          </p:cNvSpPr>
          <p:nvPr>
            <p:ph type="title"/>
          </p:nvPr>
        </p:nvSpPr>
        <p:spPr>
          <a:xfrm>
            <a:off x="588263" y="485481"/>
            <a:ext cx="11018520" cy="766174"/>
          </a:xfrm>
        </p:spPr>
        <p:txBody>
          <a:bodyPr/>
          <a:lstStyle/>
          <a:p>
            <a:r>
              <a:rPr lang="fr-fr"/>
              <a:t>Tarifs de facturation (crédits Copilot)</a:t>
            </a:r>
          </a:p>
        </p:txBody>
      </p:sp>
      <p:sp>
        <p:nvSpPr>
          <p:cNvPr id="28" name="Rectangle: Top Corners Rounded 27">
            <a:extLst>
              <a:ext uri="{FF2B5EF4-FFF2-40B4-BE49-F238E27FC236}">
                <a16:creationId xmlns:a16="http://schemas.microsoft.com/office/drawing/2014/main" id="{6B5685E9-178D-96DA-8E43-4E8E9CC062B6}"/>
              </a:ext>
            </a:extLst>
          </p:cNvPr>
          <p:cNvSpPr/>
          <p:nvPr/>
        </p:nvSpPr>
        <p:spPr bwMode="auto">
          <a:xfrm>
            <a:off x="383420" y="1251657"/>
            <a:ext cx="11483480" cy="569978"/>
          </a:xfrm>
          <a:prstGeom prst="round2SameRect">
            <a:avLst>
              <a:gd name="adj1" fmla="val 50000"/>
              <a:gd name="adj2" fmla="val 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err="1">
              <a:solidFill>
                <a:srgbClr val="FFFFFF"/>
              </a:solidFill>
              <a:latin typeface="Segoe UI Semibold"/>
            </a:endParaRPr>
          </a:p>
        </p:txBody>
      </p:sp>
      <p:graphicFrame>
        <p:nvGraphicFramePr>
          <p:cNvPr id="30" name="Table 29">
            <a:extLst>
              <a:ext uri="{FF2B5EF4-FFF2-40B4-BE49-F238E27FC236}">
                <a16:creationId xmlns:a16="http://schemas.microsoft.com/office/drawing/2014/main" id="{B6690EC2-A778-8515-3714-D7F8ACCFADFF}"/>
              </a:ext>
            </a:extLst>
          </p:cNvPr>
          <p:cNvGraphicFramePr>
            <a:graphicFrameLocks noGrp="1"/>
          </p:cNvGraphicFramePr>
          <p:nvPr>
            <p:extLst>
              <p:ext uri="{D42A27DB-BD31-4B8C-83A1-F6EECF244321}">
                <p14:modId xmlns:p14="http://schemas.microsoft.com/office/powerpoint/2010/main" val="218710496"/>
              </p:ext>
            </p:extLst>
          </p:nvPr>
        </p:nvGraphicFramePr>
        <p:xfrm>
          <a:off x="383420" y="1251656"/>
          <a:ext cx="11483480" cy="5176912"/>
        </p:xfrm>
        <a:graphic>
          <a:graphicData uri="http://schemas.openxmlformats.org/drawingml/2006/table">
            <a:tbl>
              <a:tblPr>
                <a:effectLst/>
              </a:tblPr>
              <a:tblGrid>
                <a:gridCol w="7746168">
                  <a:extLst>
                    <a:ext uri="{9D8B030D-6E8A-4147-A177-3AD203B41FA5}">
                      <a16:colId xmlns:a16="http://schemas.microsoft.com/office/drawing/2014/main" val="589559021"/>
                    </a:ext>
                  </a:extLst>
                </a:gridCol>
                <a:gridCol w="1426788">
                  <a:extLst>
                    <a:ext uri="{9D8B030D-6E8A-4147-A177-3AD203B41FA5}">
                      <a16:colId xmlns:a16="http://schemas.microsoft.com/office/drawing/2014/main" val="86005208"/>
                    </a:ext>
                  </a:extLst>
                </a:gridCol>
                <a:gridCol w="1228165">
                  <a:extLst>
                    <a:ext uri="{9D8B030D-6E8A-4147-A177-3AD203B41FA5}">
                      <a16:colId xmlns:a16="http://schemas.microsoft.com/office/drawing/2014/main" val="3793448644"/>
                    </a:ext>
                  </a:extLst>
                </a:gridCol>
                <a:gridCol w="1082359">
                  <a:extLst>
                    <a:ext uri="{9D8B030D-6E8A-4147-A177-3AD203B41FA5}">
                      <a16:colId xmlns:a16="http://schemas.microsoft.com/office/drawing/2014/main" val="115807747"/>
                    </a:ext>
                  </a:extLst>
                </a:gridCol>
              </a:tblGrid>
              <a:tr h="465171">
                <a:tc>
                  <a:txBody>
                    <a:bodyPr/>
                    <a:lstStyle/>
                    <a:p>
                      <a:endParaRPr lang="en-US" sz="1400">
                        <a:solidFill>
                          <a:schemeClr val="bg1"/>
                        </a:solidFill>
                      </a:endParaRPr>
                    </a:p>
                  </a:txBody>
                  <a:tcPr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prstDash val="soli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fr" sz="1200" b="1" i="0">
                          <a:solidFill>
                            <a:schemeClr val="bg1"/>
                          </a:solidFill>
                          <a:latin typeface="+mj-lt"/>
                          <a:cs typeface="Segoe Sans Display" pitchFamily="2" charset="0"/>
                        </a:rPr>
                        <a:t>Utilisateurs de M365 </a:t>
                      </a:r>
                      <a:r>
                        <a:rPr lang="fr-fr" sz="1200" b="1" i="0" err="1">
                          <a:solidFill>
                            <a:schemeClr val="bg1"/>
                          </a:solidFill>
                          <a:latin typeface="+mj-lt"/>
                          <a:cs typeface="Segoe Sans Display" pitchFamily="2" charset="0"/>
                        </a:rPr>
                        <a:t>Copilot</a:t>
                      </a:r>
                      <a:endParaRPr lang="fr-fr" sz="1200" b="1" i="0">
                        <a:solidFill>
                          <a:schemeClr val="bg1"/>
                        </a:solidFill>
                        <a:latin typeface="+mj-lt"/>
                        <a:cs typeface="Segoe Sans Display" pitchFamily="2" charset="0"/>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fr" sz="1200" b="1" i="0">
                          <a:solidFill>
                            <a:schemeClr val="bg1"/>
                          </a:solidFill>
                          <a:latin typeface="+mj-lt"/>
                          <a:cs typeface="Segoe Sans Display" pitchFamily="2" charset="0"/>
                        </a:rPr>
                        <a:t>Utilisateurs de </a:t>
                      </a:r>
                      <a:r>
                        <a:rPr lang="fr-fr" sz="1200" b="1" i="0" err="1">
                          <a:solidFill>
                            <a:schemeClr val="bg1"/>
                          </a:solidFill>
                          <a:latin typeface="+mj-lt"/>
                          <a:cs typeface="Segoe Sans Display" pitchFamily="2" charset="0"/>
                        </a:rPr>
                        <a:t>Copilot</a:t>
                      </a:r>
                      <a:r>
                        <a:rPr lang="fr-fr" sz="1200" b="1" i="0">
                          <a:solidFill>
                            <a:schemeClr val="bg1"/>
                          </a:solidFill>
                          <a:latin typeface="+mj-lt"/>
                          <a:cs typeface="Segoe Sans Display" pitchFamily="2" charset="0"/>
                        </a:rPr>
                        <a:t> Ch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fr" sz="1200" b="1" i="0">
                          <a:solidFill>
                            <a:schemeClr val="bg1"/>
                          </a:solidFill>
                          <a:latin typeface="+mj-lt"/>
                          <a:cs typeface="Segoe Sans Display" pitchFamily="2" charset="0"/>
                        </a:rPr>
                        <a:t>Agents autonomes</a:t>
                      </a:r>
                    </a:p>
                  </a:txBody>
                  <a:tcPr anchor="ctr">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653662"/>
                  </a:ext>
                </a:extLst>
              </a:tr>
              <a:tr h="604203">
                <a:tc>
                  <a:txBody>
                    <a:bodyPr/>
                    <a:lstStyle/>
                    <a:p>
                      <a:pPr algn="l"/>
                      <a:r>
                        <a:rPr lang="fr-fr" sz="1400" b="1">
                          <a:latin typeface="+mj-lt"/>
                        </a:rPr>
                        <a:t>Réponses </a:t>
                      </a:r>
                      <a:r>
                        <a:rPr lang="fr-fr" sz="1400" b="1" kern="1200">
                          <a:solidFill>
                            <a:schemeClr val="tx1"/>
                          </a:solidFill>
                          <a:latin typeface="+mj-lt"/>
                          <a:ea typeface="+mn-ea"/>
                          <a:cs typeface="Segoe Sans Display" pitchFamily="2" charset="0"/>
                        </a:rPr>
                        <a:t>classiques</a:t>
                      </a:r>
                    </a:p>
                    <a:p>
                      <a:pPr algn="l"/>
                      <a:r>
                        <a:rPr lang="fr-fr" sz="1100">
                          <a:latin typeface="Segoe UI Semilight" panose="020B0402040204020203" pitchFamily="34" charset="0"/>
                          <a:cs typeface="Segoe UI Semilight" panose="020B0402040204020203" pitchFamily="34" charset="0"/>
                        </a:rPr>
                        <a:t>Réponses statiques prédéfinies, rédigées manuellement par les créateurs à partir de sujets (messages, connecteurs, flux, etc.).</a:t>
                      </a:r>
                      <a:endParaRPr lang="en-US" sz="1100" b="1">
                        <a:latin typeface="Segoe UI Semilight" panose="020B0402040204020203" pitchFamily="34" charset="0"/>
                        <a:cs typeface="Segoe UI Semilight" panose="020B0402040204020203" pitchFamily="34" charset="0"/>
                      </a:endParaRPr>
                    </a:p>
                  </a:txBody>
                  <a:tcPr marL="108000" marR="108000" marT="108000" marB="10800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Sans frais supplémentaires</a:t>
                      </a:r>
                    </a:p>
                  </a:txBody>
                  <a:tcPr marL="0" marR="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1</a:t>
                      </a:r>
                    </a:p>
                  </a:txBody>
                  <a:tcPr marL="108000" marR="10800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N/A</a:t>
                      </a:r>
                    </a:p>
                  </a:txBody>
                  <a:tcPr marL="108000" marR="108000" marT="108000" marB="108000" anchor="ctr">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57141068"/>
                  </a:ext>
                </a:extLst>
              </a:tr>
              <a:tr h="596456">
                <a:tc>
                  <a:txBody>
                    <a:bodyPr/>
                    <a:lstStyle/>
                    <a:p>
                      <a:pPr marL="0" algn="l" defTabSz="932742" rtl="0" eaLnBrk="1" latinLnBrk="0" hangingPunct="1">
                        <a:lnSpc>
                          <a:spcPts val="1600"/>
                        </a:lnSpc>
                      </a:pPr>
                      <a:r>
                        <a:rPr lang="fr-fr" sz="1400" b="1" kern="1200">
                          <a:solidFill>
                            <a:schemeClr val="tx1"/>
                          </a:solidFill>
                          <a:latin typeface="+mj-lt"/>
                          <a:ea typeface="+mn-ea"/>
                          <a:cs typeface="Segoe Sans Display" pitchFamily="2" charset="0"/>
                        </a:rPr>
                        <a:t>Réponses ancrées sur le Web</a:t>
                      </a:r>
                    </a:p>
                    <a:p>
                      <a:pPr>
                        <a:lnSpc>
                          <a:spcPts val="1600"/>
                        </a:lnSpc>
                      </a:pPr>
                      <a:r>
                        <a:rPr kumimoji="0" lang="fr-fr" sz="11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Réponses générées dynamiquement en utilisant le Web comme source de connaissances.</a:t>
                      </a:r>
                      <a:endParaRPr kumimoji="0" lang="en-US" sz="1100" b="0" i="0" u="none" strike="noStrike" kern="1200" cap="none" spc="0" normalizeH="0" baseline="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txBody>
                  <a:tcPr marL="108000" marR="108000" marT="108000" marB="10800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Sans frais supplémentaires</a:t>
                      </a:r>
                      <a:r>
                        <a:rPr lang="fr-fr" sz="1200" b="1"/>
                        <a:t> </a:t>
                      </a:r>
                      <a:r>
                        <a:rPr lang="fr-fr" sz="1200" b="1" baseline="30000"/>
                        <a:t>3</a:t>
                      </a:r>
                      <a:endParaRPr lang="en-US" sz="1200">
                        <a:latin typeface="Segoe UI Semilight" panose="020B0402040204020203" pitchFamily="34" charset="0"/>
                        <a:cs typeface="Segoe UI Semilight" panose="020B0402040204020203" pitchFamily="34" charset="0"/>
                      </a:endParaRPr>
                    </a:p>
                  </a:txBody>
                  <a:tcPr marL="0" marR="0" marT="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0</a:t>
                      </a:r>
                    </a:p>
                  </a:txBody>
                  <a:tcPr marL="108000" marR="10800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2</a:t>
                      </a:r>
                    </a:p>
                  </a:txBody>
                  <a:tcPr marL="108000" marR="108000" marT="108000" marB="108000" anchor="ctr">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3475665"/>
                  </a:ext>
                </a:extLst>
              </a:tr>
              <a:tr h="787716">
                <a:tc>
                  <a:txBody>
                    <a:bodyPr/>
                    <a:lstStyle/>
                    <a:p>
                      <a:pPr marL="0" algn="l" defTabSz="932742" rtl="0" eaLnBrk="1" latinLnBrk="0" hangingPunct="1">
                        <a:lnSpc>
                          <a:spcPts val="1600"/>
                        </a:lnSpc>
                      </a:pPr>
                      <a:r>
                        <a:rPr lang="fr-fr" sz="1400" b="1" kern="1200">
                          <a:solidFill>
                            <a:schemeClr val="tx1"/>
                          </a:solidFill>
                          <a:latin typeface="+mj-lt"/>
                          <a:ea typeface="+mn-ea"/>
                          <a:cs typeface="Segoe Sans Display" pitchFamily="2" charset="0"/>
                        </a:rPr>
                        <a:t>Réponses génératives</a:t>
                      </a:r>
                      <a:r>
                        <a:rPr lang="fr-fr" sz="1400" b="1"/>
                        <a:t> </a:t>
                      </a:r>
                      <a:r>
                        <a:rPr lang="fr-fr" sz="1400" b="1" baseline="30000"/>
                        <a:t>4</a:t>
                      </a:r>
                      <a:endParaRPr lang="en-US" sz="1400" b="1" kern="1200">
                        <a:solidFill>
                          <a:schemeClr val="tx1"/>
                        </a:solidFill>
                        <a:latin typeface="+mj-lt"/>
                        <a:ea typeface="+mn-ea"/>
                        <a:cs typeface="Segoe Sans Display" pitchFamily="2" charset="0"/>
                      </a:endParaRPr>
                    </a:p>
                    <a:p>
                      <a:pPr>
                        <a:lnSpc>
                          <a:spcPct val="100000"/>
                        </a:lnSpc>
                      </a:pPr>
                      <a:r>
                        <a:rPr kumimoji="0" lang="fr-fr" sz="11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Réponses générées dynamiquement à partir de sources de connaissances et du contexte, offrant des interactions flexibles et naturelles.</a:t>
                      </a:r>
                      <a:endParaRPr kumimoji="0" lang="en-US" sz="1100" b="0" i="0" u="none" strike="noStrike" kern="1200" cap="none" spc="0" normalizeH="0" baseline="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txBody>
                  <a:tcPr marL="108000" marR="108000" marT="108000" marB="10800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Sans frais supplémentaires</a:t>
                      </a:r>
                    </a:p>
                  </a:txBody>
                  <a:tcPr marL="0" marR="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2</a:t>
                      </a:r>
                    </a:p>
                  </a:txBody>
                  <a:tcPr marL="108000" marR="10800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2</a:t>
                      </a:r>
                    </a:p>
                  </a:txBody>
                  <a:tcPr marL="108000" marR="108000" marT="108000" marB="108000" anchor="ctr">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7389625"/>
                  </a:ext>
                </a:extLst>
              </a:tr>
              <a:tr h="986202">
                <a:tc>
                  <a:txBody>
                    <a:bodyPr/>
                    <a:lstStyle/>
                    <a:p>
                      <a:pPr marL="0" algn="l" defTabSz="932742" rtl="0" eaLnBrk="1" latinLnBrk="0" hangingPunct="1">
                        <a:lnSpc>
                          <a:spcPts val="1600"/>
                        </a:lnSpc>
                      </a:pPr>
                      <a:r>
                        <a:rPr lang="fr-fr" sz="1400" b="1" kern="1200">
                          <a:solidFill>
                            <a:schemeClr val="tx1"/>
                          </a:solidFill>
                          <a:latin typeface="+mj-lt"/>
                          <a:ea typeface="+mn-ea"/>
                          <a:cs typeface="Segoe Sans Display" pitchFamily="2" charset="0"/>
                        </a:rPr>
                        <a:t>Ancrage dans les données Microsoft Graph du locataire pour les messages</a:t>
                      </a:r>
                      <a:r>
                        <a:rPr lang="fr-fr" sz="1400" b="1"/>
                        <a:t> </a:t>
                      </a:r>
                      <a:r>
                        <a:rPr lang="fr-fr" sz="1400" b="1" baseline="30000"/>
                        <a:t>4</a:t>
                      </a:r>
                      <a:endParaRPr lang="en-US" sz="1400" b="1" kern="1200">
                        <a:solidFill>
                          <a:schemeClr val="tx1"/>
                        </a:solidFill>
                        <a:latin typeface="+mj-lt"/>
                        <a:ea typeface="+mn-ea"/>
                        <a:cs typeface="Segoe Sans Display" pitchFamily="2" charset="0"/>
                      </a:endParaRPr>
                    </a:p>
                    <a:p>
                      <a:pPr>
                        <a:lnSpc>
                          <a:spcPct val="100000"/>
                        </a:lnSpc>
                      </a:pPr>
                      <a:r>
                        <a:rPr kumimoji="0" lang="fr-fr" sz="11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Ancrage sur les données pour enrichir les agents IA grâce à des connaissances à jour et contextuelles provenant de Microsoft 365 et de données externes, offrant une sécurité intégrée et respectant les stratégies de gouvernance en matière d’accès aux données.</a:t>
                      </a:r>
                    </a:p>
                  </a:txBody>
                  <a:tcPr marL="108000" marR="108000" marT="108000" marB="10800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Sans frais supplémentaires</a:t>
                      </a:r>
                    </a:p>
                  </a:txBody>
                  <a:tcPr marL="0" marR="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10</a:t>
                      </a:r>
                    </a:p>
                  </a:txBody>
                  <a:tcPr marL="108000" marR="10800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10</a:t>
                      </a:r>
                    </a:p>
                  </a:txBody>
                  <a:tcPr marL="108000" marR="108000" marT="108000" marB="108000" anchor="ctr">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44342325"/>
                  </a:ext>
                </a:extLst>
              </a:tr>
              <a:tr h="778876">
                <a:tc>
                  <a:txBody>
                    <a:bodyPr/>
                    <a:lstStyle/>
                    <a:p>
                      <a:pPr>
                        <a:lnSpc>
                          <a:spcPts val="1600"/>
                        </a:lnSpc>
                      </a:pPr>
                      <a:r>
                        <a:rPr lang="fr-fr" sz="1400" b="1">
                          <a:solidFill>
                            <a:schemeClr val="tx1"/>
                          </a:solidFill>
                          <a:latin typeface="+mj-lt"/>
                          <a:cs typeface="Segoe Sans Display" pitchFamily="2" charset="0"/>
                        </a:rPr>
                        <a:t>Outils des agents</a:t>
                      </a:r>
                      <a:r>
                        <a:rPr lang="fr-fr" sz="1400" b="1"/>
                        <a:t> </a:t>
                      </a:r>
                      <a:r>
                        <a:rPr lang="fr-fr" sz="1400" b="1" baseline="30000"/>
                        <a:t>4 </a:t>
                      </a:r>
                      <a:endParaRPr lang="en-GB" sz="1200" b="1" baseline="30000"/>
                    </a:p>
                    <a:p>
                      <a:pPr algn="l"/>
                      <a:r>
                        <a:rPr lang="fr-fr" sz="1100">
                          <a:latin typeface="Segoe UI Semilight" panose="020B0402040204020203" pitchFamily="34" charset="0"/>
                          <a:cs typeface="Segoe UI Semilight" panose="020B0402040204020203" pitchFamily="34" charset="0"/>
                        </a:rPr>
                        <a:t>Orchestration basée sur l’IA pour les déclencheurs, les sujets, les flux d’agents, les outils de traitement de texte et d’IA générative, les connecteurs Premium de Power Platform et les connecteurs personnalisés.</a:t>
                      </a:r>
                      <a:endParaRPr lang="en-US" sz="1100">
                        <a:latin typeface="Segoe UI Semilight" panose="020B0402040204020203" pitchFamily="34" charset="0"/>
                        <a:cs typeface="Segoe UI Semilight" panose="020B0402040204020203" pitchFamily="34" charset="0"/>
                      </a:endParaRPr>
                    </a:p>
                  </a:txBody>
                  <a:tcPr marL="108000" marR="108000" marT="108000" marB="10800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Sans frais supplémentaires</a:t>
                      </a:r>
                    </a:p>
                  </a:txBody>
                  <a:tcPr marL="0" marR="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5</a:t>
                      </a:r>
                    </a:p>
                  </a:txBody>
                  <a:tcPr marL="108000" marR="10800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5</a:t>
                      </a:r>
                    </a:p>
                  </a:txBody>
                  <a:tcPr marL="108000" marR="108000" marT="108000" marB="108000" anchor="ctr">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4261219"/>
                  </a:ext>
                </a:extLst>
              </a:tr>
              <a:tr h="929448">
                <a:tc>
                  <a:txBody>
                    <a:bodyPr/>
                    <a:lstStyle/>
                    <a:p>
                      <a:pPr algn="l"/>
                      <a:r>
                        <a:rPr lang="fr-fr" sz="1400" b="1">
                          <a:latin typeface="+mj-lt"/>
                        </a:rPr>
                        <a:t>Actions de flux d’agent </a:t>
                      </a:r>
                      <a:r>
                        <a:rPr lang="fr-fr" sz="1400">
                          <a:latin typeface="+mj-lt"/>
                        </a:rPr>
                        <a:t>(tarification par tranche de 100 actions de flux) </a:t>
                      </a:r>
                    </a:p>
                    <a:p>
                      <a:pPr algn="l"/>
                      <a:r>
                        <a:rPr lang="fr-fr" sz="1100">
                          <a:latin typeface="Segoe UI Semilight" panose="020B0402040204020203" pitchFamily="34" charset="0"/>
                          <a:cs typeface="Segoe UI Semilight" panose="020B0402040204020203" pitchFamily="34" charset="0"/>
                        </a:rPr>
                        <a:t>Élément utilisé </a:t>
                      </a:r>
                      <a:r>
                        <a:rPr kumimoji="0" lang="fr-fr" sz="1100" b="0" i="0" u="none" strike="noStrike" kern="1200" cap="none" spc="0" normalizeH="0" baseline="0">
                          <a:ln>
                            <a:noFill/>
                          </a:ln>
                          <a:solidFill>
                            <a:srgbClr val="000000"/>
                          </a:solidFill>
                          <a:effectLst/>
                          <a:uLnTx/>
                          <a:uFillTx/>
                          <a:latin typeface="Segoe UI Semilight" panose="020B0402040204020203" pitchFamily="34" charset="0"/>
                          <a:ea typeface="+mn-ea"/>
                          <a:cs typeface="Segoe UI Semilight" panose="020B0402040204020203" pitchFamily="34" charset="0"/>
                        </a:rPr>
                        <a:t>pour facturer les flux d’agent, qui sont des séquences prédéfinies d’actions de flux permettant d’exécuter rapidement des tâches répétitives, sans nécessiter de raisonnement ni d’orchestration de l’agent à chaque étape. </a:t>
                      </a:r>
                      <a:endParaRPr kumimoji="0" lang="en-US" sz="1100" b="0" i="0" u="none" strike="noStrike" kern="1200" cap="none" spc="0" normalizeH="0" baseline="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p>
                      <a:pPr>
                        <a:lnSpc>
                          <a:spcPts val="1600"/>
                        </a:lnSpc>
                      </a:pPr>
                      <a:endParaRPr lang="en-US" sz="1200" b="1">
                        <a:latin typeface="Segoe UI Semilight" panose="020B0402040204020203" pitchFamily="34" charset="0"/>
                        <a:cs typeface="Segoe UI Semilight" panose="020B0402040204020203" pitchFamily="34" charset="0"/>
                      </a:endParaRPr>
                    </a:p>
                  </a:txBody>
                  <a:tcPr marL="108000" marR="108000" marT="108000" marB="10800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Sans frais supplémentaires</a:t>
                      </a:r>
                    </a:p>
                  </a:txBody>
                  <a:tcPr marL="0" marR="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13</a:t>
                      </a:r>
                    </a:p>
                  </a:txBody>
                  <a:tcPr marL="108000" marR="10800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13</a:t>
                      </a:r>
                    </a:p>
                  </a:txBody>
                  <a:tcPr marL="108000" marR="108000" marT="108000" marB="108000" anchor="ctr">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13008"/>
                  </a:ext>
                </a:extLst>
              </a:tr>
            </a:tbl>
          </a:graphicData>
        </a:graphic>
      </p:graphicFrame>
    </p:spTree>
    <p:extLst>
      <p:ext uri="{BB962C8B-B14F-4D97-AF65-F5344CB8AC3E}">
        <p14:creationId xmlns:p14="http://schemas.microsoft.com/office/powerpoint/2010/main" val="89131519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113E96-1EB8-54C1-3A8D-71E00C44F300}"/>
            </a:ext>
          </a:extLst>
        </p:cNvPr>
        <p:cNvGrpSpPr/>
        <p:nvPr/>
      </p:nvGrpSpPr>
      <p:grpSpPr>
        <a:xfrm>
          <a:off x="0" y="0"/>
          <a:ext cx="0" cy="0"/>
          <a:chOff x="0" y="0"/>
          <a:chExt cx="0" cy="0"/>
        </a:xfrm>
      </p:grpSpPr>
      <p:sp>
        <p:nvSpPr>
          <p:cNvPr id="29" name="Title 3">
            <a:extLst>
              <a:ext uri="{FF2B5EF4-FFF2-40B4-BE49-F238E27FC236}">
                <a16:creationId xmlns:a16="http://schemas.microsoft.com/office/drawing/2014/main" id="{61A601BF-32FB-A26A-0F39-29846851F50D}"/>
              </a:ext>
            </a:extLst>
          </p:cNvPr>
          <p:cNvSpPr>
            <a:spLocks noGrp="1"/>
          </p:cNvSpPr>
          <p:nvPr>
            <p:ph type="title"/>
          </p:nvPr>
        </p:nvSpPr>
        <p:spPr>
          <a:xfrm>
            <a:off x="588263" y="485481"/>
            <a:ext cx="11018520" cy="766174"/>
          </a:xfrm>
        </p:spPr>
        <p:txBody>
          <a:bodyPr/>
          <a:lstStyle/>
          <a:p>
            <a:r>
              <a:rPr lang="fr-fr"/>
              <a:t>Tarifs de facturation (crédits Copilot)</a:t>
            </a:r>
          </a:p>
        </p:txBody>
      </p:sp>
      <p:sp>
        <p:nvSpPr>
          <p:cNvPr id="28" name="Rectangle: Top Corners Rounded 27">
            <a:extLst>
              <a:ext uri="{FF2B5EF4-FFF2-40B4-BE49-F238E27FC236}">
                <a16:creationId xmlns:a16="http://schemas.microsoft.com/office/drawing/2014/main" id="{2BA9576F-2947-3134-B071-1F75D32D25AE}"/>
              </a:ext>
            </a:extLst>
          </p:cNvPr>
          <p:cNvSpPr/>
          <p:nvPr/>
        </p:nvSpPr>
        <p:spPr bwMode="auto">
          <a:xfrm>
            <a:off x="383420" y="1251657"/>
            <a:ext cx="11483480" cy="569978"/>
          </a:xfrm>
          <a:prstGeom prst="round2SameRect">
            <a:avLst>
              <a:gd name="adj1" fmla="val 50000"/>
              <a:gd name="adj2" fmla="val 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err="1">
              <a:solidFill>
                <a:srgbClr val="FFFFFF"/>
              </a:solidFill>
              <a:latin typeface="Segoe UI Semibold"/>
            </a:endParaRPr>
          </a:p>
        </p:txBody>
      </p:sp>
      <p:graphicFrame>
        <p:nvGraphicFramePr>
          <p:cNvPr id="30" name="Table 29">
            <a:extLst>
              <a:ext uri="{FF2B5EF4-FFF2-40B4-BE49-F238E27FC236}">
                <a16:creationId xmlns:a16="http://schemas.microsoft.com/office/drawing/2014/main" id="{139230AC-88A2-33F7-562A-E5BFFFEEBFEB}"/>
              </a:ext>
            </a:extLst>
          </p:cNvPr>
          <p:cNvGraphicFramePr>
            <a:graphicFrameLocks noGrp="1"/>
          </p:cNvGraphicFramePr>
          <p:nvPr>
            <p:extLst>
              <p:ext uri="{D42A27DB-BD31-4B8C-83A1-F6EECF244321}">
                <p14:modId xmlns:p14="http://schemas.microsoft.com/office/powerpoint/2010/main" val="3032714120"/>
              </p:ext>
            </p:extLst>
          </p:nvPr>
        </p:nvGraphicFramePr>
        <p:xfrm>
          <a:off x="383420" y="1251656"/>
          <a:ext cx="11491094" cy="3437050"/>
        </p:xfrm>
        <a:graphic>
          <a:graphicData uri="http://schemas.openxmlformats.org/drawingml/2006/table">
            <a:tbl>
              <a:tblPr>
                <a:effectLst/>
              </a:tblPr>
              <a:tblGrid>
                <a:gridCol w="7746168">
                  <a:extLst>
                    <a:ext uri="{9D8B030D-6E8A-4147-A177-3AD203B41FA5}">
                      <a16:colId xmlns:a16="http://schemas.microsoft.com/office/drawing/2014/main" val="589559021"/>
                    </a:ext>
                  </a:extLst>
                </a:gridCol>
                <a:gridCol w="1343025">
                  <a:extLst>
                    <a:ext uri="{9D8B030D-6E8A-4147-A177-3AD203B41FA5}">
                      <a16:colId xmlns:a16="http://schemas.microsoft.com/office/drawing/2014/main" val="86005208"/>
                    </a:ext>
                  </a:extLst>
                </a:gridCol>
                <a:gridCol w="1247825">
                  <a:extLst>
                    <a:ext uri="{9D8B030D-6E8A-4147-A177-3AD203B41FA5}">
                      <a16:colId xmlns:a16="http://schemas.microsoft.com/office/drawing/2014/main" val="3793448644"/>
                    </a:ext>
                  </a:extLst>
                </a:gridCol>
                <a:gridCol w="1154076">
                  <a:extLst>
                    <a:ext uri="{9D8B030D-6E8A-4147-A177-3AD203B41FA5}">
                      <a16:colId xmlns:a16="http://schemas.microsoft.com/office/drawing/2014/main" val="1700179783"/>
                    </a:ext>
                  </a:extLst>
                </a:gridCol>
              </a:tblGrid>
              <a:tr h="476218">
                <a:tc>
                  <a:txBody>
                    <a:bodyPr/>
                    <a:lstStyle/>
                    <a:p>
                      <a:endParaRPr lang="en-US" sz="1400">
                        <a:solidFill>
                          <a:schemeClr val="bg1"/>
                        </a:solidFill>
                      </a:endParaRPr>
                    </a:p>
                  </a:txBody>
                  <a:tcPr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prstDash val="soli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fr" sz="1200" b="1" i="0">
                          <a:solidFill>
                            <a:schemeClr val="bg1"/>
                          </a:solidFill>
                          <a:latin typeface="+mj-lt"/>
                          <a:cs typeface="Segoe Sans Display" pitchFamily="2" charset="0"/>
                        </a:rPr>
                        <a:t>Utilisateurs de M365 </a:t>
                      </a:r>
                      <a:r>
                        <a:rPr lang="fr-fr" sz="1200" b="1" i="0" err="1">
                          <a:solidFill>
                            <a:schemeClr val="bg1"/>
                          </a:solidFill>
                          <a:latin typeface="+mj-lt"/>
                          <a:cs typeface="Segoe Sans Display" pitchFamily="2" charset="0"/>
                        </a:rPr>
                        <a:t>Copilot</a:t>
                      </a:r>
                      <a:endParaRPr lang="fr-fr" sz="1200" b="1" i="0">
                        <a:solidFill>
                          <a:schemeClr val="bg1"/>
                        </a:solidFill>
                        <a:latin typeface="+mj-lt"/>
                        <a:cs typeface="Segoe Sans Display" pitchFamily="2" charset="0"/>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fr" sz="1200" b="1" i="0">
                          <a:solidFill>
                            <a:schemeClr val="bg1"/>
                          </a:solidFill>
                          <a:latin typeface="+mj-lt"/>
                          <a:cs typeface="Segoe Sans Display" pitchFamily="2" charset="0"/>
                        </a:rPr>
                        <a:t>Utilisateurs de </a:t>
                      </a:r>
                      <a:r>
                        <a:rPr lang="fr-fr" sz="1200" b="1" i="0" err="1">
                          <a:solidFill>
                            <a:schemeClr val="bg1"/>
                          </a:solidFill>
                          <a:latin typeface="+mj-lt"/>
                          <a:cs typeface="Segoe Sans Display" pitchFamily="2" charset="0"/>
                        </a:rPr>
                        <a:t>Copilot</a:t>
                      </a:r>
                      <a:r>
                        <a:rPr lang="fr-fr" sz="1200" b="1" i="0">
                          <a:solidFill>
                            <a:schemeClr val="bg1"/>
                          </a:solidFill>
                          <a:latin typeface="+mj-lt"/>
                          <a:cs typeface="Segoe Sans Display" pitchFamily="2" charset="0"/>
                        </a:rPr>
                        <a:t> Ch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fr" sz="1200" b="1" i="0">
                          <a:solidFill>
                            <a:schemeClr val="bg1"/>
                          </a:solidFill>
                          <a:latin typeface="+mj-lt"/>
                          <a:cs typeface="Segoe Sans Display" pitchFamily="2" charset="0"/>
                        </a:rPr>
                        <a:t>Agents autonomes</a:t>
                      </a:r>
                    </a:p>
                  </a:txBody>
                  <a:tcPr anchor="ctr">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653662"/>
                  </a:ext>
                </a:extLst>
              </a:tr>
              <a:tr h="618552">
                <a:tc gridSpan="4">
                  <a:txBody>
                    <a:bodyPr/>
                    <a:lstStyle/>
                    <a:p>
                      <a:pPr algn="l"/>
                      <a:r>
                        <a:rPr lang="fr-fr" sz="1200" b="1"/>
                        <a:t>Outils de traitement de texte et d’IA générative (requêtes via AI Builder)</a:t>
                      </a:r>
                    </a:p>
                    <a:p>
                      <a:pPr algn="l"/>
                      <a:r>
                        <a:rPr lang="fr-fr" sz="1100"/>
                        <a:t>Outils et modèles spécialisés qui étendent les capacités des agents en leur apprenant à accomplir des tâches spécifiques.</a:t>
                      </a:r>
                      <a:endParaRPr lang="en-US" sz="1100" b="1"/>
                    </a:p>
                  </a:txBody>
                  <a:tcPr marL="108000" marR="108000" marT="108000" marB="10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a:latin typeface="Segoe UI Semilight" panose="020B0402040204020203" pitchFamily="34" charset="0"/>
                        <a:cs typeface="Segoe UI Semilight" panose="020B0402040204020203" pitchFamily="34" charset="0"/>
                      </a:endParaRPr>
                    </a:p>
                  </a:txBody>
                  <a:tcPr marL="108000" marR="10800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a:latin typeface="Segoe UI Semilight" panose="020B0402040204020203" pitchFamily="34" charset="0"/>
                        <a:cs typeface="Segoe UI Semilight" panose="020B0402040204020203" pitchFamily="34" charset="0"/>
                      </a:endParaRPr>
                    </a:p>
                  </a:txBody>
                  <a:tcPr marL="108000" marR="10800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a:endParaRPr lang="en-US" sz="1200" b="1"/>
                    </a:p>
                  </a:txBody>
                  <a:tcPr marL="108000" marR="108000" marT="108000" marB="10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57141068"/>
                  </a:ext>
                </a:extLst>
              </a:tr>
              <a:tr h="426270">
                <a:tc>
                  <a:txBody>
                    <a:bodyPr/>
                    <a:lstStyle/>
                    <a:p>
                      <a:pPr marL="466371" lvl="1" algn="l" defTabSz="932742" rtl="0" eaLnBrk="1" latinLnBrk="0" hangingPunct="1">
                        <a:lnSpc>
                          <a:spcPts val="1600"/>
                        </a:lnSpc>
                      </a:pPr>
                      <a:r>
                        <a:rPr lang="fr-fr" sz="1100" b="1">
                          <a:latin typeface="+mj-lt"/>
                        </a:rPr>
                        <a:t>Basique </a:t>
                      </a:r>
                      <a:r>
                        <a:rPr lang="fr-fr" sz="1100" b="0">
                          <a:latin typeface="+mj-lt"/>
                        </a:rPr>
                        <a:t>(</a:t>
                      </a:r>
                      <a:r>
                        <a:rPr lang="fr-fr" sz="1100">
                          <a:latin typeface="+mj-lt"/>
                        </a:rPr>
                        <a:t>pour 10 réponses</a:t>
                      </a:r>
                      <a:r>
                        <a:rPr lang="fr-fr" sz="1100" b="1" baseline="30000">
                          <a:latin typeface="+mj-lt"/>
                        </a:rPr>
                        <a:t>5</a:t>
                      </a:r>
                      <a:r>
                        <a:rPr lang="fr-fr" sz="1100">
                          <a:latin typeface="+mj-lt"/>
                        </a:rPr>
                        <a:t>) </a:t>
                      </a:r>
                      <a:endParaRPr kumimoji="0" lang="en-US" sz="1100" b="0" i="0" u="none" strike="noStrike" kern="1200" cap="none" spc="0" normalizeH="0" baseline="0">
                        <a:ln>
                          <a:noFill/>
                        </a:ln>
                        <a:solidFill>
                          <a:srgbClr val="000000"/>
                        </a:solidFill>
                        <a:effectLst/>
                        <a:uLnTx/>
                        <a:uFillTx/>
                        <a:latin typeface="+mj-lt"/>
                        <a:ea typeface="+mn-ea"/>
                        <a:cs typeface="Segoe UI Semilight" panose="020B0402040204020203" pitchFamily="34" charset="0"/>
                      </a:endParaRPr>
                    </a:p>
                  </a:txBody>
                  <a:tcPr marL="108000" marR="108000" marT="108000" marB="10800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fr-fr" sz="1200">
                          <a:latin typeface="Segoe UI Semilight" panose="020B0402040204020203" pitchFamily="34" charset="0"/>
                          <a:cs typeface="Segoe UI Semilight" panose="020B0402040204020203" pitchFamily="34" charset="0"/>
                        </a:rPr>
                        <a:t>Sans frais supplémentaires</a:t>
                      </a:r>
                    </a:p>
                  </a:txBody>
                  <a:tcPr marL="108000" marR="10800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1</a:t>
                      </a:r>
                    </a:p>
                  </a:txBody>
                  <a:tcPr marL="108000" marR="10800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1</a:t>
                      </a:r>
                    </a:p>
                  </a:txBody>
                  <a:tcPr marL="108000" marR="10800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3475665"/>
                  </a:ext>
                </a:extLst>
              </a:tr>
              <a:tr h="0">
                <a:tc>
                  <a:txBody>
                    <a:bodyPr/>
                    <a:lstStyle/>
                    <a:p>
                      <a:pPr marL="466371" marR="0" lvl="1" indent="0" algn="l" defTabSz="932742" rtl="0" eaLnBrk="1" fontAlgn="auto" latinLnBrk="0" hangingPunct="1">
                        <a:lnSpc>
                          <a:spcPts val="1600"/>
                        </a:lnSpc>
                        <a:spcBef>
                          <a:spcPts val="0"/>
                        </a:spcBef>
                        <a:spcAft>
                          <a:spcPts val="0"/>
                        </a:spcAft>
                        <a:buClrTx/>
                        <a:buSzTx/>
                        <a:buFontTx/>
                        <a:buNone/>
                        <a:tabLst/>
                        <a:defRPr/>
                      </a:pPr>
                      <a:r>
                        <a:rPr lang="fr-fr" sz="1100" b="1" kern="1200">
                          <a:solidFill>
                            <a:schemeClr val="tx1"/>
                          </a:solidFill>
                          <a:latin typeface="+mn-lt"/>
                          <a:ea typeface="+mn-ea"/>
                          <a:cs typeface="+mn-cs"/>
                        </a:rPr>
                        <a:t>Standard </a:t>
                      </a:r>
                      <a:r>
                        <a:rPr lang="fr-fr" sz="1100" b="0" kern="1200">
                          <a:solidFill>
                            <a:schemeClr val="tx1"/>
                          </a:solidFill>
                          <a:latin typeface="+mn-lt"/>
                          <a:ea typeface="+mn-ea"/>
                          <a:cs typeface="+mn-cs"/>
                        </a:rPr>
                        <a:t>(</a:t>
                      </a:r>
                      <a:r>
                        <a:rPr lang="fr-fr" sz="1100" kern="1200">
                          <a:solidFill>
                            <a:schemeClr val="tx1"/>
                          </a:solidFill>
                          <a:latin typeface="+mn-lt"/>
                          <a:ea typeface="+mn-ea"/>
                          <a:cs typeface="+mn-cs"/>
                        </a:rPr>
                        <a:t>pour 10 réponses</a:t>
                      </a:r>
                      <a:r>
                        <a:rPr lang="fr-fr" sz="1100" b="1" kern="1200" baseline="30000">
                          <a:solidFill>
                            <a:schemeClr val="tx1"/>
                          </a:solidFill>
                          <a:latin typeface="+mn-lt"/>
                          <a:ea typeface="+mn-ea"/>
                          <a:cs typeface="+mn-cs"/>
                        </a:rPr>
                        <a:t>5</a:t>
                      </a:r>
                      <a:r>
                        <a:rPr lang="fr-fr" sz="1100" kern="1200">
                          <a:solidFill>
                            <a:schemeClr val="tx1"/>
                          </a:solidFill>
                          <a:latin typeface="+mn-lt"/>
                          <a:ea typeface="+mn-ea"/>
                          <a:cs typeface="+mn-cs"/>
                        </a:rPr>
                        <a:t>) </a:t>
                      </a:r>
                      <a:endParaRPr kumimoji="0" lang="en-US" sz="1100" b="0" i="0" u="none" strike="noStrike" kern="1200" cap="none" spc="0" normalizeH="0" baseline="0">
                        <a:ln>
                          <a:noFill/>
                        </a:ln>
                        <a:solidFill>
                          <a:srgbClr val="000000"/>
                        </a:solidFill>
                        <a:effectLst/>
                        <a:uLnTx/>
                        <a:uFillTx/>
                        <a:latin typeface="+mn-lt"/>
                        <a:ea typeface="+mn-ea"/>
                        <a:cs typeface="Segoe UI Semilight" panose="020B0402040204020203" pitchFamily="34" charset="0"/>
                      </a:endParaRPr>
                    </a:p>
                  </a:txBody>
                  <a:tcPr marL="108000" marR="108000" marT="108000" marB="10800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fr-fr" sz="1200">
                          <a:latin typeface="Segoe UI Semilight" panose="020B0402040204020203" pitchFamily="34" charset="0"/>
                          <a:cs typeface="Segoe UI Semilight" panose="020B0402040204020203" pitchFamily="34" charset="0"/>
                        </a:rPr>
                        <a:t>Sans frais supplémentaires</a:t>
                      </a:r>
                    </a:p>
                  </a:txBody>
                  <a:tcPr marL="108000" marR="10800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5</a:t>
                      </a:r>
                    </a:p>
                  </a:txBody>
                  <a:tcPr marL="108000" marR="10800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5</a:t>
                      </a:r>
                    </a:p>
                  </a:txBody>
                  <a:tcPr marL="108000" marR="10800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7389625"/>
                  </a:ext>
                </a:extLst>
              </a:tr>
              <a:tr h="476679">
                <a:tc>
                  <a:txBody>
                    <a:bodyPr/>
                    <a:lstStyle/>
                    <a:p>
                      <a:pPr marL="466371" marR="0" lvl="1" indent="0" algn="l" defTabSz="932742" rtl="0" eaLnBrk="1" fontAlgn="auto" latinLnBrk="0" hangingPunct="1">
                        <a:lnSpc>
                          <a:spcPts val="1600"/>
                        </a:lnSpc>
                        <a:spcBef>
                          <a:spcPts val="0"/>
                        </a:spcBef>
                        <a:spcAft>
                          <a:spcPts val="0"/>
                        </a:spcAft>
                        <a:buClrTx/>
                        <a:buSzTx/>
                        <a:buFontTx/>
                        <a:buNone/>
                        <a:tabLst/>
                        <a:defRPr/>
                      </a:pPr>
                      <a:r>
                        <a:rPr lang="fr-fr" sz="1100" b="1" kern="1200">
                          <a:solidFill>
                            <a:schemeClr val="tx1"/>
                          </a:solidFill>
                          <a:latin typeface="+mn-lt"/>
                          <a:ea typeface="+mn-ea"/>
                          <a:cs typeface="+mn-cs"/>
                        </a:rPr>
                        <a:t>Premium </a:t>
                      </a:r>
                      <a:r>
                        <a:rPr lang="fr-fr" sz="1100" b="0" kern="1200">
                          <a:solidFill>
                            <a:schemeClr val="tx1"/>
                          </a:solidFill>
                          <a:latin typeface="+mn-lt"/>
                          <a:ea typeface="+mn-ea"/>
                          <a:cs typeface="+mn-cs"/>
                        </a:rPr>
                        <a:t>(</a:t>
                      </a:r>
                      <a:r>
                        <a:rPr lang="fr-fr" sz="1100" kern="1200">
                          <a:solidFill>
                            <a:schemeClr val="tx1"/>
                          </a:solidFill>
                          <a:latin typeface="+mn-lt"/>
                          <a:ea typeface="+mn-ea"/>
                          <a:cs typeface="+mn-cs"/>
                        </a:rPr>
                        <a:t>pour 10 réponses</a:t>
                      </a:r>
                      <a:r>
                        <a:rPr lang="fr-fr" sz="1100" b="1" kern="1200" baseline="30000">
                          <a:solidFill>
                            <a:schemeClr val="tx1"/>
                          </a:solidFill>
                          <a:latin typeface="+mn-lt"/>
                          <a:ea typeface="+mn-ea"/>
                          <a:cs typeface="+mn-cs"/>
                        </a:rPr>
                        <a:t>5</a:t>
                      </a:r>
                      <a:r>
                        <a:rPr lang="fr-fr" sz="1100" kern="1200">
                          <a:solidFill>
                            <a:schemeClr val="tx1"/>
                          </a:solidFill>
                          <a:latin typeface="+mn-lt"/>
                          <a:ea typeface="+mn-ea"/>
                          <a:cs typeface="+mn-cs"/>
                        </a:rPr>
                        <a:t>) </a:t>
                      </a:r>
                      <a:endParaRPr kumimoji="0" lang="en-US" sz="1100" b="0" i="0" u="none" strike="noStrike" kern="1200" cap="none" spc="0" normalizeH="0" baseline="0">
                        <a:ln>
                          <a:noFill/>
                        </a:ln>
                        <a:solidFill>
                          <a:srgbClr val="000000"/>
                        </a:solidFill>
                        <a:effectLst/>
                        <a:uLnTx/>
                        <a:uFillTx/>
                        <a:latin typeface="+mn-lt"/>
                        <a:ea typeface="+mn-ea"/>
                        <a:cs typeface="Segoe UI Semilight" panose="020B0402040204020203" pitchFamily="34" charset="0"/>
                      </a:endParaRPr>
                    </a:p>
                  </a:txBody>
                  <a:tcPr marL="108000" marR="108000" marT="108000" marB="10800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fr-fr" sz="1200">
                          <a:latin typeface="Segoe UI Semilight" panose="020B0402040204020203" pitchFamily="34" charset="0"/>
                          <a:cs typeface="Segoe UI Semilight" panose="020B0402040204020203" pitchFamily="34" charset="0"/>
                        </a:rPr>
                        <a:t>Sans frais supplémentaires</a:t>
                      </a:r>
                    </a:p>
                  </a:txBody>
                  <a:tcPr marL="108000" marR="10800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100</a:t>
                      </a:r>
                    </a:p>
                  </a:txBody>
                  <a:tcPr marL="108000" marR="10800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100</a:t>
                      </a:r>
                    </a:p>
                  </a:txBody>
                  <a:tcPr marL="108000" marR="10800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44342325"/>
                  </a:ext>
                </a:extLst>
              </a:tr>
              <a:tr h="476679">
                <a:tc>
                  <a:txBody>
                    <a:bodyPr/>
                    <a:lstStyle/>
                    <a:p>
                      <a:pPr algn="l"/>
                      <a:r>
                        <a:rPr lang="fr-fr" sz="1400" b="1" kern="1200">
                          <a:solidFill>
                            <a:schemeClr val="tx1"/>
                          </a:solidFill>
                          <a:latin typeface="+mj-lt"/>
                          <a:ea typeface="+mn-ea"/>
                          <a:cs typeface="Segoe Sans Display" pitchFamily="2" charset="0"/>
                        </a:rPr>
                        <a:t>Outils de traitement de contenu (modèles via AI Builder)</a:t>
                      </a:r>
                    </a:p>
                    <a:p>
                      <a:pPr algn="l"/>
                      <a:r>
                        <a:rPr lang="fr-fr" sz="1100">
                          <a:latin typeface="Segoe UI Semilight" panose="020B0402040204020203" pitchFamily="34" charset="0"/>
                          <a:cs typeface="Segoe UI Semilight" panose="020B0402040204020203" pitchFamily="34" charset="0"/>
                        </a:rPr>
                        <a:t>Réponses statiques prédéfinies, rédigées manuellement par les créateurs à partir de sujets (messages, connecteurs, flux, etc.).</a:t>
                      </a:r>
                      <a:endParaRPr lang="en-US" sz="1100" b="1">
                        <a:latin typeface="Segoe UI Semilight" panose="020B0402040204020203" pitchFamily="34" charset="0"/>
                        <a:cs typeface="Segoe UI Semilight" panose="020B0402040204020203" pitchFamily="34" charset="0"/>
                      </a:endParaRPr>
                    </a:p>
                  </a:txBody>
                  <a:tcPr marL="108000" marR="108000" marT="108000" marB="10800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fr-fr" sz="1200">
                          <a:latin typeface="Segoe UI Semilight" panose="020B0402040204020203" pitchFamily="34" charset="0"/>
                          <a:cs typeface="Segoe UI Semilight" panose="020B0402040204020203" pitchFamily="34" charset="0"/>
                        </a:rPr>
                        <a:t>Sans frais supplémentaires</a:t>
                      </a:r>
                    </a:p>
                  </a:txBody>
                  <a:tcPr marL="108000" marR="10800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8</a:t>
                      </a:r>
                    </a:p>
                  </a:txBody>
                  <a:tcPr marL="108000" marR="10800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a:latin typeface="Segoe UI Semilight" panose="020B0402040204020203" pitchFamily="34" charset="0"/>
                          <a:cs typeface="Segoe UI Semilight" panose="020B0402040204020203" pitchFamily="34" charset="0"/>
                        </a:rPr>
                        <a:t>8</a:t>
                      </a:r>
                    </a:p>
                  </a:txBody>
                  <a:tcPr marL="108000" marR="108000" marT="108000" marB="108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7491595"/>
                  </a:ext>
                </a:extLst>
              </a:tr>
            </a:tbl>
          </a:graphicData>
        </a:graphic>
      </p:graphicFrame>
      <p:sp>
        <p:nvSpPr>
          <p:cNvPr id="2" name="TextBox 1">
            <a:extLst>
              <a:ext uri="{FF2B5EF4-FFF2-40B4-BE49-F238E27FC236}">
                <a16:creationId xmlns:a16="http://schemas.microsoft.com/office/drawing/2014/main" id="{027FD974-E1C3-3A6F-E0BA-B4CCA5E4658E}"/>
              </a:ext>
            </a:extLst>
          </p:cNvPr>
          <p:cNvSpPr txBox="1"/>
          <p:nvPr/>
        </p:nvSpPr>
        <p:spPr>
          <a:xfrm>
            <a:off x="383419" y="4915516"/>
            <a:ext cx="11665145" cy="1538883"/>
          </a:xfrm>
          <a:prstGeom prst="rect">
            <a:avLst/>
          </a:prstGeom>
          <a:noFill/>
        </p:spPr>
        <p:txBody>
          <a:bodyPr wrap="square" lIns="0" tIns="0" rIns="0" bIns="0" rtlCol="0">
            <a:spAutoFit/>
          </a:bodyPr>
          <a:lstStyle/>
          <a:p>
            <a:pPr marL="228600" indent="-228600">
              <a:buAutoNum type="arabicPeriod"/>
            </a:pPr>
            <a:r>
              <a:rPr lang="fr-fr" sz="1000">
                <a:solidFill>
                  <a:schemeClr val="bg1"/>
                </a:solidFill>
              </a:rPr>
              <a:t>L’utilisation interactive des réponses classiques, des réponses génératives, de l’ancrage dans Microsoft Graph du locataire et des actions des agents par les utilisateurs authentifiés de Microsoft 365 </a:t>
            </a:r>
            <a:r>
              <a:rPr lang="fr-fr" sz="1000" err="1">
                <a:solidFill>
                  <a:schemeClr val="bg1"/>
                </a:solidFill>
              </a:rPr>
              <a:t>Copilot</a:t>
            </a:r>
            <a:r>
              <a:rPr lang="fr-fr" sz="1000">
                <a:solidFill>
                  <a:schemeClr val="bg1"/>
                </a:solidFill>
              </a:rPr>
              <a:t> dans les applications et services Microsoft 365 sera incluse sans frais supplémentaires. </a:t>
            </a:r>
          </a:p>
          <a:p>
            <a:pPr marL="228600" indent="-228600">
              <a:buAutoNum type="arabicPeriod"/>
            </a:pPr>
            <a:r>
              <a:rPr lang="fr-fr" sz="1000">
                <a:solidFill>
                  <a:schemeClr val="bg1"/>
                </a:solidFill>
              </a:rPr>
              <a:t>Les déclencheurs autonomes désignent des événements ou des conditions qui déclenchent automatiquement une action de l’agent, sans qu’un utilisateur ait besoin de l’invoquer manuellement.</a:t>
            </a:r>
          </a:p>
          <a:p>
            <a:pPr marL="228600" indent="-228600">
              <a:buAutoNum type="arabicPeriod"/>
            </a:pPr>
            <a:r>
              <a:rPr lang="fr-fr" sz="1000">
                <a:solidFill>
                  <a:schemeClr val="bg1"/>
                </a:solidFill>
              </a:rPr>
              <a:t>L’utilisation d’agents déclaratifs ancrés sur les données Web est gratuite dans Microsoft 365 Copilot Chat. </a:t>
            </a:r>
          </a:p>
          <a:p>
            <a:pPr marL="228600" indent="-228600">
              <a:buAutoNum type="arabicPeriod"/>
            </a:pPr>
            <a:r>
              <a:rPr lang="fr-fr" sz="1000">
                <a:solidFill>
                  <a:schemeClr val="bg1"/>
                </a:solidFill>
              </a:rPr>
              <a:t>Chaque interaction avec un agent peut utiliser plusieurs niveaux de consommation simultanément, c’est-à-dire qu’un agent ancré dans Graph du locataire peut consommer 12 crédits (10 pour l’ancrage dans Graph et 2 pour la réponse générative) pour répondre à une seule requête complexe de l’utilisateur. La plupart des agents créés nativement dans SharePoint ou Copilot Chat auront l’ancrage dans Graph du locataire activé par défaut. </a:t>
            </a:r>
          </a:p>
          <a:p>
            <a:pPr marL="228600" indent="-228600">
              <a:buAutoNum type="arabicPeriod"/>
            </a:pPr>
            <a:r>
              <a:rPr lang="fr-fr" sz="1000" spc="-20">
                <a:solidFill>
                  <a:schemeClr val="bg1"/>
                </a:solidFill>
              </a:rPr>
              <a:t>L’utilisation d’une requête dans un agent génère un événement « Outils de traitement de texte et d’IA générative ». Un agent peut utiliser des requêtes au sein d’un thème ou d’une action. 1 réponse = 1 000 jetons pour les modèles LLM, 1 image pour le traitement d’images, 1 000 caractères pour le traitement de texte et 1 ligne lors du traitement de données pour la prédiction. La facturation sera calculée au prorata du nombre exact de réponses. Veuillez consulter la section AI Builder de ce guide pour plus d’informations sur les capacités d’AI Builder, les outils Copilot Studio/IA et la correspondance des fonctionnalités. </a:t>
            </a:r>
            <a:endParaRPr lang="en-US" sz="1000" spc="-20">
              <a:solidFill>
                <a:schemeClr val="bg1"/>
              </a:solidFill>
            </a:endParaRPr>
          </a:p>
        </p:txBody>
      </p:sp>
    </p:spTree>
    <p:extLst>
      <p:ext uri="{BB962C8B-B14F-4D97-AF65-F5344CB8AC3E}">
        <p14:creationId xmlns:p14="http://schemas.microsoft.com/office/powerpoint/2010/main" val="370048944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42C2F7-BABB-4C98-2ACB-A6E906FA17C7}"/>
            </a:ext>
          </a:extLst>
        </p:cNvPr>
        <p:cNvGrpSpPr/>
        <p:nvPr/>
      </p:nvGrpSpPr>
      <p:grpSpPr>
        <a:xfrm>
          <a:off x="0" y="0"/>
          <a:ext cx="0" cy="0"/>
          <a:chOff x="0" y="0"/>
          <a:chExt cx="0" cy="0"/>
        </a:xfrm>
      </p:grpSpPr>
      <p:sp>
        <p:nvSpPr>
          <p:cNvPr id="29" name="Title 3">
            <a:extLst>
              <a:ext uri="{FF2B5EF4-FFF2-40B4-BE49-F238E27FC236}">
                <a16:creationId xmlns:a16="http://schemas.microsoft.com/office/drawing/2014/main" id="{63B460B3-B7E6-C1BA-D14B-BCEE9642830C}"/>
              </a:ext>
            </a:extLst>
          </p:cNvPr>
          <p:cNvSpPr>
            <a:spLocks noGrp="1"/>
          </p:cNvSpPr>
          <p:nvPr>
            <p:ph type="title"/>
          </p:nvPr>
        </p:nvSpPr>
        <p:spPr>
          <a:xfrm>
            <a:off x="588263" y="485481"/>
            <a:ext cx="11018520" cy="766174"/>
          </a:xfrm>
        </p:spPr>
        <p:txBody>
          <a:bodyPr/>
          <a:lstStyle/>
          <a:p>
            <a:r>
              <a:rPr lang="fr-fr"/>
              <a:t>Outil de calcul des coûts</a:t>
            </a:r>
          </a:p>
        </p:txBody>
      </p:sp>
      <p:sp>
        <p:nvSpPr>
          <p:cNvPr id="2" name="TextBox 1">
            <a:extLst>
              <a:ext uri="{FF2B5EF4-FFF2-40B4-BE49-F238E27FC236}">
                <a16:creationId xmlns:a16="http://schemas.microsoft.com/office/drawing/2014/main" id="{AEE8646F-1D48-B5C1-E08B-10C7D00EF0C0}"/>
              </a:ext>
            </a:extLst>
          </p:cNvPr>
          <p:cNvSpPr txBox="1"/>
          <p:nvPr/>
        </p:nvSpPr>
        <p:spPr>
          <a:xfrm>
            <a:off x="557441" y="1784621"/>
            <a:ext cx="6163399" cy="4462760"/>
          </a:xfrm>
          <a:prstGeom prst="rect">
            <a:avLst/>
          </a:prstGeom>
          <a:noFill/>
        </p:spPr>
        <p:txBody>
          <a:bodyPr wrap="square">
            <a:spAutoFit/>
          </a:bodyPr>
          <a:lstStyle/>
          <a:p>
            <a:pPr marR="0" lvl="0" algn="l" defTabSz="457200" rtl="0" eaLnBrk="1" fontAlgn="auto" latinLnBrk="0" hangingPunct="1">
              <a:lnSpc>
                <a:spcPct val="100000"/>
              </a:lnSpc>
              <a:spcBef>
                <a:spcPts val="0"/>
              </a:spcBef>
              <a:spcAft>
                <a:spcPts val="800"/>
              </a:spcAft>
              <a:buClrTx/>
              <a:buSzTx/>
              <a:tabLst/>
              <a:defRPr/>
            </a:pPr>
            <a:r>
              <a:rPr kumimoji="0" lang="fr-fr" sz="2000" b="0" i="0" u="none" strike="noStrike" kern="1200" cap="none" spc="0" normalizeH="0" baseline="0" noProof="0">
                <a:ln>
                  <a:noFill/>
                </a:ln>
                <a:solidFill>
                  <a:schemeClr val="bg1"/>
                </a:solidFill>
                <a:effectLst/>
                <a:uLnTx/>
                <a:uFillTx/>
                <a:latin typeface="Segoe UI"/>
                <a:ea typeface="+mn-ea"/>
                <a:cs typeface="+mn-cs"/>
              </a:rPr>
              <a:t>Grâce à l’outil de calcul des coûts, vous pouvez prévoir le volume de messages de votre agent. </a:t>
            </a:r>
          </a:p>
          <a:p>
            <a:pPr marR="0" lvl="0" algn="l" defTabSz="457200" rtl="0" eaLnBrk="1" fontAlgn="auto" latinLnBrk="0" hangingPunct="1">
              <a:lnSpc>
                <a:spcPct val="100000"/>
              </a:lnSpc>
              <a:spcBef>
                <a:spcPts val="0"/>
              </a:spcBef>
              <a:spcAft>
                <a:spcPts val="800"/>
              </a:spcAft>
              <a:buClrTx/>
              <a:buSzTx/>
              <a:tabLst/>
              <a:defRPr/>
            </a:pPr>
            <a:r>
              <a:rPr kumimoji="0" lang="fr-fr" sz="2000" b="0" i="0" u="none" strike="noStrike" kern="1200" cap="none" spc="0" normalizeH="0" baseline="0" noProof="0">
                <a:ln>
                  <a:noFill/>
                </a:ln>
                <a:solidFill>
                  <a:schemeClr val="bg1"/>
                </a:solidFill>
                <a:effectLst/>
                <a:uLnTx/>
                <a:uFillTx/>
                <a:latin typeface="Segoe UI"/>
                <a:ea typeface="+mn-ea"/>
                <a:cs typeface="+mn-cs"/>
              </a:rPr>
              <a:t>Choisissez les options de licences, les types </a:t>
            </a:r>
            <a:r>
              <a:rPr kumimoji="0" lang="fr-FR" sz="2000" b="0" i="0" u="none" strike="noStrike" kern="1200" cap="none" spc="0" normalizeH="0" baseline="0" noProof="0">
                <a:ln>
                  <a:noFill/>
                </a:ln>
                <a:solidFill>
                  <a:schemeClr val="bg1"/>
                </a:solidFill>
                <a:effectLst/>
                <a:uLnTx/>
                <a:uFillTx/>
                <a:latin typeface="Segoe UI"/>
                <a:ea typeface="+mn-ea"/>
                <a:cs typeface="+mn-cs"/>
              </a:rPr>
              <a:t>d'agents</a:t>
            </a:r>
            <a:r>
              <a:rPr kumimoji="0" lang="fr-fr" sz="2000" b="0" i="0" u="none" strike="noStrike" kern="1200" cap="none" spc="0" normalizeH="0" baseline="0" noProof="0">
                <a:ln>
                  <a:noFill/>
                </a:ln>
                <a:solidFill>
                  <a:schemeClr val="bg1"/>
                </a:solidFill>
                <a:effectLst/>
                <a:uLnTx/>
                <a:uFillTx/>
                <a:latin typeface="Segoe UI"/>
                <a:ea typeface="+mn-ea"/>
                <a:cs typeface="+mn-cs"/>
              </a:rPr>
              <a:t>, ainsi que les fonctionnalités utilisées par votre agent pour répondre à vos utilisateurs finaux. </a:t>
            </a:r>
          </a:p>
          <a:p>
            <a:pPr marR="0" lvl="0" algn="l" defTabSz="457200" rtl="0" eaLnBrk="1" fontAlgn="auto" latinLnBrk="0" hangingPunct="1">
              <a:lnSpc>
                <a:spcPct val="100000"/>
              </a:lnSpc>
              <a:spcBef>
                <a:spcPts val="0"/>
              </a:spcBef>
              <a:spcAft>
                <a:spcPts val="800"/>
              </a:spcAft>
              <a:buClrTx/>
              <a:buSzTx/>
              <a:tabLst/>
              <a:defRPr/>
            </a:pPr>
            <a:r>
              <a:rPr lang="fr-fr" sz="2000">
                <a:solidFill>
                  <a:schemeClr val="bg1"/>
                </a:solidFill>
                <a:latin typeface="Segoe UI"/>
              </a:rPr>
              <a:t>L’outil de calcul des coûts</a:t>
            </a:r>
            <a:r>
              <a:rPr kumimoji="0" lang="fr-fr" sz="2000" b="0" i="0" u="none" strike="noStrike" kern="1200" cap="none" spc="0" normalizeH="0" baseline="0" noProof="0">
                <a:ln>
                  <a:noFill/>
                </a:ln>
                <a:solidFill>
                  <a:schemeClr val="bg1"/>
                </a:solidFill>
                <a:effectLst/>
                <a:uLnTx/>
                <a:uFillTx/>
                <a:latin typeface="Segoe UI"/>
                <a:ea typeface="+mn-ea"/>
                <a:cs typeface="+mn-cs"/>
              </a:rPr>
              <a:t> calcule l’impact des messages sur la consommation et fournit une estimation mensuelle pour un seul agent, sans garantir le coût final. </a:t>
            </a:r>
          </a:p>
          <a:p>
            <a:pPr marR="0" lvl="0" algn="l" defTabSz="457200" rtl="0" eaLnBrk="1" fontAlgn="auto" latinLnBrk="0" hangingPunct="1">
              <a:lnSpc>
                <a:spcPct val="100000"/>
              </a:lnSpc>
              <a:spcBef>
                <a:spcPts val="0"/>
              </a:spcBef>
              <a:spcAft>
                <a:spcPts val="800"/>
              </a:spcAft>
              <a:buClrTx/>
              <a:buSzTx/>
              <a:tabLst/>
              <a:defRPr/>
            </a:pPr>
            <a:r>
              <a:rPr kumimoji="0" lang="fr-fr" sz="2000" b="0" i="0" u="none" strike="noStrike" kern="1200" cap="none" spc="0" normalizeH="0" baseline="0" noProof="0">
                <a:ln>
                  <a:noFill/>
                </a:ln>
                <a:solidFill>
                  <a:schemeClr val="bg1"/>
                </a:solidFill>
                <a:effectLst/>
                <a:uLnTx/>
                <a:uFillTx/>
                <a:latin typeface="Segoe UI"/>
                <a:ea typeface="+mn-ea"/>
                <a:cs typeface="+mn-cs"/>
              </a:rPr>
              <a:t>Il ne </a:t>
            </a:r>
            <a:r>
              <a:rPr kumimoji="0" lang="fr-fr" sz="2000" b="0" i="0" u="sng" strike="noStrike" kern="1200" cap="none" spc="0" normalizeH="0" baseline="0" noProof="0">
                <a:ln>
                  <a:noFill/>
                </a:ln>
                <a:solidFill>
                  <a:schemeClr val="bg1"/>
                </a:solidFill>
                <a:effectLst/>
                <a:uLnTx/>
                <a:uFillTx/>
                <a:latin typeface="Segoe UI"/>
                <a:ea typeface="+mn-ea"/>
                <a:cs typeface="+mn-cs"/>
              </a:rPr>
              <a:t>s’agit pas d’un outil de calcul des tarifs</a:t>
            </a:r>
            <a:r>
              <a:rPr kumimoji="0" lang="fr-fr" sz="2000" b="0" i="0" u="none" strike="noStrike" kern="1200" cap="none" spc="0" normalizeH="0" baseline="0" noProof="0">
                <a:ln>
                  <a:noFill/>
                </a:ln>
                <a:solidFill>
                  <a:schemeClr val="bg1"/>
                </a:solidFill>
                <a:effectLst/>
                <a:uLnTx/>
                <a:uFillTx/>
                <a:latin typeface="Segoe UI"/>
                <a:ea typeface="+mn-ea"/>
                <a:cs typeface="+mn-cs"/>
              </a:rPr>
              <a:t>, il ne permet donc pas de fournir un coût total ni des prévisions précises concernant vos dépenses mensuelles.</a:t>
            </a:r>
          </a:p>
        </p:txBody>
      </p:sp>
      <p:pic>
        <p:nvPicPr>
          <p:cNvPr id="8" name="Picture 7" descr="Capture d’écran d’un ordinateur  Le contenu généré par IA peut être incorrect.">
            <a:extLst>
              <a:ext uri="{FF2B5EF4-FFF2-40B4-BE49-F238E27FC236}">
                <a16:creationId xmlns:a16="http://schemas.microsoft.com/office/drawing/2014/main" id="{78346294-63C2-F7F0-0F65-32384559E740}"/>
              </a:ext>
            </a:extLst>
          </p:cNvPr>
          <p:cNvPicPr>
            <a:picLocks noChangeAspect="1"/>
          </p:cNvPicPr>
          <p:nvPr/>
        </p:nvPicPr>
        <p:blipFill>
          <a:blip r:embed="rId3"/>
          <a:srcRect/>
          <a:stretch>
            <a:fillRect/>
          </a:stretch>
        </p:blipFill>
        <p:spPr>
          <a:xfrm>
            <a:off x="6938010" y="242740"/>
            <a:ext cx="5158546" cy="6372519"/>
          </a:xfrm>
          <a:prstGeom prst="roundRect">
            <a:avLst>
              <a:gd name="adj" fmla="val 1643"/>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55185499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349990-EE00-42E5-C9F8-30FB7EFD0057}"/>
            </a:ext>
          </a:extLst>
        </p:cNvPr>
        <p:cNvGrpSpPr/>
        <p:nvPr/>
      </p:nvGrpSpPr>
      <p:grpSpPr>
        <a:xfrm>
          <a:off x="0" y="0"/>
          <a:ext cx="0" cy="0"/>
          <a:chOff x="0" y="0"/>
          <a:chExt cx="0" cy="0"/>
        </a:xfrm>
      </p:grpSpPr>
      <p:grpSp>
        <p:nvGrpSpPr>
          <p:cNvPr id="138" name="agent group depth. 2">
            <a:extLst>
              <a:ext uri="{FF2B5EF4-FFF2-40B4-BE49-F238E27FC236}">
                <a16:creationId xmlns:a16="http://schemas.microsoft.com/office/drawing/2014/main" id="{CDB4C469-4E04-91FA-433E-9D496ACC824C}"/>
              </a:ext>
            </a:extLst>
          </p:cNvPr>
          <p:cNvGrpSpPr/>
          <p:nvPr/>
        </p:nvGrpSpPr>
        <p:grpSpPr>
          <a:xfrm>
            <a:off x="-152536" y="1314583"/>
            <a:ext cx="13235605" cy="4147304"/>
            <a:chOff x="-383601" y="1700413"/>
            <a:chExt cx="32285377" cy="10116446"/>
          </a:xfrm>
        </p:grpSpPr>
        <p:grpSp>
          <p:nvGrpSpPr>
            <p:cNvPr id="139" name="Group 138" descr="Illustration du web agentique, avec des étoiles multicolores représentant les agents. Les étoiles sont reliées entre elles par un réseau de lignes grises en arrière-plan.">
              <a:extLst>
                <a:ext uri="{FF2B5EF4-FFF2-40B4-BE49-F238E27FC236}">
                  <a16:creationId xmlns:a16="http://schemas.microsoft.com/office/drawing/2014/main" id="{2195840E-477F-322B-753E-961E17EE97F2}"/>
                </a:ext>
              </a:extLst>
            </p:cNvPr>
            <p:cNvGrpSpPr/>
            <p:nvPr/>
          </p:nvGrpSpPr>
          <p:grpSpPr>
            <a:xfrm>
              <a:off x="-383601" y="1981205"/>
              <a:ext cx="32285377" cy="9601197"/>
              <a:chOff x="-597159" y="821094"/>
              <a:chExt cx="21889616" cy="5206482"/>
            </a:xfrm>
          </p:grpSpPr>
          <p:sp>
            <p:nvSpPr>
              <p:cNvPr id="188" name="Freeform 187">
                <a:extLst>
                  <a:ext uri="{FF2B5EF4-FFF2-40B4-BE49-F238E27FC236}">
                    <a16:creationId xmlns:a16="http://schemas.microsoft.com/office/drawing/2014/main" id="{1502B7B6-A73A-DD37-7483-3881BF5EE151}"/>
                  </a:ext>
                </a:extLst>
              </p:cNvPr>
              <p:cNvSpPr/>
              <p:nvPr/>
            </p:nvSpPr>
            <p:spPr bwMode="auto">
              <a:xfrm>
                <a:off x="14481110" y="4236098"/>
                <a:ext cx="1306286" cy="1268963"/>
              </a:xfrm>
              <a:custGeom>
                <a:avLst/>
                <a:gdLst>
                  <a:gd name="connsiteX0" fmla="*/ 0 w 1306286"/>
                  <a:gd name="connsiteY0" fmla="*/ 298580 h 1268963"/>
                  <a:gd name="connsiteX1" fmla="*/ 1306286 w 1306286"/>
                  <a:gd name="connsiteY1" fmla="*/ 0 h 1268963"/>
                  <a:gd name="connsiteX2" fmla="*/ 765110 w 1306286"/>
                  <a:gd name="connsiteY2" fmla="*/ 1268963 h 1268963"/>
                </a:gdLst>
                <a:ahLst/>
                <a:cxnLst>
                  <a:cxn ang="0">
                    <a:pos x="connsiteX0" y="connsiteY0"/>
                  </a:cxn>
                  <a:cxn ang="0">
                    <a:pos x="connsiteX1" y="connsiteY1"/>
                  </a:cxn>
                  <a:cxn ang="0">
                    <a:pos x="connsiteX2" y="connsiteY2"/>
                  </a:cxn>
                </a:cxnLst>
                <a:rect l="l" t="t" r="r" b="b"/>
                <a:pathLst>
                  <a:path w="1306286" h="1268963">
                    <a:moveTo>
                      <a:pt x="0" y="298580"/>
                    </a:moveTo>
                    <a:lnTo>
                      <a:pt x="1306286" y="0"/>
                    </a:lnTo>
                    <a:lnTo>
                      <a:pt x="765110" y="126896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747"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89" name="Freeform 188">
                <a:extLst>
                  <a:ext uri="{FF2B5EF4-FFF2-40B4-BE49-F238E27FC236}">
                    <a16:creationId xmlns:a16="http://schemas.microsoft.com/office/drawing/2014/main" id="{CD1D1EF9-7C8D-F27D-3FA7-866DE6A4A0C6}"/>
                  </a:ext>
                </a:extLst>
              </p:cNvPr>
              <p:cNvSpPr/>
              <p:nvPr/>
            </p:nvSpPr>
            <p:spPr bwMode="auto">
              <a:xfrm>
                <a:off x="-597159" y="2388637"/>
                <a:ext cx="1455575" cy="2593910"/>
              </a:xfrm>
              <a:custGeom>
                <a:avLst/>
                <a:gdLst>
                  <a:gd name="connsiteX0" fmla="*/ 167951 w 1455575"/>
                  <a:gd name="connsiteY0" fmla="*/ 0 h 2593910"/>
                  <a:gd name="connsiteX1" fmla="*/ 1063690 w 1455575"/>
                  <a:gd name="connsiteY1" fmla="*/ 167951 h 2593910"/>
                  <a:gd name="connsiteX2" fmla="*/ 783771 w 1455575"/>
                  <a:gd name="connsiteY2" fmla="*/ 895739 h 2593910"/>
                  <a:gd name="connsiteX3" fmla="*/ 0 w 1455575"/>
                  <a:gd name="connsiteY3" fmla="*/ 1063690 h 2593910"/>
                  <a:gd name="connsiteX4" fmla="*/ 298579 w 1455575"/>
                  <a:gd name="connsiteY4" fmla="*/ 2593910 h 2593910"/>
                  <a:gd name="connsiteX5" fmla="*/ 1455575 w 1455575"/>
                  <a:gd name="connsiteY5" fmla="*/ 2146041 h 2593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575" h="2593910">
                    <a:moveTo>
                      <a:pt x="167951" y="0"/>
                    </a:moveTo>
                    <a:lnTo>
                      <a:pt x="1063690" y="167951"/>
                    </a:lnTo>
                    <a:lnTo>
                      <a:pt x="783771" y="895739"/>
                    </a:lnTo>
                    <a:lnTo>
                      <a:pt x="0" y="1063690"/>
                    </a:lnTo>
                    <a:lnTo>
                      <a:pt x="298579" y="2593910"/>
                    </a:lnTo>
                    <a:lnTo>
                      <a:pt x="1455575" y="2146041"/>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747"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90" name="Freeform 189">
                <a:extLst>
                  <a:ext uri="{FF2B5EF4-FFF2-40B4-BE49-F238E27FC236}">
                    <a16:creationId xmlns:a16="http://schemas.microsoft.com/office/drawing/2014/main" id="{27E2B7CE-4798-F914-6871-2BAF83076A23}"/>
                  </a:ext>
                </a:extLst>
              </p:cNvPr>
              <p:cNvSpPr/>
              <p:nvPr/>
            </p:nvSpPr>
            <p:spPr bwMode="auto">
              <a:xfrm>
                <a:off x="19239722" y="3097763"/>
                <a:ext cx="2052735" cy="2463282"/>
              </a:xfrm>
              <a:custGeom>
                <a:avLst/>
                <a:gdLst>
                  <a:gd name="connsiteX0" fmla="*/ 2052735 w 2052735"/>
                  <a:gd name="connsiteY0" fmla="*/ 0 h 2463282"/>
                  <a:gd name="connsiteX1" fmla="*/ 877078 w 2052735"/>
                  <a:gd name="connsiteY1" fmla="*/ 93306 h 2463282"/>
                  <a:gd name="connsiteX2" fmla="*/ 0 w 2052735"/>
                  <a:gd name="connsiteY2" fmla="*/ 2220686 h 2463282"/>
                  <a:gd name="connsiteX3" fmla="*/ 1754156 w 2052735"/>
                  <a:gd name="connsiteY3" fmla="*/ 2463282 h 2463282"/>
                </a:gdLst>
                <a:ahLst/>
                <a:cxnLst>
                  <a:cxn ang="0">
                    <a:pos x="connsiteX0" y="connsiteY0"/>
                  </a:cxn>
                  <a:cxn ang="0">
                    <a:pos x="connsiteX1" y="connsiteY1"/>
                  </a:cxn>
                  <a:cxn ang="0">
                    <a:pos x="connsiteX2" y="connsiteY2"/>
                  </a:cxn>
                  <a:cxn ang="0">
                    <a:pos x="connsiteX3" y="connsiteY3"/>
                  </a:cxn>
                </a:cxnLst>
                <a:rect l="l" t="t" r="r" b="b"/>
                <a:pathLst>
                  <a:path w="2052735" h="2463282">
                    <a:moveTo>
                      <a:pt x="2052735" y="0"/>
                    </a:moveTo>
                    <a:lnTo>
                      <a:pt x="877078" y="93306"/>
                    </a:lnTo>
                    <a:lnTo>
                      <a:pt x="0" y="2220686"/>
                    </a:lnTo>
                    <a:lnTo>
                      <a:pt x="1754156" y="2463282"/>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747"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91" name="Freeform 190">
                <a:extLst>
                  <a:ext uri="{FF2B5EF4-FFF2-40B4-BE49-F238E27FC236}">
                    <a16:creationId xmlns:a16="http://schemas.microsoft.com/office/drawing/2014/main" id="{B7369F5C-0BA7-721F-A547-5E42B526BE7E}"/>
                  </a:ext>
                </a:extLst>
              </p:cNvPr>
              <p:cNvSpPr/>
              <p:nvPr/>
            </p:nvSpPr>
            <p:spPr bwMode="auto">
              <a:xfrm>
                <a:off x="6438122" y="839755"/>
                <a:ext cx="2817845" cy="3694923"/>
              </a:xfrm>
              <a:custGeom>
                <a:avLst/>
                <a:gdLst>
                  <a:gd name="connsiteX0" fmla="*/ 2817845 w 2817845"/>
                  <a:gd name="connsiteY0" fmla="*/ 0 h 3694923"/>
                  <a:gd name="connsiteX1" fmla="*/ 877078 w 2817845"/>
                  <a:gd name="connsiteY1" fmla="*/ 1530221 h 3694923"/>
                  <a:gd name="connsiteX2" fmla="*/ 2108719 w 2817845"/>
                  <a:gd name="connsiteY2" fmla="*/ 1250302 h 3694923"/>
                  <a:gd name="connsiteX3" fmla="*/ 0 w 2817845"/>
                  <a:gd name="connsiteY3" fmla="*/ 2202025 h 3694923"/>
                  <a:gd name="connsiteX4" fmla="*/ 2164702 w 2817845"/>
                  <a:gd name="connsiteY4" fmla="*/ 2481943 h 3694923"/>
                  <a:gd name="connsiteX5" fmla="*/ 1026368 w 2817845"/>
                  <a:gd name="connsiteY5" fmla="*/ 3116425 h 3694923"/>
                  <a:gd name="connsiteX6" fmla="*/ 503854 w 2817845"/>
                  <a:gd name="connsiteY6" fmla="*/ 3694923 h 3694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7845" h="3694923">
                    <a:moveTo>
                      <a:pt x="2817845" y="0"/>
                    </a:moveTo>
                    <a:lnTo>
                      <a:pt x="877078" y="1530221"/>
                    </a:lnTo>
                    <a:lnTo>
                      <a:pt x="2108719" y="1250302"/>
                    </a:lnTo>
                    <a:lnTo>
                      <a:pt x="0" y="2202025"/>
                    </a:lnTo>
                    <a:lnTo>
                      <a:pt x="2164702" y="2481943"/>
                    </a:lnTo>
                    <a:lnTo>
                      <a:pt x="1026368" y="3116425"/>
                    </a:lnTo>
                    <a:lnTo>
                      <a:pt x="503854" y="369492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747"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92" name="Freeform 191">
                <a:extLst>
                  <a:ext uri="{FF2B5EF4-FFF2-40B4-BE49-F238E27FC236}">
                    <a16:creationId xmlns:a16="http://schemas.microsoft.com/office/drawing/2014/main" id="{B4B0612C-5482-082C-8E6C-C4FC00443A41}"/>
                  </a:ext>
                </a:extLst>
              </p:cNvPr>
              <p:cNvSpPr/>
              <p:nvPr/>
            </p:nvSpPr>
            <p:spPr bwMode="auto">
              <a:xfrm>
                <a:off x="3377682" y="2388637"/>
                <a:ext cx="3060440" cy="3638939"/>
              </a:xfrm>
              <a:custGeom>
                <a:avLst/>
                <a:gdLst>
                  <a:gd name="connsiteX0" fmla="*/ 317240 w 3060440"/>
                  <a:gd name="connsiteY0" fmla="*/ 839755 h 3638939"/>
                  <a:gd name="connsiteX1" fmla="*/ 1194318 w 3060440"/>
                  <a:gd name="connsiteY1" fmla="*/ 298579 h 3638939"/>
                  <a:gd name="connsiteX2" fmla="*/ 2444620 w 3060440"/>
                  <a:gd name="connsiteY2" fmla="*/ 0 h 3638939"/>
                  <a:gd name="connsiteX3" fmla="*/ 1343608 w 3060440"/>
                  <a:gd name="connsiteY3" fmla="*/ 1810139 h 3638939"/>
                  <a:gd name="connsiteX4" fmla="*/ 466530 w 3060440"/>
                  <a:gd name="connsiteY4" fmla="*/ 877077 h 3638939"/>
                  <a:gd name="connsiteX5" fmla="*/ 0 w 3060440"/>
                  <a:gd name="connsiteY5" fmla="*/ 1623526 h 3638939"/>
                  <a:gd name="connsiteX6" fmla="*/ 3060440 w 3060440"/>
                  <a:gd name="connsiteY6" fmla="*/ 3638939 h 3638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0440" h="3638939">
                    <a:moveTo>
                      <a:pt x="317240" y="839755"/>
                    </a:moveTo>
                    <a:lnTo>
                      <a:pt x="1194318" y="298579"/>
                    </a:lnTo>
                    <a:lnTo>
                      <a:pt x="2444620" y="0"/>
                    </a:lnTo>
                    <a:lnTo>
                      <a:pt x="1343608" y="1810139"/>
                    </a:lnTo>
                    <a:lnTo>
                      <a:pt x="466530" y="877077"/>
                    </a:lnTo>
                    <a:lnTo>
                      <a:pt x="0" y="1623526"/>
                    </a:lnTo>
                    <a:lnTo>
                      <a:pt x="3060440" y="3638939"/>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747"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93" name="Freeform 192">
                <a:extLst>
                  <a:ext uri="{FF2B5EF4-FFF2-40B4-BE49-F238E27FC236}">
                    <a16:creationId xmlns:a16="http://schemas.microsoft.com/office/drawing/2014/main" id="{3078106D-D650-3325-F190-D403206F1A4A}"/>
                  </a:ext>
                </a:extLst>
              </p:cNvPr>
              <p:cNvSpPr/>
              <p:nvPr/>
            </p:nvSpPr>
            <p:spPr bwMode="auto">
              <a:xfrm>
                <a:off x="1324947" y="1399592"/>
                <a:ext cx="2313992" cy="1343608"/>
              </a:xfrm>
              <a:custGeom>
                <a:avLst/>
                <a:gdLst>
                  <a:gd name="connsiteX0" fmla="*/ 0 w 2313992"/>
                  <a:gd name="connsiteY0" fmla="*/ 1007706 h 1343608"/>
                  <a:gd name="connsiteX1" fmla="*/ 1045029 w 2313992"/>
                  <a:gd name="connsiteY1" fmla="*/ 1343608 h 1343608"/>
                  <a:gd name="connsiteX2" fmla="*/ 2108718 w 2313992"/>
                  <a:gd name="connsiteY2" fmla="*/ 0 h 1343608"/>
                  <a:gd name="connsiteX3" fmla="*/ 2108718 w 2313992"/>
                  <a:gd name="connsiteY3" fmla="*/ 0 h 1343608"/>
                  <a:gd name="connsiteX4" fmla="*/ 2313992 w 2313992"/>
                  <a:gd name="connsiteY4" fmla="*/ 653143 h 1343608"/>
                  <a:gd name="connsiteX5" fmla="*/ 1082351 w 2313992"/>
                  <a:gd name="connsiteY5" fmla="*/ 1324947 h 134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3992" h="1343608">
                    <a:moveTo>
                      <a:pt x="0" y="1007706"/>
                    </a:moveTo>
                    <a:lnTo>
                      <a:pt x="1045029" y="1343608"/>
                    </a:lnTo>
                    <a:lnTo>
                      <a:pt x="2108718" y="0"/>
                    </a:lnTo>
                    <a:lnTo>
                      <a:pt x="2108718" y="0"/>
                    </a:lnTo>
                    <a:lnTo>
                      <a:pt x="2313992" y="653143"/>
                    </a:lnTo>
                    <a:lnTo>
                      <a:pt x="1082351" y="1324947"/>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747"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94" name="Freeform 193">
                <a:extLst>
                  <a:ext uri="{FF2B5EF4-FFF2-40B4-BE49-F238E27FC236}">
                    <a16:creationId xmlns:a16="http://schemas.microsoft.com/office/drawing/2014/main" id="{81BC1F82-86F0-0F52-E2C9-E4BCA11AB3EB}"/>
                  </a:ext>
                </a:extLst>
              </p:cNvPr>
              <p:cNvSpPr/>
              <p:nvPr/>
            </p:nvSpPr>
            <p:spPr bwMode="auto">
              <a:xfrm>
                <a:off x="447869" y="2090057"/>
                <a:ext cx="6064898" cy="3881535"/>
              </a:xfrm>
              <a:custGeom>
                <a:avLst/>
                <a:gdLst>
                  <a:gd name="connsiteX0" fmla="*/ 6064898 w 6064898"/>
                  <a:gd name="connsiteY0" fmla="*/ 3881535 h 3881535"/>
                  <a:gd name="connsiteX1" fmla="*/ 4348066 w 6064898"/>
                  <a:gd name="connsiteY1" fmla="*/ 2164702 h 3881535"/>
                  <a:gd name="connsiteX2" fmla="*/ 6027576 w 6064898"/>
                  <a:gd name="connsiteY2" fmla="*/ 989045 h 3881535"/>
                  <a:gd name="connsiteX3" fmla="*/ 6027576 w 6064898"/>
                  <a:gd name="connsiteY3" fmla="*/ 186612 h 3881535"/>
                  <a:gd name="connsiteX4" fmla="*/ 5299788 w 6064898"/>
                  <a:gd name="connsiteY4" fmla="*/ 317241 h 3881535"/>
                  <a:gd name="connsiteX5" fmla="*/ 3209731 w 6064898"/>
                  <a:gd name="connsiteY5" fmla="*/ 0 h 3881535"/>
                  <a:gd name="connsiteX6" fmla="*/ 3359021 w 6064898"/>
                  <a:gd name="connsiteY6" fmla="*/ 1119674 h 3881535"/>
                  <a:gd name="connsiteX7" fmla="*/ 317241 w 6064898"/>
                  <a:gd name="connsiteY7" fmla="*/ 2463282 h 3881535"/>
                  <a:gd name="connsiteX8" fmla="*/ 1306286 w 6064898"/>
                  <a:gd name="connsiteY8" fmla="*/ 1287625 h 3881535"/>
                  <a:gd name="connsiteX9" fmla="*/ 0 w 6064898"/>
                  <a:gd name="connsiteY9" fmla="*/ 466531 h 3881535"/>
                  <a:gd name="connsiteX10" fmla="*/ 858417 w 6064898"/>
                  <a:gd name="connsiteY10" fmla="*/ 354563 h 3881535"/>
                  <a:gd name="connsiteX11" fmla="*/ 1268964 w 6064898"/>
                  <a:gd name="connsiteY11" fmla="*/ 1250302 h 3881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64898" h="3881535">
                    <a:moveTo>
                      <a:pt x="6064898" y="3881535"/>
                    </a:moveTo>
                    <a:lnTo>
                      <a:pt x="4348066" y="2164702"/>
                    </a:lnTo>
                    <a:lnTo>
                      <a:pt x="6027576" y="989045"/>
                    </a:lnTo>
                    <a:lnTo>
                      <a:pt x="6027576" y="186612"/>
                    </a:lnTo>
                    <a:lnTo>
                      <a:pt x="5299788" y="317241"/>
                    </a:lnTo>
                    <a:lnTo>
                      <a:pt x="3209731" y="0"/>
                    </a:lnTo>
                    <a:lnTo>
                      <a:pt x="3359021" y="1119674"/>
                    </a:lnTo>
                    <a:lnTo>
                      <a:pt x="317241" y="2463282"/>
                    </a:lnTo>
                    <a:lnTo>
                      <a:pt x="1306286" y="1287625"/>
                    </a:lnTo>
                    <a:lnTo>
                      <a:pt x="0" y="466531"/>
                    </a:lnTo>
                    <a:lnTo>
                      <a:pt x="858417" y="354563"/>
                    </a:lnTo>
                    <a:lnTo>
                      <a:pt x="1268964" y="1250302"/>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747"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95" name="Freeform 194">
                <a:extLst>
                  <a:ext uri="{FF2B5EF4-FFF2-40B4-BE49-F238E27FC236}">
                    <a16:creationId xmlns:a16="http://schemas.microsoft.com/office/drawing/2014/main" id="{C2E7A7E9-0542-648B-E2ED-A2DC5EE90BF0}"/>
                  </a:ext>
                </a:extLst>
              </p:cNvPr>
              <p:cNvSpPr/>
              <p:nvPr/>
            </p:nvSpPr>
            <p:spPr bwMode="auto">
              <a:xfrm>
                <a:off x="6531429" y="2239347"/>
                <a:ext cx="14481110" cy="3769567"/>
              </a:xfrm>
              <a:custGeom>
                <a:avLst/>
                <a:gdLst>
                  <a:gd name="connsiteX0" fmla="*/ 14481110 w 14481110"/>
                  <a:gd name="connsiteY0" fmla="*/ 0 h 3769567"/>
                  <a:gd name="connsiteX1" fmla="*/ 11961844 w 14481110"/>
                  <a:gd name="connsiteY1" fmla="*/ 895739 h 3769567"/>
                  <a:gd name="connsiteX2" fmla="*/ 10599575 w 14481110"/>
                  <a:gd name="connsiteY2" fmla="*/ 989045 h 3769567"/>
                  <a:gd name="connsiteX3" fmla="*/ 9050693 w 14481110"/>
                  <a:gd name="connsiteY3" fmla="*/ 914400 h 3769567"/>
                  <a:gd name="connsiteX4" fmla="*/ 6699379 w 14481110"/>
                  <a:gd name="connsiteY4" fmla="*/ 1212980 h 3769567"/>
                  <a:gd name="connsiteX5" fmla="*/ 6736702 w 14481110"/>
                  <a:gd name="connsiteY5" fmla="*/ 2052735 h 3769567"/>
                  <a:gd name="connsiteX6" fmla="*/ 5710334 w 14481110"/>
                  <a:gd name="connsiteY6" fmla="*/ 2799184 h 3769567"/>
                  <a:gd name="connsiteX7" fmla="*/ 6736702 w 14481110"/>
                  <a:gd name="connsiteY7" fmla="*/ 1212980 h 3769567"/>
                  <a:gd name="connsiteX8" fmla="*/ 4348065 w 14481110"/>
                  <a:gd name="connsiteY8" fmla="*/ 1660849 h 3769567"/>
                  <a:gd name="connsiteX9" fmla="*/ 3750906 w 14481110"/>
                  <a:gd name="connsiteY9" fmla="*/ 3321698 h 3769567"/>
                  <a:gd name="connsiteX10" fmla="*/ 5710334 w 14481110"/>
                  <a:gd name="connsiteY10" fmla="*/ 2761861 h 3769567"/>
                  <a:gd name="connsiteX11" fmla="*/ 3097763 w 14481110"/>
                  <a:gd name="connsiteY11" fmla="*/ 1474237 h 3769567"/>
                  <a:gd name="connsiteX12" fmla="*/ 0 w 14481110"/>
                  <a:gd name="connsiteY12" fmla="*/ 3769567 h 3769567"/>
                  <a:gd name="connsiteX13" fmla="*/ 2575249 w 14481110"/>
                  <a:gd name="connsiteY13" fmla="*/ 2313992 h 3769567"/>
                  <a:gd name="connsiteX14" fmla="*/ 3676261 w 14481110"/>
                  <a:gd name="connsiteY14" fmla="*/ 3247053 h 3769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81110" h="3769567">
                    <a:moveTo>
                      <a:pt x="14481110" y="0"/>
                    </a:moveTo>
                    <a:lnTo>
                      <a:pt x="11961844" y="895739"/>
                    </a:lnTo>
                    <a:lnTo>
                      <a:pt x="10599575" y="989045"/>
                    </a:lnTo>
                    <a:lnTo>
                      <a:pt x="9050693" y="914400"/>
                    </a:lnTo>
                    <a:lnTo>
                      <a:pt x="6699379" y="1212980"/>
                    </a:lnTo>
                    <a:lnTo>
                      <a:pt x="6736702" y="2052735"/>
                    </a:lnTo>
                    <a:lnTo>
                      <a:pt x="5710334" y="2799184"/>
                    </a:lnTo>
                    <a:lnTo>
                      <a:pt x="6736702" y="1212980"/>
                    </a:lnTo>
                    <a:lnTo>
                      <a:pt x="4348065" y="1660849"/>
                    </a:lnTo>
                    <a:lnTo>
                      <a:pt x="3750906" y="3321698"/>
                    </a:lnTo>
                    <a:lnTo>
                      <a:pt x="5710334" y="2761861"/>
                    </a:lnTo>
                    <a:lnTo>
                      <a:pt x="3097763" y="1474237"/>
                    </a:lnTo>
                    <a:lnTo>
                      <a:pt x="0" y="3769567"/>
                    </a:lnTo>
                    <a:lnTo>
                      <a:pt x="2575249" y="2313992"/>
                    </a:lnTo>
                    <a:lnTo>
                      <a:pt x="3676261" y="324705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747"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96" name="Freeform 195">
                <a:extLst>
                  <a:ext uri="{FF2B5EF4-FFF2-40B4-BE49-F238E27FC236}">
                    <a16:creationId xmlns:a16="http://schemas.microsoft.com/office/drawing/2014/main" id="{E7805CA6-E923-18D1-7126-CDB245BA138B}"/>
                  </a:ext>
                </a:extLst>
              </p:cNvPr>
              <p:cNvSpPr/>
              <p:nvPr/>
            </p:nvSpPr>
            <p:spPr bwMode="auto">
              <a:xfrm>
                <a:off x="-186612" y="821094"/>
                <a:ext cx="20266090" cy="5169159"/>
              </a:xfrm>
              <a:custGeom>
                <a:avLst/>
                <a:gdLst>
                  <a:gd name="connsiteX0" fmla="*/ 0 w 20266090"/>
                  <a:gd name="connsiteY0" fmla="*/ 1101012 h 5169159"/>
                  <a:gd name="connsiteX1" fmla="*/ 1511559 w 20266090"/>
                  <a:gd name="connsiteY1" fmla="*/ 1642188 h 5169159"/>
                  <a:gd name="connsiteX2" fmla="*/ 3732245 w 20266090"/>
                  <a:gd name="connsiteY2" fmla="*/ 522514 h 5169159"/>
                  <a:gd name="connsiteX3" fmla="*/ 5952930 w 20266090"/>
                  <a:gd name="connsiteY3" fmla="*/ 1604865 h 5169159"/>
                  <a:gd name="connsiteX4" fmla="*/ 6643396 w 20266090"/>
                  <a:gd name="connsiteY4" fmla="*/ 2220686 h 5169159"/>
                  <a:gd name="connsiteX5" fmla="*/ 6400800 w 20266090"/>
                  <a:gd name="connsiteY5" fmla="*/ 3452326 h 5169159"/>
                  <a:gd name="connsiteX6" fmla="*/ 5001208 w 20266090"/>
                  <a:gd name="connsiteY6" fmla="*/ 3433665 h 5169159"/>
                  <a:gd name="connsiteX7" fmla="*/ 3564294 w 20266090"/>
                  <a:gd name="connsiteY7" fmla="*/ 3228392 h 5169159"/>
                  <a:gd name="connsiteX8" fmla="*/ 1007706 w 20266090"/>
                  <a:gd name="connsiteY8" fmla="*/ 3732245 h 5169159"/>
                  <a:gd name="connsiteX9" fmla="*/ 391885 w 20266090"/>
                  <a:gd name="connsiteY9" fmla="*/ 2444620 h 5169159"/>
                  <a:gd name="connsiteX10" fmla="*/ 1884783 w 20266090"/>
                  <a:gd name="connsiteY10" fmla="*/ 2593910 h 5169159"/>
                  <a:gd name="connsiteX11" fmla="*/ 2500604 w 20266090"/>
                  <a:gd name="connsiteY11" fmla="*/ 1922106 h 5169159"/>
                  <a:gd name="connsiteX12" fmla="*/ 3993502 w 20266090"/>
                  <a:gd name="connsiteY12" fmla="*/ 2425959 h 5169159"/>
                  <a:gd name="connsiteX13" fmla="*/ 6662057 w 20266090"/>
                  <a:gd name="connsiteY13" fmla="*/ 2239347 h 5169159"/>
                  <a:gd name="connsiteX14" fmla="*/ 7613779 w 20266090"/>
                  <a:gd name="connsiteY14" fmla="*/ 1530220 h 5169159"/>
                  <a:gd name="connsiteX15" fmla="*/ 6662057 w 20266090"/>
                  <a:gd name="connsiteY15" fmla="*/ 1455575 h 5169159"/>
                  <a:gd name="connsiteX16" fmla="*/ 9386596 w 20266090"/>
                  <a:gd name="connsiteY16" fmla="*/ 18661 h 5169159"/>
                  <a:gd name="connsiteX17" fmla="*/ 8714792 w 20266090"/>
                  <a:gd name="connsiteY17" fmla="*/ 1287624 h 5169159"/>
                  <a:gd name="connsiteX18" fmla="*/ 7651102 w 20266090"/>
                  <a:gd name="connsiteY18" fmla="*/ 3135086 h 5169159"/>
                  <a:gd name="connsiteX19" fmla="*/ 6680718 w 20266090"/>
                  <a:gd name="connsiteY19" fmla="*/ 2239347 h 5169159"/>
                  <a:gd name="connsiteX20" fmla="*/ 7109926 w 20266090"/>
                  <a:gd name="connsiteY20" fmla="*/ 3769567 h 5169159"/>
                  <a:gd name="connsiteX21" fmla="*/ 6680718 w 20266090"/>
                  <a:gd name="connsiteY21" fmla="*/ 5169159 h 5169159"/>
                  <a:gd name="connsiteX22" fmla="*/ 6400800 w 20266090"/>
                  <a:gd name="connsiteY22" fmla="*/ 3452326 h 5169159"/>
                  <a:gd name="connsiteX23" fmla="*/ 7091265 w 20266090"/>
                  <a:gd name="connsiteY23" fmla="*/ 3769567 h 5169159"/>
                  <a:gd name="connsiteX24" fmla="*/ 9797143 w 20266090"/>
                  <a:gd name="connsiteY24" fmla="*/ 2873828 h 5169159"/>
                  <a:gd name="connsiteX25" fmla="*/ 9274628 w 20266090"/>
                  <a:gd name="connsiteY25" fmla="*/ 3732245 h 5169159"/>
                  <a:gd name="connsiteX26" fmla="*/ 12465698 w 20266090"/>
                  <a:gd name="connsiteY26" fmla="*/ 4217437 h 5169159"/>
                  <a:gd name="connsiteX27" fmla="*/ 11122090 w 20266090"/>
                  <a:gd name="connsiteY27" fmla="*/ 3041779 h 5169159"/>
                  <a:gd name="connsiteX28" fmla="*/ 9815804 w 20266090"/>
                  <a:gd name="connsiteY28" fmla="*/ 2911151 h 5169159"/>
                  <a:gd name="connsiteX29" fmla="*/ 12092473 w 20266090"/>
                  <a:gd name="connsiteY29" fmla="*/ 2444620 h 5169159"/>
                  <a:gd name="connsiteX30" fmla="*/ 13566710 w 20266090"/>
                  <a:gd name="connsiteY30" fmla="*/ 1810139 h 5169159"/>
                  <a:gd name="connsiteX31" fmla="*/ 16272588 w 20266090"/>
                  <a:gd name="connsiteY31" fmla="*/ 895739 h 5169159"/>
                  <a:gd name="connsiteX32" fmla="*/ 18773192 w 20266090"/>
                  <a:gd name="connsiteY32" fmla="*/ 2276669 h 5169159"/>
                  <a:gd name="connsiteX33" fmla="*/ 19127755 w 20266090"/>
                  <a:gd name="connsiteY33" fmla="*/ 2967135 h 5169159"/>
                  <a:gd name="connsiteX34" fmla="*/ 19426334 w 20266090"/>
                  <a:gd name="connsiteY34" fmla="*/ 4478694 h 5169159"/>
                  <a:gd name="connsiteX35" fmla="*/ 18325322 w 20266090"/>
                  <a:gd name="connsiteY35" fmla="*/ 3228392 h 5169159"/>
                  <a:gd name="connsiteX36" fmla="*/ 19146416 w 20266090"/>
                  <a:gd name="connsiteY36" fmla="*/ 3004457 h 5169159"/>
                  <a:gd name="connsiteX37" fmla="*/ 20266090 w 20266090"/>
                  <a:gd name="connsiteY37" fmla="*/ 2369975 h 5169159"/>
                  <a:gd name="connsiteX38" fmla="*/ 18717208 w 20266090"/>
                  <a:gd name="connsiteY38" fmla="*/ 2220686 h 5169159"/>
                  <a:gd name="connsiteX39" fmla="*/ 18306661 w 20266090"/>
                  <a:gd name="connsiteY39" fmla="*/ 3172408 h 5169159"/>
                  <a:gd name="connsiteX40" fmla="*/ 17354939 w 20266090"/>
                  <a:gd name="connsiteY40" fmla="*/ 2425959 h 5169159"/>
                  <a:gd name="connsiteX41" fmla="*/ 16272588 w 20266090"/>
                  <a:gd name="connsiteY41" fmla="*/ 858416 h 5169159"/>
                  <a:gd name="connsiteX42" fmla="*/ 15787396 w 20266090"/>
                  <a:gd name="connsiteY42" fmla="*/ 2276669 h 5169159"/>
                  <a:gd name="connsiteX43" fmla="*/ 14518432 w 20266090"/>
                  <a:gd name="connsiteY43" fmla="*/ 2220686 h 5169159"/>
                  <a:gd name="connsiteX44" fmla="*/ 13604032 w 20266090"/>
                  <a:gd name="connsiteY44" fmla="*/ 1772816 h 5169159"/>
                  <a:gd name="connsiteX45" fmla="*/ 13417420 w 20266090"/>
                  <a:gd name="connsiteY45" fmla="*/ 2687216 h 5169159"/>
                  <a:gd name="connsiteX46" fmla="*/ 12185779 w 20266090"/>
                  <a:gd name="connsiteY46" fmla="*/ 2407298 h 5169159"/>
                  <a:gd name="connsiteX47" fmla="*/ 10767526 w 20266090"/>
                  <a:gd name="connsiteY47" fmla="*/ 1660849 h 5169159"/>
                  <a:gd name="connsiteX48" fmla="*/ 9778481 w 20266090"/>
                  <a:gd name="connsiteY48" fmla="*/ 2873828 h 5169159"/>
                  <a:gd name="connsiteX49" fmla="*/ 8733453 w 20266090"/>
                  <a:gd name="connsiteY49" fmla="*/ 2481943 h 5169159"/>
                  <a:gd name="connsiteX50" fmla="*/ 8733453 w 20266090"/>
                  <a:gd name="connsiteY50" fmla="*/ 1250302 h 5169159"/>
                  <a:gd name="connsiteX51" fmla="*/ 9815804 w 20266090"/>
                  <a:gd name="connsiteY51" fmla="*/ 2873828 h 5169159"/>
                  <a:gd name="connsiteX52" fmla="*/ 9367934 w 20266090"/>
                  <a:gd name="connsiteY52" fmla="*/ 0 h 5169159"/>
                  <a:gd name="connsiteX53" fmla="*/ 10804849 w 20266090"/>
                  <a:gd name="connsiteY53" fmla="*/ 1660849 h 5169159"/>
                  <a:gd name="connsiteX54" fmla="*/ 13585371 w 20266090"/>
                  <a:gd name="connsiteY54" fmla="*/ 1791477 h 5169159"/>
                  <a:gd name="connsiteX55" fmla="*/ 11532636 w 20266090"/>
                  <a:gd name="connsiteY55" fmla="*/ 1399592 h 5169159"/>
                  <a:gd name="connsiteX56" fmla="*/ 9367934 w 20266090"/>
                  <a:gd name="connsiteY56" fmla="*/ 18661 h 5169159"/>
                  <a:gd name="connsiteX57" fmla="*/ 13604032 w 20266090"/>
                  <a:gd name="connsiteY57" fmla="*/ 1810139 h 516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0266090" h="5169159">
                    <a:moveTo>
                      <a:pt x="0" y="1101012"/>
                    </a:moveTo>
                    <a:lnTo>
                      <a:pt x="1511559" y="1642188"/>
                    </a:lnTo>
                    <a:lnTo>
                      <a:pt x="3732245" y="522514"/>
                    </a:lnTo>
                    <a:lnTo>
                      <a:pt x="5952930" y="1604865"/>
                    </a:lnTo>
                    <a:lnTo>
                      <a:pt x="6643396" y="2220686"/>
                    </a:lnTo>
                    <a:lnTo>
                      <a:pt x="6400800" y="3452326"/>
                    </a:lnTo>
                    <a:lnTo>
                      <a:pt x="5001208" y="3433665"/>
                    </a:lnTo>
                    <a:lnTo>
                      <a:pt x="3564294" y="3228392"/>
                    </a:lnTo>
                    <a:lnTo>
                      <a:pt x="1007706" y="3732245"/>
                    </a:lnTo>
                    <a:lnTo>
                      <a:pt x="391885" y="2444620"/>
                    </a:lnTo>
                    <a:lnTo>
                      <a:pt x="1884783" y="2593910"/>
                    </a:lnTo>
                    <a:lnTo>
                      <a:pt x="2500604" y="1922106"/>
                    </a:lnTo>
                    <a:lnTo>
                      <a:pt x="3993502" y="2425959"/>
                    </a:lnTo>
                    <a:lnTo>
                      <a:pt x="6662057" y="2239347"/>
                    </a:lnTo>
                    <a:lnTo>
                      <a:pt x="7613779" y="1530220"/>
                    </a:lnTo>
                    <a:lnTo>
                      <a:pt x="6662057" y="1455575"/>
                    </a:lnTo>
                    <a:lnTo>
                      <a:pt x="9386596" y="18661"/>
                    </a:lnTo>
                    <a:lnTo>
                      <a:pt x="8714792" y="1287624"/>
                    </a:lnTo>
                    <a:lnTo>
                      <a:pt x="7651102" y="3135086"/>
                    </a:lnTo>
                    <a:lnTo>
                      <a:pt x="6680718" y="2239347"/>
                    </a:lnTo>
                    <a:lnTo>
                      <a:pt x="7109926" y="3769567"/>
                    </a:lnTo>
                    <a:lnTo>
                      <a:pt x="6680718" y="5169159"/>
                    </a:lnTo>
                    <a:lnTo>
                      <a:pt x="6400800" y="3452326"/>
                    </a:lnTo>
                    <a:lnTo>
                      <a:pt x="7091265" y="3769567"/>
                    </a:lnTo>
                    <a:lnTo>
                      <a:pt x="9797143" y="2873828"/>
                    </a:lnTo>
                    <a:lnTo>
                      <a:pt x="9274628" y="3732245"/>
                    </a:lnTo>
                    <a:lnTo>
                      <a:pt x="12465698" y="4217437"/>
                    </a:lnTo>
                    <a:lnTo>
                      <a:pt x="11122090" y="3041779"/>
                    </a:lnTo>
                    <a:lnTo>
                      <a:pt x="9815804" y="2911151"/>
                    </a:lnTo>
                    <a:lnTo>
                      <a:pt x="12092473" y="2444620"/>
                    </a:lnTo>
                    <a:lnTo>
                      <a:pt x="13566710" y="1810139"/>
                    </a:lnTo>
                    <a:lnTo>
                      <a:pt x="16272588" y="895739"/>
                    </a:lnTo>
                    <a:lnTo>
                      <a:pt x="18773192" y="2276669"/>
                    </a:lnTo>
                    <a:lnTo>
                      <a:pt x="19127755" y="2967135"/>
                    </a:lnTo>
                    <a:lnTo>
                      <a:pt x="19426334" y="4478694"/>
                    </a:lnTo>
                    <a:lnTo>
                      <a:pt x="18325322" y="3228392"/>
                    </a:lnTo>
                    <a:lnTo>
                      <a:pt x="19146416" y="3004457"/>
                    </a:lnTo>
                    <a:lnTo>
                      <a:pt x="20266090" y="2369975"/>
                    </a:lnTo>
                    <a:lnTo>
                      <a:pt x="18717208" y="2220686"/>
                    </a:lnTo>
                    <a:lnTo>
                      <a:pt x="18306661" y="3172408"/>
                    </a:lnTo>
                    <a:lnTo>
                      <a:pt x="17354939" y="2425959"/>
                    </a:lnTo>
                    <a:lnTo>
                      <a:pt x="16272588" y="858416"/>
                    </a:lnTo>
                    <a:lnTo>
                      <a:pt x="15787396" y="2276669"/>
                    </a:lnTo>
                    <a:lnTo>
                      <a:pt x="14518432" y="2220686"/>
                    </a:lnTo>
                    <a:lnTo>
                      <a:pt x="13604032" y="1772816"/>
                    </a:lnTo>
                    <a:lnTo>
                      <a:pt x="13417420" y="2687216"/>
                    </a:lnTo>
                    <a:lnTo>
                      <a:pt x="12185779" y="2407298"/>
                    </a:lnTo>
                    <a:lnTo>
                      <a:pt x="10767526" y="1660849"/>
                    </a:lnTo>
                    <a:lnTo>
                      <a:pt x="9778481" y="2873828"/>
                    </a:lnTo>
                    <a:lnTo>
                      <a:pt x="8733453" y="2481943"/>
                    </a:lnTo>
                    <a:lnTo>
                      <a:pt x="8733453" y="1250302"/>
                    </a:lnTo>
                    <a:lnTo>
                      <a:pt x="9815804" y="2873828"/>
                    </a:lnTo>
                    <a:lnTo>
                      <a:pt x="9367934" y="0"/>
                    </a:lnTo>
                    <a:lnTo>
                      <a:pt x="10804849" y="1660849"/>
                    </a:lnTo>
                    <a:lnTo>
                      <a:pt x="13585371" y="1791477"/>
                    </a:lnTo>
                    <a:lnTo>
                      <a:pt x="11532636" y="1399592"/>
                    </a:lnTo>
                    <a:lnTo>
                      <a:pt x="9367934" y="18661"/>
                    </a:lnTo>
                    <a:lnTo>
                      <a:pt x="13604032" y="1810139"/>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747"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97" name="Freeform 196">
                <a:extLst>
                  <a:ext uri="{FF2B5EF4-FFF2-40B4-BE49-F238E27FC236}">
                    <a16:creationId xmlns:a16="http://schemas.microsoft.com/office/drawing/2014/main" id="{1A81A186-0C94-607D-E71E-92C652FB1187}"/>
                  </a:ext>
                </a:extLst>
              </p:cNvPr>
              <p:cNvSpPr/>
              <p:nvPr/>
            </p:nvSpPr>
            <p:spPr bwMode="auto">
              <a:xfrm>
                <a:off x="13230808" y="1716833"/>
                <a:ext cx="6027576" cy="3750906"/>
              </a:xfrm>
              <a:custGeom>
                <a:avLst/>
                <a:gdLst>
                  <a:gd name="connsiteX0" fmla="*/ 6027576 w 6027576"/>
                  <a:gd name="connsiteY0" fmla="*/ 3526971 h 3750906"/>
                  <a:gd name="connsiteX1" fmla="*/ 3862874 w 6027576"/>
                  <a:gd name="connsiteY1" fmla="*/ 2463281 h 3750906"/>
                  <a:gd name="connsiteX2" fmla="*/ 2556588 w 6027576"/>
                  <a:gd name="connsiteY2" fmla="*/ 2519265 h 3750906"/>
                  <a:gd name="connsiteX3" fmla="*/ 2369976 w 6027576"/>
                  <a:gd name="connsiteY3" fmla="*/ 1380930 h 3750906"/>
                  <a:gd name="connsiteX4" fmla="*/ 3918857 w 6027576"/>
                  <a:gd name="connsiteY4" fmla="*/ 2444620 h 3750906"/>
                  <a:gd name="connsiteX5" fmla="*/ 4870580 w 6027576"/>
                  <a:gd name="connsiteY5" fmla="*/ 2388636 h 3750906"/>
                  <a:gd name="connsiteX6" fmla="*/ 2369976 w 6027576"/>
                  <a:gd name="connsiteY6" fmla="*/ 1380930 h 3750906"/>
                  <a:gd name="connsiteX7" fmla="*/ 1250302 w 6027576"/>
                  <a:gd name="connsiteY7" fmla="*/ 2799183 h 3750906"/>
                  <a:gd name="connsiteX8" fmla="*/ 2071396 w 6027576"/>
                  <a:gd name="connsiteY8" fmla="*/ 3750906 h 3750906"/>
                  <a:gd name="connsiteX9" fmla="*/ 0 w 6027576"/>
                  <a:gd name="connsiteY9" fmla="*/ 2575249 h 3750906"/>
                  <a:gd name="connsiteX10" fmla="*/ 1250302 w 6027576"/>
                  <a:gd name="connsiteY10" fmla="*/ 2836506 h 3750906"/>
                  <a:gd name="connsiteX11" fmla="*/ 74645 w 6027576"/>
                  <a:gd name="connsiteY11" fmla="*/ 1791477 h 3750906"/>
                  <a:gd name="connsiteX12" fmla="*/ 1101012 w 6027576"/>
                  <a:gd name="connsiteY12" fmla="*/ 1343608 h 3750906"/>
                  <a:gd name="connsiteX13" fmla="*/ 2892490 w 6027576"/>
                  <a:gd name="connsiteY13" fmla="*/ 0 h 375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27576" h="3750906">
                    <a:moveTo>
                      <a:pt x="6027576" y="3526971"/>
                    </a:moveTo>
                    <a:lnTo>
                      <a:pt x="3862874" y="2463281"/>
                    </a:lnTo>
                    <a:lnTo>
                      <a:pt x="2556588" y="2519265"/>
                    </a:lnTo>
                    <a:lnTo>
                      <a:pt x="2369976" y="1380930"/>
                    </a:lnTo>
                    <a:lnTo>
                      <a:pt x="3918857" y="2444620"/>
                    </a:lnTo>
                    <a:lnTo>
                      <a:pt x="4870580" y="2388636"/>
                    </a:lnTo>
                    <a:lnTo>
                      <a:pt x="2369976" y="1380930"/>
                    </a:lnTo>
                    <a:lnTo>
                      <a:pt x="1250302" y="2799183"/>
                    </a:lnTo>
                    <a:lnTo>
                      <a:pt x="2071396" y="3750906"/>
                    </a:lnTo>
                    <a:lnTo>
                      <a:pt x="0" y="2575249"/>
                    </a:lnTo>
                    <a:lnTo>
                      <a:pt x="1250302" y="2836506"/>
                    </a:lnTo>
                    <a:lnTo>
                      <a:pt x="74645" y="1791477"/>
                    </a:lnTo>
                    <a:lnTo>
                      <a:pt x="1101012" y="1343608"/>
                    </a:lnTo>
                    <a:lnTo>
                      <a:pt x="2892490" y="0"/>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747"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grpSp>
        <p:sp>
          <p:nvSpPr>
            <p:cNvPr id="140" name="Freeform 139">
              <a:extLst>
                <a:ext uri="{FF2B5EF4-FFF2-40B4-BE49-F238E27FC236}">
                  <a16:creationId xmlns:a16="http://schemas.microsoft.com/office/drawing/2014/main" id="{20119D8F-532C-9A5C-DE01-B736CD0DB1F7}"/>
                </a:ext>
                <a:ext uri="{C183D7F6-B498-43B3-948B-1728B52AA6E4}">
                  <adec:decorative xmlns:adec="http://schemas.microsoft.com/office/drawing/2017/decorative" val="1"/>
                </a:ext>
              </a:extLst>
            </p:cNvPr>
            <p:cNvSpPr/>
            <p:nvPr/>
          </p:nvSpPr>
          <p:spPr>
            <a:xfrm>
              <a:off x="21211468" y="5747043"/>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41" name="Freeform 140">
              <a:extLst>
                <a:ext uri="{FF2B5EF4-FFF2-40B4-BE49-F238E27FC236}">
                  <a16:creationId xmlns:a16="http://schemas.microsoft.com/office/drawing/2014/main" id="{388E9880-378F-5940-397F-6EDDF0F3B2A9}"/>
                </a:ext>
                <a:ext uri="{C183D7F6-B498-43B3-948B-1728B52AA6E4}">
                  <adec:decorative xmlns:adec="http://schemas.microsoft.com/office/drawing/2017/decorative" val="1"/>
                </a:ext>
              </a:extLst>
            </p:cNvPr>
            <p:cNvSpPr/>
            <p:nvPr/>
          </p:nvSpPr>
          <p:spPr>
            <a:xfrm>
              <a:off x="15638896" y="4771688"/>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7000">
                  <a:srgbClr val="7A46B2"/>
                </a:gs>
                <a:gs pos="91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42" name="Freeform 141">
              <a:extLst>
                <a:ext uri="{FF2B5EF4-FFF2-40B4-BE49-F238E27FC236}">
                  <a16:creationId xmlns:a16="http://schemas.microsoft.com/office/drawing/2014/main" id="{5B829837-02B3-54CE-D137-418E87E69E8D}"/>
                </a:ext>
                <a:ext uri="{C183D7F6-B498-43B3-948B-1728B52AA6E4}">
                  <adec:decorative xmlns:adec="http://schemas.microsoft.com/office/drawing/2017/decorative" val="1"/>
                </a:ext>
              </a:extLst>
            </p:cNvPr>
            <p:cNvSpPr/>
            <p:nvPr/>
          </p:nvSpPr>
          <p:spPr>
            <a:xfrm>
              <a:off x="5143404" y="7375172"/>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43" name="Freeform 142">
              <a:extLst>
                <a:ext uri="{FF2B5EF4-FFF2-40B4-BE49-F238E27FC236}">
                  <a16:creationId xmlns:a16="http://schemas.microsoft.com/office/drawing/2014/main" id="{806F0505-3735-9F6F-E781-A07A7CE050A3}"/>
                </a:ext>
                <a:ext uri="{C183D7F6-B498-43B3-948B-1728B52AA6E4}">
                  <adec:decorative xmlns:adec="http://schemas.microsoft.com/office/drawing/2017/decorative" val="1"/>
                </a:ext>
              </a:extLst>
            </p:cNvPr>
            <p:cNvSpPr/>
            <p:nvPr/>
          </p:nvSpPr>
          <p:spPr>
            <a:xfrm>
              <a:off x="2644106" y="6322837"/>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44" name="Freeform 143">
              <a:extLst>
                <a:ext uri="{FF2B5EF4-FFF2-40B4-BE49-F238E27FC236}">
                  <a16:creationId xmlns:a16="http://schemas.microsoft.com/office/drawing/2014/main" id="{2B5CACB6-0D2B-C9B7-5C8B-3AB50587BADF}"/>
                </a:ext>
                <a:ext uri="{C183D7F6-B498-43B3-948B-1728B52AA6E4}">
                  <adec:decorative xmlns:adec="http://schemas.microsoft.com/office/drawing/2017/decorative" val="1"/>
                </a:ext>
              </a:extLst>
            </p:cNvPr>
            <p:cNvSpPr/>
            <p:nvPr/>
          </p:nvSpPr>
          <p:spPr>
            <a:xfrm>
              <a:off x="9890147" y="4267848"/>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45" name="Freeform 144">
              <a:extLst>
                <a:ext uri="{FF2B5EF4-FFF2-40B4-BE49-F238E27FC236}">
                  <a16:creationId xmlns:a16="http://schemas.microsoft.com/office/drawing/2014/main" id="{3FAD36BC-7779-527E-872F-25F2CE74FB37}"/>
                </a:ext>
                <a:ext uri="{C183D7F6-B498-43B3-948B-1728B52AA6E4}">
                  <adec:decorative xmlns:adec="http://schemas.microsoft.com/office/drawing/2017/decorative" val="1"/>
                </a:ext>
              </a:extLst>
            </p:cNvPr>
            <p:cNvSpPr/>
            <p:nvPr/>
          </p:nvSpPr>
          <p:spPr>
            <a:xfrm>
              <a:off x="10404070" y="8555151"/>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46" name="Freeform 145">
              <a:extLst>
                <a:ext uri="{FF2B5EF4-FFF2-40B4-BE49-F238E27FC236}">
                  <a16:creationId xmlns:a16="http://schemas.microsoft.com/office/drawing/2014/main" id="{24194A75-C676-477D-1F14-4DAF24B03B4D}"/>
                </a:ext>
                <a:ext uri="{C183D7F6-B498-43B3-948B-1728B52AA6E4}">
                  <adec:decorative xmlns:adec="http://schemas.microsoft.com/office/drawing/2017/decorative" val="1"/>
                </a:ext>
              </a:extLst>
            </p:cNvPr>
            <p:cNvSpPr/>
            <p:nvPr/>
          </p:nvSpPr>
          <p:spPr>
            <a:xfrm>
              <a:off x="28633714" y="9918487"/>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E14C7B"/>
                </a:gs>
                <a:gs pos="17000">
                  <a:srgbClr val="B54292">
                    <a:lumMod val="83000"/>
                  </a:srgbClr>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47" name="Freeform 146">
              <a:extLst>
                <a:ext uri="{FF2B5EF4-FFF2-40B4-BE49-F238E27FC236}">
                  <a16:creationId xmlns:a16="http://schemas.microsoft.com/office/drawing/2014/main" id="{CAE41D77-E045-A295-842F-0AD90A94AE55}"/>
                </a:ext>
                <a:ext uri="{C183D7F6-B498-43B3-948B-1728B52AA6E4}">
                  <adec:decorative xmlns:adec="http://schemas.microsoft.com/office/drawing/2017/decorative" val="1"/>
                </a:ext>
              </a:extLst>
            </p:cNvPr>
            <p:cNvSpPr/>
            <p:nvPr/>
          </p:nvSpPr>
          <p:spPr>
            <a:xfrm>
              <a:off x="16266330" y="7263582"/>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48" name="Freeform 147">
              <a:extLst>
                <a:ext uri="{FF2B5EF4-FFF2-40B4-BE49-F238E27FC236}">
                  <a16:creationId xmlns:a16="http://schemas.microsoft.com/office/drawing/2014/main" id="{ECE766FC-12CE-EAFC-F8F0-8330B1AF26E6}"/>
                </a:ext>
                <a:ext uri="{C183D7F6-B498-43B3-948B-1728B52AA6E4}">
                  <adec:decorative xmlns:adec="http://schemas.microsoft.com/office/drawing/2017/decorative" val="1"/>
                </a:ext>
              </a:extLst>
            </p:cNvPr>
            <p:cNvSpPr/>
            <p:nvPr/>
          </p:nvSpPr>
          <p:spPr>
            <a:xfrm>
              <a:off x="8034994" y="5844939"/>
              <a:ext cx="845294" cy="84505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49" name="Freeform 148">
              <a:extLst>
                <a:ext uri="{FF2B5EF4-FFF2-40B4-BE49-F238E27FC236}">
                  <a16:creationId xmlns:a16="http://schemas.microsoft.com/office/drawing/2014/main" id="{0D5C3D23-C768-EA33-1AFE-24FF8F5943B2}"/>
                </a:ext>
                <a:ext uri="{C183D7F6-B498-43B3-948B-1728B52AA6E4}">
                  <adec:decorative xmlns:adec="http://schemas.microsoft.com/office/drawing/2017/decorative" val="1"/>
                </a:ext>
              </a:extLst>
            </p:cNvPr>
            <p:cNvSpPr/>
            <p:nvPr/>
          </p:nvSpPr>
          <p:spPr>
            <a:xfrm>
              <a:off x="5666519" y="4136075"/>
              <a:ext cx="420496" cy="42037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50" name="Freeform 149">
              <a:extLst>
                <a:ext uri="{FF2B5EF4-FFF2-40B4-BE49-F238E27FC236}">
                  <a16:creationId xmlns:a16="http://schemas.microsoft.com/office/drawing/2014/main" id="{6D6B2276-1E70-C0D7-68B4-80A0604EAB53}"/>
                </a:ext>
                <a:ext uri="{C183D7F6-B498-43B3-948B-1728B52AA6E4}">
                  <adec:decorative xmlns:adec="http://schemas.microsoft.com/office/drawing/2017/decorative" val="1"/>
                </a:ext>
              </a:extLst>
            </p:cNvPr>
            <p:cNvSpPr/>
            <p:nvPr/>
          </p:nvSpPr>
          <p:spPr>
            <a:xfrm>
              <a:off x="5843436" y="6115482"/>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51" name="Freeform 150">
              <a:extLst>
                <a:ext uri="{FF2B5EF4-FFF2-40B4-BE49-F238E27FC236}">
                  <a16:creationId xmlns:a16="http://schemas.microsoft.com/office/drawing/2014/main" id="{14C23584-1959-B023-0146-F3FBB0EAFADF}"/>
                </a:ext>
                <a:ext uri="{C183D7F6-B498-43B3-948B-1728B52AA6E4}">
                  <adec:decorative xmlns:adec="http://schemas.microsoft.com/office/drawing/2017/decorative" val="1"/>
                </a:ext>
              </a:extLst>
            </p:cNvPr>
            <p:cNvSpPr/>
            <p:nvPr/>
          </p:nvSpPr>
          <p:spPr>
            <a:xfrm>
              <a:off x="539316" y="6236290"/>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52" name="Freeform 151">
              <a:extLst>
                <a:ext uri="{FF2B5EF4-FFF2-40B4-BE49-F238E27FC236}">
                  <a16:creationId xmlns:a16="http://schemas.microsoft.com/office/drawing/2014/main" id="{DFCB09F3-C4C6-A409-A424-085AA90C1DD1}"/>
                </a:ext>
                <a:ext uri="{C183D7F6-B498-43B3-948B-1728B52AA6E4}">
                  <adec:decorative xmlns:adec="http://schemas.microsoft.com/office/drawing/2017/decorative" val="1"/>
                </a:ext>
              </a:extLst>
            </p:cNvPr>
            <p:cNvSpPr/>
            <p:nvPr/>
          </p:nvSpPr>
          <p:spPr>
            <a:xfrm>
              <a:off x="8800065" y="4672474"/>
              <a:ext cx="530600" cy="53045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53" name="Freeform 152">
              <a:extLst>
                <a:ext uri="{FF2B5EF4-FFF2-40B4-BE49-F238E27FC236}">
                  <a16:creationId xmlns:a16="http://schemas.microsoft.com/office/drawing/2014/main" id="{170ABA8E-0FCF-5808-69F0-2185103DFCBB}"/>
                </a:ext>
                <a:ext uri="{C183D7F6-B498-43B3-948B-1728B52AA6E4}">
                  <adec:decorative xmlns:adec="http://schemas.microsoft.com/office/drawing/2017/decorative" val="1"/>
                </a:ext>
              </a:extLst>
            </p:cNvPr>
            <p:cNvSpPr/>
            <p:nvPr/>
          </p:nvSpPr>
          <p:spPr>
            <a:xfrm>
              <a:off x="16872249" y="4301168"/>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7000">
                  <a:srgbClr val="7A46B2"/>
                </a:gs>
                <a:gs pos="91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54" name="Freeform 153">
              <a:extLst>
                <a:ext uri="{FF2B5EF4-FFF2-40B4-BE49-F238E27FC236}">
                  <a16:creationId xmlns:a16="http://schemas.microsoft.com/office/drawing/2014/main" id="{EA48C93E-3F20-4C56-B378-3803D777CE88}"/>
                </a:ext>
                <a:ext uri="{C183D7F6-B498-43B3-948B-1728B52AA6E4}">
                  <adec:decorative xmlns:adec="http://schemas.microsoft.com/office/drawing/2017/decorative" val="1"/>
                </a:ext>
              </a:extLst>
            </p:cNvPr>
            <p:cNvSpPr/>
            <p:nvPr/>
          </p:nvSpPr>
          <p:spPr>
            <a:xfrm>
              <a:off x="9842200" y="5863314"/>
              <a:ext cx="533560" cy="53341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55" name="Freeform 154">
              <a:extLst>
                <a:ext uri="{FF2B5EF4-FFF2-40B4-BE49-F238E27FC236}">
                  <a16:creationId xmlns:a16="http://schemas.microsoft.com/office/drawing/2014/main" id="{3D898510-E149-2B04-AF3F-BD8D8350A8C6}"/>
                </a:ext>
                <a:ext uri="{C183D7F6-B498-43B3-948B-1728B52AA6E4}">
                  <adec:decorative xmlns:adec="http://schemas.microsoft.com/office/drawing/2017/decorative" val="1"/>
                </a:ext>
              </a:extLst>
            </p:cNvPr>
            <p:cNvSpPr/>
            <p:nvPr/>
          </p:nvSpPr>
          <p:spPr>
            <a:xfrm>
              <a:off x="23221690" y="7733143"/>
              <a:ext cx="1091546" cy="109123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56" name="Freeform 155">
              <a:extLst>
                <a:ext uri="{FF2B5EF4-FFF2-40B4-BE49-F238E27FC236}">
                  <a16:creationId xmlns:a16="http://schemas.microsoft.com/office/drawing/2014/main" id="{E87F7F6E-997C-3FE3-2AC4-82A5C3975178}"/>
                </a:ext>
                <a:ext uri="{C183D7F6-B498-43B3-948B-1728B52AA6E4}">
                  <adec:decorative xmlns:adec="http://schemas.microsoft.com/office/drawing/2017/decorative" val="1"/>
                </a:ext>
              </a:extLst>
            </p:cNvPr>
            <p:cNvSpPr/>
            <p:nvPr/>
          </p:nvSpPr>
          <p:spPr>
            <a:xfrm>
              <a:off x="22702262" y="10213902"/>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57" name="Freeform 156">
              <a:extLst>
                <a:ext uri="{FF2B5EF4-FFF2-40B4-BE49-F238E27FC236}">
                  <a16:creationId xmlns:a16="http://schemas.microsoft.com/office/drawing/2014/main" id="{2E0A0451-2118-3F90-E886-2CB39191BBC4}"/>
                </a:ext>
                <a:ext uri="{C183D7F6-B498-43B3-948B-1728B52AA6E4}">
                  <adec:decorative xmlns:adec="http://schemas.microsoft.com/office/drawing/2017/decorative" val="1"/>
                </a:ext>
              </a:extLst>
            </p:cNvPr>
            <p:cNvSpPr/>
            <p:nvPr/>
          </p:nvSpPr>
          <p:spPr>
            <a:xfrm>
              <a:off x="17908581" y="6037754"/>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58" name="Freeform 157">
              <a:extLst>
                <a:ext uri="{FF2B5EF4-FFF2-40B4-BE49-F238E27FC236}">
                  <a16:creationId xmlns:a16="http://schemas.microsoft.com/office/drawing/2014/main" id="{5784DB2C-84AE-5C1D-C430-BDD919FC415F}"/>
                </a:ext>
                <a:ext uri="{C183D7F6-B498-43B3-948B-1728B52AA6E4}">
                  <adec:decorative xmlns:adec="http://schemas.microsoft.com/office/drawing/2017/decorative" val="1"/>
                </a:ext>
              </a:extLst>
            </p:cNvPr>
            <p:cNvSpPr/>
            <p:nvPr/>
          </p:nvSpPr>
          <p:spPr>
            <a:xfrm>
              <a:off x="19756262" y="8195840"/>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59" name="Freeform 158">
              <a:extLst>
                <a:ext uri="{FF2B5EF4-FFF2-40B4-BE49-F238E27FC236}">
                  <a16:creationId xmlns:a16="http://schemas.microsoft.com/office/drawing/2014/main" id="{9E51DA43-CA77-CAF7-D280-D35A1C0F689C}"/>
                </a:ext>
                <a:ext uri="{C183D7F6-B498-43B3-948B-1728B52AA6E4}">
                  <adec:decorative xmlns:adec="http://schemas.microsoft.com/office/drawing/2017/decorative" val="1"/>
                </a:ext>
              </a:extLst>
            </p:cNvPr>
            <p:cNvSpPr/>
            <p:nvPr/>
          </p:nvSpPr>
          <p:spPr>
            <a:xfrm>
              <a:off x="26856839" y="7407448"/>
              <a:ext cx="875046" cy="8748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E14C7B"/>
                </a:gs>
                <a:gs pos="20000">
                  <a:srgbClr val="B5429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60" name="Freeform 159">
              <a:extLst>
                <a:ext uri="{FF2B5EF4-FFF2-40B4-BE49-F238E27FC236}">
                  <a16:creationId xmlns:a16="http://schemas.microsoft.com/office/drawing/2014/main" id="{16EB8DDB-43FF-D151-9364-1D71FEFB6698}"/>
                </a:ext>
                <a:ext uri="{C183D7F6-B498-43B3-948B-1728B52AA6E4}">
                  <adec:decorative xmlns:adec="http://schemas.microsoft.com/office/drawing/2017/decorative" val="1"/>
                </a:ext>
              </a:extLst>
            </p:cNvPr>
            <p:cNvSpPr/>
            <p:nvPr/>
          </p:nvSpPr>
          <p:spPr>
            <a:xfrm>
              <a:off x="6997181" y="5089773"/>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61" name="Freeform 160">
              <a:extLst>
                <a:ext uri="{FF2B5EF4-FFF2-40B4-BE49-F238E27FC236}">
                  <a16:creationId xmlns:a16="http://schemas.microsoft.com/office/drawing/2014/main" id="{4FB6AD7D-C8F9-2A63-D2DB-36CC43EEAF0E}"/>
                </a:ext>
                <a:ext uri="{C183D7F6-B498-43B3-948B-1728B52AA6E4}">
                  <adec:decorative xmlns:adec="http://schemas.microsoft.com/office/drawing/2017/decorative" val="1"/>
                </a:ext>
              </a:extLst>
            </p:cNvPr>
            <p:cNvSpPr/>
            <p:nvPr/>
          </p:nvSpPr>
          <p:spPr>
            <a:xfrm>
              <a:off x="13630470" y="1700413"/>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62" name="Freeform 161">
              <a:extLst>
                <a:ext uri="{FF2B5EF4-FFF2-40B4-BE49-F238E27FC236}">
                  <a16:creationId xmlns:a16="http://schemas.microsoft.com/office/drawing/2014/main" id="{A7BFB85D-4474-C85A-7737-4FFF6CE857EB}"/>
                </a:ext>
                <a:ext uri="{C183D7F6-B498-43B3-948B-1728B52AA6E4}">
                  <adec:decorative xmlns:adec="http://schemas.microsoft.com/office/drawing/2017/decorative" val="1"/>
                </a:ext>
              </a:extLst>
            </p:cNvPr>
            <p:cNvSpPr/>
            <p:nvPr/>
          </p:nvSpPr>
          <p:spPr>
            <a:xfrm>
              <a:off x="2041646" y="4539395"/>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63" name="Freeform 162">
              <a:extLst>
                <a:ext uri="{FF2B5EF4-FFF2-40B4-BE49-F238E27FC236}">
                  <a16:creationId xmlns:a16="http://schemas.microsoft.com/office/drawing/2014/main" id="{4D63292E-2B0E-C30D-73E7-9B4D2A85B964}"/>
                </a:ext>
                <a:ext uri="{C183D7F6-B498-43B3-948B-1728B52AA6E4}">
                  <adec:decorative xmlns:adec="http://schemas.microsoft.com/office/drawing/2017/decorative" val="1"/>
                </a:ext>
              </a:extLst>
            </p:cNvPr>
            <p:cNvSpPr/>
            <p:nvPr/>
          </p:nvSpPr>
          <p:spPr>
            <a:xfrm>
              <a:off x="863716" y="4991190"/>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64" name="Freeform 163">
              <a:extLst>
                <a:ext uri="{FF2B5EF4-FFF2-40B4-BE49-F238E27FC236}">
                  <a16:creationId xmlns:a16="http://schemas.microsoft.com/office/drawing/2014/main" id="{B092B9B4-EF4D-7F04-9604-1AFA33C2B644}"/>
                </a:ext>
                <a:ext uri="{C183D7F6-B498-43B3-948B-1728B52AA6E4}">
                  <adec:decorative xmlns:adec="http://schemas.microsoft.com/office/drawing/2017/decorative" val="1"/>
                </a:ext>
              </a:extLst>
            </p:cNvPr>
            <p:cNvSpPr/>
            <p:nvPr/>
          </p:nvSpPr>
          <p:spPr>
            <a:xfrm>
              <a:off x="5176787" y="2737246"/>
              <a:ext cx="828224" cy="82799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65" name="Freeform 164">
              <a:extLst>
                <a:ext uri="{FF2B5EF4-FFF2-40B4-BE49-F238E27FC236}">
                  <a16:creationId xmlns:a16="http://schemas.microsoft.com/office/drawing/2014/main" id="{C9B7A53A-CD89-4090-5F79-DE76C4AF521E}"/>
                </a:ext>
                <a:ext uri="{C183D7F6-B498-43B3-948B-1728B52AA6E4}">
                  <adec:decorative xmlns:adec="http://schemas.microsoft.com/office/drawing/2017/decorative" val="1"/>
                </a:ext>
              </a:extLst>
            </p:cNvPr>
            <p:cNvSpPr/>
            <p:nvPr/>
          </p:nvSpPr>
          <p:spPr>
            <a:xfrm>
              <a:off x="25188368" y="5885816"/>
              <a:ext cx="1091546" cy="109123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66" name="Freeform 165">
              <a:extLst>
                <a:ext uri="{FF2B5EF4-FFF2-40B4-BE49-F238E27FC236}">
                  <a16:creationId xmlns:a16="http://schemas.microsoft.com/office/drawing/2014/main" id="{4D4D9098-3BBB-4B1A-4F5B-6BEC8D181421}"/>
                </a:ext>
                <a:ext uri="{C183D7F6-B498-43B3-948B-1728B52AA6E4}">
                  <adec:decorative xmlns:adec="http://schemas.microsoft.com/office/drawing/2017/decorative" val="1"/>
                </a:ext>
              </a:extLst>
            </p:cNvPr>
            <p:cNvSpPr/>
            <p:nvPr/>
          </p:nvSpPr>
          <p:spPr>
            <a:xfrm>
              <a:off x="23108175" y="5921325"/>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67" name="Freeform 166">
              <a:extLst>
                <a:ext uri="{FF2B5EF4-FFF2-40B4-BE49-F238E27FC236}">
                  <a16:creationId xmlns:a16="http://schemas.microsoft.com/office/drawing/2014/main" id="{2AAAC780-191B-523F-D59A-9B23F193A2F7}"/>
                </a:ext>
                <a:ext uri="{C183D7F6-B498-43B3-948B-1728B52AA6E4}">
                  <adec:decorative xmlns:adec="http://schemas.microsoft.com/office/drawing/2017/decorative" val="1"/>
                </a:ext>
              </a:extLst>
            </p:cNvPr>
            <p:cNvSpPr/>
            <p:nvPr/>
          </p:nvSpPr>
          <p:spPr>
            <a:xfrm>
              <a:off x="23821317" y="3329737"/>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68" name="Freeform 167">
              <a:extLst>
                <a:ext uri="{FF2B5EF4-FFF2-40B4-BE49-F238E27FC236}">
                  <a16:creationId xmlns:a16="http://schemas.microsoft.com/office/drawing/2014/main" id="{51A02A25-E17B-6046-F5F7-9C2F18C357C9}"/>
                </a:ext>
                <a:ext uri="{C183D7F6-B498-43B3-948B-1728B52AA6E4}">
                  <adec:decorative xmlns:adec="http://schemas.microsoft.com/office/drawing/2017/decorative" val="1"/>
                </a:ext>
              </a:extLst>
            </p:cNvPr>
            <p:cNvSpPr/>
            <p:nvPr/>
          </p:nvSpPr>
          <p:spPr>
            <a:xfrm>
              <a:off x="19873891" y="4923793"/>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69" name="Freeform 168">
              <a:extLst>
                <a:ext uri="{FF2B5EF4-FFF2-40B4-BE49-F238E27FC236}">
                  <a16:creationId xmlns:a16="http://schemas.microsoft.com/office/drawing/2014/main" id="{B42FA3E5-011F-71D2-A1E8-DDE7358333BE}"/>
                </a:ext>
                <a:ext uri="{C183D7F6-B498-43B3-948B-1728B52AA6E4}">
                  <adec:decorative xmlns:adec="http://schemas.microsoft.com/office/drawing/2017/decorative" val="1"/>
                </a:ext>
              </a:extLst>
            </p:cNvPr>
            <p:cNvSpPr/>
            <p:nvPr/>
          </p:nvSpPr>
          <p:spPr>
            <a:xfrm>
              <a:off x="25310539" y="7858704"/>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32000">
                  <a:srgbClr val="CA429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70" name="Freeform 169">
              <a:extLst>
                <a:ext uri="{FF2B5EF4-FFF2-40B4-BE49-F238E27FC236}">
                  <a16:creationId xmlns:a16="http://schemas.microsoft.com/office/drawing/2014/main" id="{187D02E5-58E3-6AE3-BCF5-424DE897DE72}"/>
                </a:ext>
                <a:ext uri="{C183D7F6-B498-43B3-948B-1728B52AA6E4}">
                  <adec:decorative xmlns:adec="http://schemas.microsoft.com/office/drawing/2017/decorative" val="1"/>
                </a:ext>
              </a:extLst>
            </p:cNvPr>
            <p:cNvSpPr/>
            <p:nvPr/>
          </p:nvSpPr>
          <p:spPr>
            <a:xfrm>
              <a:off x="14355414" y="6951855"/>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67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71" name="Freeform 170">
              <a:extLst>
                <a:ext uri="{FF2B5EF4-FFF2-40B4-BE49-F238E27FC236}">
                  <a16:creationId xmlns:a16="http://schemas.microsoft.com/office/drawing/2014/main" id="{02F29512-F737-10FF-6311-E2F718B02F55}"/>
                </a:ext>
                <a:ext uri="{C183D7F6-B498-43B3-948B-1728B52AA6E4}">
                  <adec:decorative xmlns:adec="http://schemas.microsoft.com/office/drawing/2017/decorative" val="1"/>
                </a:ext>
              </a:extLst>
            </p:cNvPr>
            <p:cNvSpPr/>
            <p:nvPr/>
          </p:nvSpPr>
          <p:spPr>
            <a:xfrm>
              <a:off x="12737436" y="6217240"/>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67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72" name="Freeform 171">
              <a:extLst>
                <a:ext uri="{FF2B5EF4-FFF2-40B4-BE49-F238E27FC236}">
                  <a16:creationId xmlns:a16="http://schemas.microsoft.com/office/drawing/2014/main" id="{EEEFFD5D-5F50-A2F8-B0D5-30FAA22FA10A}"/>
                </a:ext>
                <a:ext uri="{C183D7F6-B498-43B3-948B-1728B52AA6E4}">
                  <adec:decorative xmlns:adec="http://schemas.microsoft.com/office/drawing/2017/decorative" val="1"/>
                </a:ext>
              </a:extLst>
            </p:cNvPr>
            <p:cNvSpPr/>
            <p:nvPr/>
          </p:nvSpPr>
          <p:spPr>
            <a:xfrm>
              <a:off x="9425522" y="8045470"/>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73" name="Freeform 172">
              <a:extLst>
                <a:ext uri="{FF2B5EF4-FFF2-40B4-BE49-F238E27FC236}">
                  <a16:creationId xmlns:a16="http://schemas.microsoft.com/office/drawing/2014/main" id="{8C5F18AD-BE10-B739-E4FB-D2BE2B3D7497}"/>
                </a:ext>
                <a:ext uri="{C183D7F6-B498-43B3-948B-1728B52AA6E4}">
                  <adec:decorative xmlns:adec="http://schemas.microsoft.com/office/drawing/2017/decorative" val="1"/>
                </a:ext>
              </a:extLst>
            </p:cNvPr>
            <p:cNvSpPr/>
            <p:nvPr/>
          </p:nvSpPr>
          <p:spPr>
            <a:xfrm>
              <a:off x="1420655" y="8508428"/>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74" name="Freeform 173">
              <a:extLst>
                <a:ext uri="{FF2B5EF4-FFF2-40B4-BE49-F238E27FC236}">
                  <a16:creationId xmlns:a16="http://schemas.microsoft.com/office/drawing/2014/main" id="{3882726A-FA52-AE6D-411F-9A1CCC17C142}"/>
                </a:ext>
                <a:ext uri="{C183D7F6-B498-43B3-948B-1728B52AA6E4}">
                  <adec:decorative xmlns:adec="http://schemas.microsoft.com/office/drawing/2017/decorative" val="1"/>
                </a:ext>
              </a:extLst>
            </p:cNvPr>
            <p:cNvSpPr/>
            <p:nvPr/>
          </p:nvSpPr>
          <p:spPr>
            <a:xfrm>
              <a:off x="15687323" y="8908745"/>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75" name="Freeform 174">
              <a:extLst>
                <a:ext uri="{FF2B5EF4-FFF2-40B4-BE49-F238E27FC236}">
                  <a16:creationId xmlns:a16="http://schemas.microsoft.com/office/drawing/2014/main" id="{98D0184F-3256-B797-527B-B6941F7BCA5C}"/>
                </a:ext>
                <a:ext uri="{C183D7F6-B498-43B3-948B-1728B52AA6E4}">
                  <adec:decorative xmlns:adec="http://schemas.microsoft.com/office/drawing/2017/decorative" val="1"/>
                </a:ext>
              </a:extLst>
            </p:cNvPr>
            <p:cNvSpPr/>
            <p:nvPr/>
          </p:nvSpPr>
          <p:spPr>
            <a:xfrm>
              <a:off x="19652419" y="6545258"/>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76" name="Freeform 175">
              <a:extLst>
                <a:ext uri="{FF2B5EF4-FFF2-40B4-BE49-F238E27FC236}">
                  <a16:creationId xmlns:a16="http://schemas.microsoft.com/office/drawing/2014/main" id="{EF8CA122-E8F3-E1CF-8AE8-A5307E9C458C}"/>
                </a:ext>
                <a:ext uri="{C183D7F6-B498-43B3-948B-1728B52AA6E4}">
                  <adec:decorative xmlns:adec="http://schemas.microsoft.com/office/drawing/2017/decorative" val="1"/>
                </a:ext>
              </a:extLst>
            </p:cNvPr>
            <p:cNvSpPr/>
            <p:nvPr/>
          </p:nvSpPr>
          <p:spPr>
            <a:xfrm>
              <a:off x="9784764" y="11226029"/>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67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77" name="Freeform 176">
              <a:extLst>
                <a:ext uri="{FF2B5EF4-FFF2-40B4-BE49-F238E27FC236}">
                  <a16:creationId xmlns:a16="http://schemas.microsoft.com/office/drawing/2014/main" id="{6D023B6F-E06D-0BE6-250B-647EC9AC5CA3}"/>
                </a:ext>
                <a:ext uri="{C183D7F6-B498-43B3-948B-1728B52AA6E4}">
                  <adec:decorative xmlns:adec="http://schemas.microsoft.com/office/drawing/2017/decorative" val="1"/>
                </a:ext>
              </a:extLst>
            </p:cNvPr>
            <p:cNvSpPr/>
            <p:nvPr/>
          </p:nvSpPr>
          <p:spPr>
            <a:xfrm>
              <a:off x="18165602" y="9355599"/>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78" name="Freeform 177">
              <a:extLst>
                <a:ext uri="{FF2B5EF4-FFF2-40B4-BE49-F238E27FC236}">
                  <a16:creationId xmlns:a16="http://schemas.microsoft.com/office/drawing/2014/main" id="{064EC768-699B-D674-7A50-C13C07B4BD58}"/>
                </a:ext>
                <a:ext uri="{C183D7F6-B498-43B3-948B-1728B52AA6E4}">
                  <adec:decorative xmlns:adec="http://schemas.microsoft.com/office/drawing/2017/decorative" val="1"/>
                </a:ext>
              </a:extLst>
            </p:cNvPr>
            <p:cNvSpPr/>
            <p:nvPr/>
          </p:nvSpPr>
          <p:spPr>
            <a:xfrm>
              <a:off x="27580539" y="5914889"/>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500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79" name="Freeform 178">
              <a:extLst>
                <a:ext uri="{FF2B5EF4-FFF2-40B4-BE49-F238E27FC236}">
                  <a16:creationId xmlns:a16="http://schemas.microsoft.com/office/drawing/2014/main" id="{99082EDE-0319-B95B-481E-916177CDE160}"/>
                </a:ext>
                <a:ext uri="{C183D7F6-B498-43B3-948B-1728B52AA6E4}">
                  <adec:decorative xmlns:adec="http://schemas.microsoft.com/office/drawing/2017/decorative" val="1"/>
                </a:ext>
              </a:extLst>
            </p:cNvPr>
            <p:cNvSpPr/>
            <p:nvPr/>
          </p:nvSpPr>
          <p:spPr>
            <a:xfrm>
              <a:off x="21438471" y="8491255"/>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80" name="Freeform 179">
              <a:extLst>
                <a:ext uri="{FF2B5EF4-FFF2-40B4-BE49-F238E27FC236}">
                  <a16:creationId xmlns:a16="http://schemas.microsoft.com/office/drawing/2014/main" id="{3A6BD1C6-783A-3441-3037-FC7A76D28D75}"/>
                </a:ext>
                <a:ext uri="{C183D7F6-B498-43B3-948B-1728B52AA6E4}">
                  <adec:decorative xmlns:adec="http://schemas.microsoft.com/office/drawing/2017/decorative" val="1"/>
                </a:ext>
              </a:extLst>
            </p:cNvPr>
            <p:cNvSpPr/>
            <p:nvPr/>
          </p:nvSpPr>
          <p:spPr>
            <a:xfrm>
              <a:off x="7095095" y="7855275"/>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81" name="Freeform 180">
              <a:extLst>
                <a:ext uri="{FF2B5EF4-FFF2-40B4-BE49-F238E27FC236}">
                  <a16:creationId xmlns:a16="http://schemas.microsoft.com/office/drawing/2014/main" id="{BD88701D-E051-681E-563F-7A91870F7936}"/>
                </a:ext>
                <a:ext uri="{C183D7F6-B498-43B3-948B-1728B52AA6E4}">
                  <adec:decorative xmlns:adec="http://schemas.microsoft.com/office/drawing/2017/decorative" val="1"/>
                </a:ext>
              </a:extLst>
            </p:cNvPr>
            <p:cNvSpPr/>
            <p:nvPr/>
          </p:nvSpPr>
          <p:spPr>
            <a:xfrm>
              <a:off x="28103625" y="7146643"/>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E14C7B"/>
                </a:gs>
                <a:gs pos="20000">
                  <a:srgbClr val="B5429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82" name="Freeform 181">
              <a:extLst>
                <a:ext uri="{FF2B5EF4-FFF2-40B4-BE49-F238E27FC236}">
                  <a16:creationId xmlns:a16="http://schemas.microsoft.com/office/drawing/2014/main" id="{98E082F1-AB1B-90FD-ED77-75192DA52BBD}"/>
                </a:ext>
                <a:ext uri="{C183D7F6-B498-43B3-948B-1728B52AA6E4}">
                  <adec:decorative xmlns:adec="http://schemas.microsoft.com/office/drawing/2017/decorative" val="1"/>
                </a:ext>
              </a:extLst>
            </p:cNvPr>
            <p:cNvSpPr/>
            <p:nvPr/>
          </p:nvSpPr>
          <p:spPr>
            <a:xfrm>
              <a:off x="11026621" y="4571018"/>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83" name="Freeform 182">
              <a:extLst>
                <a:ext uri="{FF2B5EF4-FFF2-40B4-BE49-F238E27FC236}">
                  <a16:creationId xmlns:a16="http://schemas.microsoft.com/office/drawing/2014/main" id="{AFA7121D-C7F6-8DED-57DB-225C63362F51}"/>
                </a:ext>
                <a:ext uri="{C183D7F6-B498-43B3-948B-1728B52AA6E4}">
                  <adec:decorative xmlns:adec="http://schemas.microsoft.com/office/drawing/2017/decorative" val="1"/>
                </a:ext>
              </a:extLst>
            </p:cNvPr>
            <p:cNvSpPr/>
            <p:nvPr/>
          </p:nvSpPr>
          <p:spPr>
            <a:xfrm>
              <a:off x="11115333" y="7263582"/>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84" name="Freeform 183">
              <a:extLst>
                <a:ext uri="{FF2B5EF4-FFF2-40B4-BE49-F238E27FC236}">
                  <a16:creationId xmlns:a16="http://schemas.microsoft.com/office/drawing/2014/main" id="{0BBC2A7B-FD6F-033F-CBD8-5C4E554EE194}"/>
                </a:ext>
                <a:ext uri="{C183D7F6-B498-43B3-948B-1728B52AA6E4}">
                  <adec:decorative xmlns:adec="http://schemas.microsoft.com/office/drawing/2017/decorative" val="1"/>
                </a:ext>
              </a:extLst>
            </p:cNvPr>
            <p:cNvSpPr/>
            <p:nvPr/>
          </p:nvSpPr>
          <p:spPr>
            <a:xfrm>
              <a:off x="12771395" y="4090736"/>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85" name="Freeform 184">
              <a:extLst>
                <a:ext uri="{FF2B5EF4-FFF2-40B4-BE49-F238E27FC236}">
                  <a16:creationId xmlns:a16="http://schemas.microsoft.com/office/drawing/2014/main" id="{451B3713-67BA-3E4B-9394-51CAEF786663}"/>
                </a:ext>
                <a:ext uri="{C183D7F6-B498-43B3-948B-1728B52AA6E4}">
                  <adec:decorative xmlns:adec="http://schemas.microsoft.com/office/drawing/2017/decorative" val="1"/>
                </a:ext>
              </a:extLst>
            </p:cNvPr>
            <p:cNvSpPr/>
            <p:nvPr/>
          </p:nvSpPr>
          <p:spPr>
            <a:xfrm>
              <a:off x="13588373" y="8540306"/>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67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86" name="Freeform 185">
              <a:extLst>
                <a:ext uri="{FF2B5EF4-FFF2-40B4-BE49-F238E27FC236}">
                  <a16:creationId xmlns:a16="http://schemas.microsoft.com/office/drawing/2014/main" id="{0AA5A099-C314-CE10-FC0C-1C5F2747EECE}"/>
                </a:ext>
                <a:ext uri="{C183D7F6-B498-43B3-948B-1728B52AA6E4}">
                  <adec:decorative xmlns:adec="http://schemas.microsoft.com/office/drawing/2017/decorative" val="1"/>
                </a:ext>
              </a:extLst>
            </p:cNvPr>
            <p:cNvSpPr/>
            <p:nvPr/>
          </p:nvSpPr>
          <p:spPr>
            <a:xfrm>
              <a:off x="15194849" y="10152388"/>
              <a:ext cx="1008828" cy="100855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87" name="Freeform 186">
              <a:extLst>
                <a:ext uri="{FF2B5EF4-FFF2-40B4-BE49-F238E27FC236}">
                  <a16:creationId xmlns:a16="http://schemas.microsoft.com/office/drawing/2014/main" id="{6A4AA4FF-8B19-DFBC-753C-B392BC824E6A}"/>
                </a:ext>
                <a:ext uri="{C183D7F6-B498-43B3-948B-1728B52AA6E4}">
                  <adec:decorative xmlns:adec="http://schemas.microsoft.com/office/drawing/2017/decorative" val="1"/>
                </a:ext>
              </a:extLst>
            </p:cNvPr>
            <p:cNvSpPr/>
            <p:nvPr/>
          </p:nvSpPr>
          <p:spPr>
            <a:xfrm>
              <a:off x="3708257" y="5244193"/>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148"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grpSp>
      <p:pic>
        <p:nvPicPr>
          <p:cNvPr id="68" name="overlay 2">
            <a:extLst>
              <a:ext uri="{FF2B5EF4-FFF2-40B4-BE49-F238E27FC236}">
                <a16:creationId xmlns:a16="http://schemas.microsoft.com/office/drawing/2014/main" id="{A0B19086-99D6-D649-5DAA-94065B54DDA2}"/>
              </a:ext>
            </a:extLst>
          </p:cNvPr>
          <p:cNvPicPr>
            <a:picLocks noChangeAspect="1"/>
          </p:cNvPicPr>
          <p:nvPr/>
        </p:nvPicPr>
        <p:blipFill>
          <a:blip r:embed="rId4">
            <a:alphaModFix amt="78000"/>
          </a:blip>
          <a:srcRect/>
          <a:stretch/>
        </p:blipFill>
        <p:spPr>
          <a:xfrm>
            <a:off x="0" y="2381"/>
            <a:ext cx="12194169" cy="6858001"/>
          </a:xfrm>
          <a:prstGeom prst="rect">
            <a:avLst/>
          </a:prstGeom>
        </p:spPr>
      </p:pic>
      <p:sp>
        <p:nvSpPr>
          <p:cNvPr id="77" name="TextBox 76">
            <a:extLst>
              <a:ext uri="{FF2B5EF4-FFF2-40B4-BE49-F238E27FC236}">
                <a16:creationId xmlns:a16="http://schemas.microsoft.com/office/drawing/2014/main" id="{E52B06DA-DD37-9EF4-40EF-07C7B89073E9}"/>
              </a:ext>
            </a:extLst>
          </p:cNvPr>
          <p:cNvSpPr txBox="1"/>
          <p:nvPr/>
        </p:nvSpPr>
        <p:spPr>
          <a:xfrm>
            <a:off x="2035307" y="4422384"/>
            <a:ext cx="8121387" cy="385170"/>
          </a:xfrm>
          <a:prstGeom prst="rect">
            <a:avLst/>
          </a:prstGeom>
          <a:noFill/>
        </p:spPr>
        <p:txBody>
          <a:bodyPr wrap="square" lIns="0" tIns="0" rIns="0" bIns="0">
            <a:spAutoFit/>
          </a:bodyPr>
          <a:lstStyle/>
          <a:p>
            <a:pPr marL="0" marR="0" lvl="0" indent="0" algn="ctr" defTabSz="750357" rtl="0" eaLnBrk="1" fontAlgn="auto" latinLnBrk="0" hangingPunct="1">
              <a:lnSpc>
                <a:spcPct val="100000"/>
              </a:lnSpc>
              <a:spcBef>
                <a:spcPts val="0"/>
              </a:spcBef>
              <a:spcAft>
                <a:spcPts val="0"/>
              </a:spcAft>
              <a:buClrTx/>
              <a:buSzTx/>
              <a:buFontTx/>
              <a:buNone/>
              <a:tabLst/>
              <a:defRPr/>
            </a:pPr>
            <a:r>
              <a:rPr kumimoji="0" lang="fr-fr" sz="2503" b="1" i="0" u="none" strike="noStrike" kern="1200" cap="none" spc="-41" normalizeH="0" baseline="0" noProof="0">
                <a:ln w="3175">
                  <a:noFill/>
                </a:ln>
                <a:gradFill>
                  <a:gsLst>
                    <a:gs pos="100000">
                      <a:srgbClr val="C13BC5">
                        <a:lumMod val="70000"/>
                        <a:lumOff val="30000"/>
                      </a:srgbClr>
                    </a:gs>
                    <a:gs pos="0">
                      <a:srgbClr val="0A6BBA">
                        <a:lumMod val="79770"/>
                        <a:lumOff val="20230"/>
                      </a:srgbClr>
                    </a:gs>
                  </a:gsLst>
                  <a:path path="circle">
                    <a:fillToRect l="100000" t="100000"/>
                  </a:path>
                </a:gradFill>
                <a:effectLst/>
                <a:uLnTx/>
                <a:uFillTx/>
                <a:latin typeface="Segoe UI Semibold" panose="020B0702040204020203" pitchFamily="34" charset="0"/>
                <a:ea typeface="+mn-ea"/>
                <a:cs typeface="Segoe UI Semibold" panose="020B0702040204020203" pitchFamily="34" charset="0"/>
              </a:rPr>
              <a:t>La plateforme de contrôle pour les agents</a:t>
            </a:r>
            <a:endParaRPr kumimoji="0" lang="en-US" sz="2503" b="1" i="0" u="none" strike="noStrike" kern="1200" cap="none" spc="0" normalizeH="0" baseline="0" noProof="0">
              <a:ln>
                <a:noFill/>
              </a:ln>
              <a:gradFill>
                <a:gsLst>
                  <a:gs pos="100000">
                    <a:srgbClr val="C13BC5">
                      <a:lumMod val="70000"/>
                      <a:lumOff val="30000"/>
                    </a:srgbClr>
                  </a:gs>
                  <a:gs pos="0">
                    <a:srgbClr val="0A6BBA">
                      <a:lumMod val="79770"/>
                      <a:lumOff val="20230"/>
                    </a:srgbClr>
                  </a:gs>
                </a:gsLst>
                <a:path path="circle">
                  <a:fillToRect l="100000" t="100000"/>
                </a:path>
              </a:gradFill>
              <a:effectLst/>
              <a:uLnTx/>
              <a:uFillTx/>
              <a:latin typeface="Segoe UI Semibold" panose="020B0702040204020203" pitchFamily="34" charset="0"/>
              <a:ea typeface="+mn-ea"/>
              <a:cs typeface="Segoe UI Semibold" panose="020B0702040204020203" pitchFamily="34" charset="0"/>
            </a:endParaRPr>
          </a:p>
        </p:txBody>
      </p:sp>
      <p:grpSp>
        <p:nvGrpSpPr>
          <p:cNvPr id="79" name="Group 78">
            <a:extLst>
              <a:ext uri="{FF2B5EF4-FFF2-40B4-BE49-F238E27FC236}">
                <a16:creationId xmlns:a16="http://schemas.microsoft.com/office/drawing/2014/main" id="{4F7B02E1-95EB-595C-7144-DE169A9FF35C}"/>
              </a:ext>
            </a:extLst>
          </p:cNvPr>
          <p:cNvGrpSpPr/>
          <p:nvPr/>
        </p:nvGrpSpPr>
        <p:grpSpPr>
          <a:xfrm>
            <a:off x="5404612" y="1479914"/>
            <a:ext cx="1382777" cy="462123"/>
            <a:chOff x="11930831" y="2139645"/>
            <a:chExt cx="5856339" cy="1957186"/>
          </a:xfrm>
        </p:grpSpPr>
        <p:sp>
          <p:nvSpPr>
            <p:cNvPr id="80" name="Rounded Rectangle 79">
              <a:extLst>
                <a:ext uri="{FF2B5EF4-FFF2-40B4-BE49-F238E27FC236}">
                  <a16:creationId xmlns:a16="http://schemas.microsoft.com/office/drawing/2014/main" id="{9177B5F9-9345-21FE-2FE0-61181821DE25}"/>
                </a:ext>
              </a:extLst>
            </p:cNvPr>
            <p:cNvSpPr/>
            <p:nvPr/>
          </p:nvSpPr>
          <p:spPr bwMode="auto">
            <a:xfrm>
              <a:off x="11930831" y="2139645"/>
              <a:ext cx="5856339" cy="1957186"/>
            </a:xfrm>
            <a:prstGeom prst="roundRect">
              <a:avLst>
                <a:gd name="adj" fmla="val 21167"/>
              </a:avLst>
            </a:prstGeom>
            <a:gradFill flip="none" rotWithShape="1">
              <a:gsLst>
                <a:gs pos="100000">
                  <a:srgbClr val="C13BC5"/>
                </a:gs>
                <a:gs pos="0">
                  <a:srgbClr val="0A6BBA"/>
                </a:gs>
              </a:gsLst>
              <a:lin ang="2700000" scaled="0"/>
              <a:tileRect/>
            </a:gradFill>
            <a:ln w="76200">
              <a:noFill/>
              <a:headEnd type="none" w="med" len="med"/>
              <a:tailEnd type="none" w="med" len="med"/>
            </a:ln>
            <a:effectLst>
              <a:outerShdw blurRad="1270000" dist="101600" dir="5400000" sx="105000" sy="105000" algn="t" rotWithShape="0">
                <a:srgbClr val="0C073D">
                  <a:alpha val="8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055" tIns="120044" rIns="150055" bIns="147692" numCol="1" spcCol="0" rtlCol="0" fromWordArt="0" anchor="ctr" anchorCtr="0" forceAA="0" compatLnSpc="1">
              <a:prstTxWarp prst="textNoShape">
                <a:avLst/>
              </a:prstTxWarp>
              <a:noAutofit/>
            </a:bodyPr>
            <a:lstStyle/>
            <a:p>
              <a:pPr marL="0" marR="0" lvl="0" indent="0" algn="ctr" defTabSz="765187" rtl="0" eaLnBrk="1" fontAlgn="base" latinLnBrk="0" hangingPunct="1">
                <a:lnSpc>
                  <a:spcPct val="100000"/>
                </a:lnSpc>
                <a:spcBef>
                  <a:spcPct val="0"/>
                </a:spcBef>
                <a:spcAft>
                  <a:spcPct val="0"/>
                </a:spcAft>
                <a:buClrTx/>
                <a:buSzTx/>
                <a:buFontTx/>
                <a:buNone/>
                <a:tabLst/>
                <a:defRPr/>
              </a:pPr>
              <a:endParaRPr kumimoji="0" lang="en-US" sz="5826" b="1" i="0" u="none" strike="noStrike" kern="1200" cap="none" spc="-246" normalizeH="0" baseline="0" noProof="0">
                <a:ln>
                  <a:noFill/>
                </a:ln>
                <a:gradFill>
                  <a:gsLst>
                    <a:gs pos="0">
                      <a:srgbClr val="FFFFFF"/>
                    </a:gs>
                    <a:gs pos="40000">
                      <a:srgbClr val="FFFFFF"/>
                    </a:gs>
                  </a:gsLst>
                  <a:path path="circle">
                    <a:fillToRect l="100000" t="100000"/>
                  </a:path>
                </a:gradFill>
                <a:effectLst/>
                <a:uLnTx/>
                <a:uFillTx/>
                <a:latin typeface="Segoe UI Variable Display Semibold" pitchFamily="2" charset="0"/>
                <a:ea typeface="Segoe UI" pitchFamily="34" charset="0"/>
                <a:cs typeface="Segoe UI" pitchFamily="34" charset="0"/>
              </a:endParaRPr>
            </a:p>
          </p:txBody>
        </p:sp>
        <p:sp>
          <p:nvSpPr>
            <p:cNvPr id="81" name="TextBox 80">
              <a:extLst>
                <a:ext uri="{FF2B5EF4-FFF2-40B4-BE49-F238E27FC236}">
                  <a16:creationId xmlns:a16="http://schemas.microsoft.com/office/drawing/2014/main" id="{F83A7FF0-84AE-FFA2-A796-B99B0CEABD91}"/>
                </a:ext>
              </a:extLst>
            </p:cNvPr>
            <p:cNvSpPr txBox="1"/>
            <p:nvPr/>
          </p:nvSpPr>
          <p:spPr>
            <a:xfrm>
              <a:off x="12041044" y="2625796"/>
              <a:ext cx="5635918" cy="1069411"/>
            </a:xfrm>
            <a:prstGeom prst="rect">
              <a:avLst/>
            </a:prstGeom>
            <a:noFill/>
          </p:spPr>
          <p:txBody>
            <a:bodyPr wrap="square" lIns="0" tIns="0" rIns="0" bIns="0">
              <a:spAutoFit/>
            </a:bodyPr>
            <a:lstStyle/>
            <a:p>
              <a:pPr marL="0" marR="0" lvl="0" indent="0" algn="ctr" defTabSz="750357" rtl="0" eaLnBrk="1" fontAlgn="auto" latinLnBrk="0" hangingPunct="1">
                <a:lnSpc>
                  <a:spcPct val="100000"/>
                </a:lnSpc>
                <a:spcBef>
                  <a:spcPts val="0"/>
                </a:spcBef>
                <a:spcAft>
                  <a:spcPts val="0"/>
                </a:spcAft>
                <a:buClrTx/>
                <a:buSzTx/>
                <a:buFontTx/>
                <a:buNone/>
                <a:tabLst/>
                <a:defRPr/>
              </a:pPr>
              <a:r>
                <a:rPr kumimoji="0" lang="fr-fr" sz="1641" b="1" i="0" u="none" strike="noStrike" kern="1200" cap="none" spc="-41" normalizeH="0" baseline="0" noProof="0">
                  <a:ln w="3175">
                    <a:noFill/>
                  </a:ln>
                  <a:gradFill>
                    <a:gsLst>
                      <a:gs pos="0">
                        <a:prstClr val="white"/>
                      </a:gs>
                      <a:gs pos="40000">
                        <a:prstClr val="white"/>
                      </a:gs>
                    </a:gsLst>
                    <a:path path="circle">
                      <a:fillToRect l="100000" t="100000"/>
                    </a:path>
                  </a:gradFill>
                  <a:effectLst/>
                  <a:uLnTx/>
                  <a:uFillTx/>
                  <a:latin typeface="Segoe UI Semibold" panose="020B0702040204020203" pitchFamily="34" charset="0"/>
                  <a:ea typeface="+mn-ea"/>
                  <a:cs typeface="Segoe UI Semibold" panose="020B0702040204020203" pitchFamily="34" charset="0"/>
                </a:rPr>
                <a:t>Présentation</a:t>
              </a:r>
              <a:endParaRPr kumimoji="0" lang="en-US" sz="1641" b="1" i="0" u="none" strike="noStrike" kern="1200" cap="none" spc="0" normalizeH="0" baseline="0" noProof="0">
                <a:ln>
                  <a:noFill/>
                </a:ln>
                <a:gradFill>
                  <a:gsLst>
                    <a:gs pos="0">
                      <a:prstClr val="white"/>
                    </a:gs>
                    <a:gs pos="40000">
                      <a:prstClr val="white"/>
                    </a:gs>
                  </a:gsLst>
                  <a:path path="circle">
                    <a:fillToRect l="100000" t="100000"/>
                  </a:path>
                </a:gradFill>
                <a:effectLst/>
                <a:uLnTx/>
                <a:uFillTx/>
                <a:latin typeface="Segoe UI Semibold" panose="020B0702040204020203" pitchFamily="34" charset="0"/>
                <a:ea typeface="+mn-ea"/>
                <a:cs typeface="Segoe UI Semibold" panose="020B0702040204020203" pitchFamily="34" charset="0"/>
              </a:endParaRPr>
            </a:p>
          </p:txBody>
        </p:sp>
      </p:grpSp>
      <p:grpSp>
        <p:nvGrpSpPr>
          <p:cNvPr id="82" name="Group 81">
            <a:extLst>
              <a:ext uri="{FF2B5EF4-FFF2-40B4-BE49-F238E27FC236}">
                <a16:creationId xmlns:a16="http://schemas.microsoft.com/office/drawing/2014/main" id="{DEB56704-842E-CE56-3FC1-134731E652BE}"/>
              </a:ext>
            </a:extLst>
          </p:cNvPr>
          <p:cNvGrpSpPr/>
          <p:nvPr/>
        </p:nvGrpSpPr>
        <p:grpSpPr>
          <a:xfrm>
            <a:off x="2724298" y="2312107"/>
            <a:ext cx="6743405" cy="1832429"/>
            <a:chOff x="4096921" y="-150734"/>
            <a:chExt cx="4356363" cy="1183783"/>
          </a:xfrm>
        </p:grpSpPr>
        <p:sp>
          <p:nvSpPr>
            <p:cNvPr id="83" name="TextBox 82">
              <a:extLst>
                <a:ext uri="{FF2B5EF4-FFF2-40B4-BE49-F238E27FC236}">
                  <a16:creationId xmlns:a16="http://schemas.microsoft.com/office/drawing/2014/main" id="{2F8C4DD2-4E08-7C65-B901-1F6F8B60009D}"/>
                </a:ext>
              </a:extLst>
            </p:cNvPr>
            <p:cNvSpPr txBox="1"/>
            <p:nvPr/>
          </p:nvSpPr>
          <p:spPr>
            <a:xfrm>
              <a:off x="4096921" y="494572"/>
              <a:ext cx="4356363" cy="538477"/>
            </a:xfrm>
            <a:prstGeom prst="rect">
              <a:avLst/>
            </a:prstGeom>
            <a:noFill/>
          </p:spPr>
          <p:txBody>
            <a:bodyPr wrap="square" lIns="75028" tIns="37514" rIns="75028" bIns="37514" rtlCol="0" anchor="t">
              <a:spAutoFit/>
            </a:bodyPr>
            <a:lstStyle/>
            <a:p>
              <a:pPr marL="0" marR="0" lvl="0" indent="0" algn="ctr" defTabSz="750357" rtl="0" eaLnBrk="1" fontAlgn="auto" latinLnBrk="0" hangingPunct="1">
                <a:lnSpc>
                  <a:spcPct val="100000"/>
                </a:lnSpc>
                <a:spcBef>
                  <a:spcPts val="0"/>
                </a:spcBef>
                <a:spcAft>
                  <a:spcPts val="0"/>
                </a:spcAft>
                <a:buClrTx/>
                <a:buSzTx/>
                <a:buFontTx/>
                <a:buNone/>
                <a:tabLst/>
                <a:defRPr/>
              </a:pPr>
              <a:r>
                <a:rPr kumimoji="0" lang="fr-fr" sz="4924" b="1" i="0" u="none" strike="noStrike" kern="1200" cap="none" spc="-205" normalizeH="0" baseline="0" noProof="0">
                  <a:ln>
                    <a:noFill/>
                  </a:ln>
                  <a:gradFill>
                    <a:gsLst>
                      <a:gs pos="0">
                        <a:srgbClr val="FFFFFF"/>
                      </a:gs>
                      <a:gs pos="100000">
                        <a:srgbClr val="D1BFF2"/>
                      </a:gs>
                    </a:gsLst>
                    <a:lin ang="2700000" scaled="0"/>
                  </a:gradFill>
                  <a:effectLst/>
                  <a:uLnTx/>
                  <a:uFillTx/>
                  <a:latin typeface="Segoe UI Semibold" panose="020B0702040204020203" pitchFamily="34" charset="0"/>
                  <a:ea typeface="+mn-ea"/>
                  <a:cs typeface="Segoe UI Semibold" panose="020B0702040204020203" pitchFamily="34" charset="0"/>
                </a:rPr>
                <a:t>Microsoft Agent 365</a:t>
              </a:r>
            </a:p>
          </p:txBody>
        </p:sp>
        <p:pic>
          <p:nvPicPr>
            <p:cNvPr id="84" name="Graphic 83">
              <a:extLst>
                <a:ext uri="{FF2B5EF4-FFF2-40B4-BE49-F238E27FC236}">
                  <a16:creationId xmlns:a16="http://schemas.microsoft.com/office/drawing/2014/main" id="{DF25AD68-5CBE-6E31-7642-11509464226E}"/>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983071" y="-150734"/>
              <a:ext cx="584063" cy="584063"/>
            </a:xfrm>
            <a:prstGeom prst="rect">
              <a:avLst/>
            </a:prstGeom>
            <a:effectLst>
              <a:outerShdw blurRad="50800" dist="38100" dir="2700000" algn="tl" rotWithShape="0">
                <a:srgbClr val="0C073D">
                  <a:alpha val="40000"/>
                </a:srgbClr>
              </a:outerShdw>
            </a:effectLst>
          </p:spPr>
        </p:pic>
      </p:grpSp>
    </p:spTree>
    <p:custDataLst>
      <p:tags r:id="rId1"/>
    </p:custDataLst>
    <p:extLst>
      <p:ext uri="{BB962C8B-B14F-4D97-AF65-F5344CB8AC3E}">
        <p14:creationId xmlns:p14="http://schemas.microsoft.com/office/powerpoint/2010/main" val="14949745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accel="50000" fill="hold" grpId="0" nodeType="withEffect">
                                  <p:stCondLst>
                                    <p:cond delay="20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750"/>
                                        <p:tgtEl>
                                          <p:spTgt spid="77"/>
                                        </p:tgtEl>
                                      </p:cBhvr>
                                    </p:animEffect>
                                  </p:childTnLst>
                                </p:cTn>
                              </p:par>
                              <p:par>
                                <p:cTn id="8" presetID="42" presetClass="path" presetSubtype="0" accel="50000" decel="100000" fill="hold" grpId="1" nodeType="withEffect">
                                  <p:stCondLst>
                                    <p:cond delay="200"/>
                                  </p:stCondLst>
                                  <p:childTnLst>
                                    <p:animMotion origin="layout" path="M 0 -3.88889E-6 L 0 0.03542 " pathEditMode="relative" rAng="0" ptsTypes="AA">
                                      <p:cBhvr>
                                        <p:cTn id="9" dur="750" spd="-100000" fill="hold"/>
                                        <p:tgtEl>
                                          <p:spTgt spid="77"/>
                                        </p:tgtEl>
                                        <p:attrNameLst>
                                          <p:attrName>ppt_x</p:attrName>
                                          <p:attrName>ppt_y</p:attrName>
                                        </p:attrNameLst>
                                      </p:cBhvr>
                                      <p:rCtr x="0" y="1771"/>
                                    </p:animMotion>
                                  </p:childTnLst>
                                </p:cTn>
                              </p:par>
                              <p:par>
                                <p:cTn id="10" presetID="10" presetClass="entr" presetSubtype="0" accel="50000" fill="hold" nodeType="withEffect">
                                  <p:stCondLst>
                                    <p:cond delay="100"/>
                                  </p:stCondLst>
                                  <p:childTnLst>
                                    <p:set>
                                      <p:cBhvr>
                                        <p:cTn id="11" dur="1" fill="hold">
                                          <p:stCondLst>
                                            <p:cond delay="0"/>
                                          </p:stCondLst>
                                        </p:cTn>
                                        <p:tgtEl>
                                          <p:spTgt spid="82"/>
                                        </p:tgtEl>
                                        <p:attrNameLst>
                                          <p:attrName>style.visibility</p:attrName>
                                        </p:attrNameLst>
                                      </p:cBhvr>
                                      <p:to>
                                        <p:strVal val="visible"/>
                                      </p:to>
                                    </p:set>
                                    <p:animEffect transition="in" filter="fade">
                                      <p:cBhvr>
                                        <p:cTn id="12" dur="750"/>
                                        <p:tgtEl>
                                          <p:spTgt spid="82"/>
                                        </p:tgtEl>
                                      </p:cBhvr>
                                    </p:animEffect>
                                  </p:childTnLst>
                                </p:cTn>
                              </p:par>
                              <p:par>
                                <p:cTn id="13" presetID="42" presetClass="path" presetSubtype="0" accel="50000" decel="100000" fill="hold" nodeType="withEffect">
                                  <p:stCondLst>
                                    <p:cond delay="100"/>
                                  </p:stCondLst>
                                  <p:childTnLst>
                                    <p:animMotion origin="layout" path="M 0 -3.88889E-6 L 0 0.03542 " pathEditMode="relative" rAng="0" ptsTypes="AA">
                                      <p:cBhvr>
                                        <p:cTn id="14" dur="750" spd="-100000" fill="hold"/>
                                        <p:tgtEl>
                                          <p:spTgt spid="82"/>
                                        </p:tgtEl>
                                        <p:attrNameLst>
                                          <p:attrName>ppt_x</p:attrName>
                                          <p:attrName>ppt_y</p:attrName>
                                        </p:attrNameLst>
                                      </p:cBhvr>
                                      <p:rCtr x="0" y="1771"/>
                                    </p:animMotion>
                                  </p:childTnLst>
                                </p:cTn>
                              </p:par>
                              <p:par>
                                <p:cTn id="15" presetID="10" presetClass="entr" presetSubtype="0" accel="50000" fill="hold" nodeType="withEffect">
                                  <p:stCondLst>
                                    <p:cond delay="0"/>
                                  </p:stCondLst>
                                  <p:childTnLst>
                                    <p:set>
                                      <p:cBhvr>
                                        <p:cTn id="16" dur="1" fill="hold">
                                          <p:stCondLst>
                                            <p:cond delay="0"/>
                                          </p:stCondLst>
                                        </p:cTn>
                                        <p:tgtEl>
                                          <p:spTgt spid="79"/>
                                        </p:tgtEl>
                                        <p:attrNameLst>
                                          <p:attrName>style.visibility</p:attrName>
                                        </p:attrNameLst>
                                      </p:cBhvr>
                                      <p:to>
                                        <p:strVal val="visible"/>
                                      </p:to>
                                    </p:set>
                                    <p:animEffect transition="in" filter="fade">
                                      <p:cBhvr>
                                        <p:cTn id="17" dur="750"/>
                                        <p:tgtEl>
                                          <p:spTgt spid="79"/>
                                        </p:tgtEl>
                                      </p:cBhvr>
                                    </p:animEffect>
                                  </p:childTnLst>
                                </p:cTn>
                              </p:par>
                              <p:par>
                                <p:cTn id="18" presetID="42" presetClass="path" presetSubtype="0" accel="50000" decel="100000" fill="hold" nodeType="withEffect">
                                  <p:stCondLst>
                                    <p:cond delay="0"/>
                                  </p:stCondLst>
                                  <p:childTnLst>
                                    <p:animMotion origin="layout" path="M 0 4.07407E-6 L 0 0.03541 " pathEditMode="relative" rAng="0" ptsTypes="AA">
                                      <p:cBhvr>
                                        <p:cTn id="19" dur="750" spd="-100000" fill="hold"/>
                                        <p:tgtEl>
                                          <p:spTgt spid="79"/>
                                        </p:tgtEl>
                                        <p:attrNameLst>
                                          <p:attrName>ppt_x</p:attrName>
                                          <p:attrName>ppt_y</p:attrName>
                                        </p:attrNameLst>
                                      </p:cBhvr>
                                      <p:rCtr x="0" y="177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77"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59C159-E0E4-6DE4-D100-A0ED695ADD3F}"/>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9C291D8-B045-219E-A7A8-F5D4BCC61C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0" progId="TCLayout.ActiveDocument.1">
                  <p:embed/>
                </p:oleObj>
              </mc:Choice>
              <mc:Fallback>
                <p:oleObj name="think-cell Slide" r:id="rId5" imgW="532" imgH="530" progId="TCLayout.ActiveDocument.1">
                  <p:embed/>
                  <p:pic>
                    <p:nvPicPr>
                      <p:cNvPr id="8" name="think-cell data - do not delete" hidden="1">
                        <a:extLst>
                          <a:ext uri="{FF2B5EF4-FFF2-40B4-BE49-F238E27FC236}">
                            <a16:creationId xmlns:a16="http://schemas.microsoft.com/office/drawing/2014/main" id="{E9C291D8-B045-219E-A7A8-F5D4BCC61C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4" name="Rectangle: Rounded Corners 173">
            <a:extLst>
              <a:ext uri="{FF2B5EF4-FFF2-40B4-BE49-F238E27FC236}">
                <a16:creationId xmlns:a16="http://schemas.microsoft.com/office/drawing/2014/main" id="{EAECF88F-D940-8CD4-E2D9-475E4CEE0FC5}"/>
              </a:ext>
              <a:ext uri="{C183D7F6-B498-43B3-948B-1728B52AA6E4}">
                <adec:decorative xmlns:adec="http://schemas.microsoft.com/office/drawing/2017/decorative" val="1"/>
              </a:ext>
            </a:extLst>
          </p:cNvPr>
          <p:cNvSpPr>
            <a:spLocks/>
          </p:cNvSpPr>
          <p:nvPr/>
        </p:nvSpPr>
        <p:spPr bwMode="auto">
          <a:xfrm>
            <a:off x="571498" y="807678"/>
            <a:ext cx="11049001" cy="5555837"/>
          </a:xfrm>
          <a:prstGeom prst="roundRect">
            <a:avLst>
              <a:gd name="adj" fmla="val 4215"/>
            </a:avLst>
          </a:prstGeom>
          <a:gradFill>
            <a:gsLst>
              <a:gs pos="0">
                <a:srgbClr val="FECBE6">
                  <a:alpha val="58000"/>
                </a:srgbClr>
              </a:gs>
              <a:gs pos="33000">
                <a:srgbClr val="BABAFF">
                  <a:alpha val="58000"/>
                </a:srgbClr>
              </a:gs>
              <a:gs pos="82000">
                <a:schemeClr val="accent6">
                  <a:lumMod val="25000"/>
                  <a:lumOff val="75000"/>
                  <a:alpha val="70000"/>
                </a:schemeClr>
              </a:gs>
              <a:gs pos="98165">
                <a:schemeClr val="bg1">
                  <a:alpha val="33000"/>
                </a:schemeClr>
              </a:gs>
            </a:gsLst>
            <a:lin ang="15600000" scaled="0"/>
          </a:gradFill>
          <a:ln w="6350">
            <a:solidFill>
              <a:schemeClr val="bg2">
                <a:lumMod val="90000"/>
              </a:schemeClr>
            </a:solidFill>
            <a:headEnd type="none" w="med" len="med"/>
            <a:tailEnd type="none" w="med" len="med"/>
          </a:ln>
          <a:effectLst>
            <a:outerShdw blurRad="152400" algn="ctr" rotWithShape="0">
              <a:schemeClr val="bg1">
                <a:alpha val="4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85" name="Freeform 170">
            <a:extLst>
              <a:ext uri="{FF2B5EF4-FFF2-40B4-BE49-F238E27FC236}">
                <a16:creationId xmlns:a16="http://schemas.microsoft.com/office/drawing/2014/main" id="{4134D660-1017-A395-B375-70C91116FE17}"/>
              </a:ext>
              <a:ext uri="{C183D7F6-B498-43B3-948B-1728B52AA6E4}">
                <adec:decorative xmlns:adec="http://schemas.microsoft.com/office/drawing/2017/decorative" val="1"/>
              </a:ext>
            </a:extLst>
          </p:cNvPr>
          <p:cNvSpPr/>
          <p:nvPr/>
        </p:nvSpPr>
        <p:spPr bwMode="auto">
          <a:xfrm>
            <a:off x="8175209" y="3965305"/>
            <a:ext cx="657087" cy="798081"/>
          </a:xfrm>
          <a:custGeom>
            <a:avLst/>
            <a:gdLst>
              <a:gd name="connsiteX0" fmla="*/ 0 w 1306286"/>
              <a:gd name="connsiteY0" fmla="*/ 298580 h 1268963"/>
              <a:gd name="connsiteX1" fmla="*/ 1306286 w 1306286"/>
              <a:gd name="connsiteY1" fmla="*/ 0 h 1268963"/>
              <a:gd name="connsiteX2" fmla="*/ 765110 w 1306286"/>
              <a:gd name="connsiteY2" fmla="*/ 1268963 h 1268963"/>
            </a:gdLst>
            <a:ahLst/>
            <a:cxnLst>
              <a:cxn ang="0">
                <a:pos x="connsiteX0" y="connsiteY0"/>
              </a:cxn>
              <a:cxn ang="0">
                <a:pos x="connsiteX1" y="connsiteY1"/>
              </a:cxn>
              <a:cxn ang="0">
                <a:pos x="connsiteX2" y="connsiteY2"/>
              </a:cxn>
            </a:cxnLst>
            <a:rect l="l" t="t" r="r" b="b"/>
            <a:pathLst>
              <a:path w="1306286" h="1268963">
                <a:moveTo>
                  <a:pt x="0" y="298580"/>
                </a:moveTo>
                <a:lnTo>
                  <a:pt x="1306286" y="0"/>
                </a:lnTo>
                <a:lnTo>
                  <a:pt x="765110" y="126896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lt"/>
              <a:cs typeface="Segoe UI"/>
              <a:sym typeface="+mn-lt"/>
            </a:endParaRPr>
          </a:p>
        </p:txBody>
      </p:sp>
      <p:sp>
        <p:nvSpPr>
          <p:cNvPr id="286" name="Freeform 171">
            <a:extLst>
              <a:ext uri="{FF2B5EF4-FFF2-40B4-BE49-F238E27FC236}">
                <a16:creationId xmlns:a16="http://schemas.microsoft.com/office/drawing/2014/main" id="{1B70F90B-7DFD-C5D7-6FFB-C0A31ADF9085}"/>
              </a:ext>
              <a:ext uri="{C183D7F6-B498-43B3-948B-1728B52AA6E4}">
                <adec:decorative xmlns:adec="http://schemas.microsoft.com/office/drawing/2017/decorative" val="1"/>
              </a:ext>
            </a:extLst>
          </p:cNvPr>
          <p:cNvSpPr/>
          <p:nvPr/>
        </p:nvSpPr>
        <p:spPr bwMode="auto">
          <a:xfrm>
            <a:off x="576066" y="2803393"/>
            <a:ext cx="746664" cy="1631372"/>
          </a:xfrm>
          <a:custGeom>
            <a:avLst/>
            <a:gdLst>
              <a:gd name="connsiteX0" fmla="*/ 167951 w 1455575"/>
              <a:gd name="connsiteY0" fmla="*/ 0 h 2593910"/>
              <a:gd name="connsiteX1" fmla="*/ 1063690 w 1455575"/>
              <a:gd name="connsiteY1" fmla="*/ 167951 h 2593910"/>
              <a:gd name="connsiteX2" fmla="*/ 783771 w 1455575"/>
              <a:gd name="connsiteY2" fmla="*/ 895739 h 2593910"/>
              <a:gd name="connsiteX3" fmla="*/ 0 w 1455575"/>
              <a:gd name="connsiteY3" fmla="*/ 1063690 h 2593910"/>
              <a:gd name="connsiteX4" fmla="*/ 298579 w 1455575"/>
              <a:gd name="connsiteY4" fmla="*/ 2593910 h 2593910"/>
              <a:gd name="connsiteX5" fmla="*/ 1455575 w 1455575"/>
              <a:gd name="connsiteY5" fmla="*/ 2146041 h 2593910"/>
              <a:gd name="connsiteX0" fmla="*/ 0 w 1497801"/>
              <a:gd name="connsiteY0" fmla="*/ 0 h 2593910"/>
              <a:gd name="connsiteX1" fmla="*/ 1105916 w 1497801"/>
              <a:gd name="connsiteY1" fmla="*/ 167951 h 2593910"/>
              <a:gd name="connsiteX2" fmla="*/ 825997 w 1497801"/>
              <a:gd name="connsiteY2" fmla="*/ 895739 h 2593910"/>
              <a:gd name="connsiteX3" fmla="*/ 42226 w 1497801"/>
              <a:gd name="connsiteY3" fmla="*/ 1063690 h 2593910"/>
              <a:gd name="connsiteX4" fmla="*/ 340805 w 1497801"/>
              <a:gd name="connsiteY4" fmla="*/ 2593910 h 2593910"/>
              <a:gd name="connsiteX5" fmla="*/ 1497801 w 1497801"/>
              <a:gd name="connsiteY5" fmla="*/ 2146041 h 2593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7801" h="2593910">
                <a:moveTo>
                  <a:pt x="0" y="0"/>
                </a:moveTo>
                <a:lnTo>
                  <a:pt x="1105916" y="167951"/>
                </a:lnTo>
                <a:lnTo>
                  <a:pt x="825997" y="895739"/>
                </a:lnTo>
                <a:lnTo>
                  <a:pt x="42226" y="1063690"/>
                </a:lnTo>
                <a:lnTo>
                  <a:pt x="340805" y="2593910"/>
                </a:lnTo>
                <a:lnTo>
                  <a:pt x="1497801" y="2146041"/>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87" name="Freeform 176">
            <a:extLst>
              <a:ext uri="{FF2B5EF4-FFF2-40B4-BE49-F238E27FC236}">
                <a16:creationId xmlns:a16="http://schemas.microsoft.com/office/drawing/2014/main" id="{C7CD9E9F-A351-C66F-12A7-EA5B628C6C7E}"/>
              </a:ext>
              <a:ext uri="{C183D7F6-B498-43B3-948B-1728B52AA6E4}">
                <adec:decorative xmlns:adec="http://schemas.microsoft.com/office/drawing/2017/decorative" val="1"/>
              </a:ext>
            </a:extLst>
          </p:cNvPr>
          <p:cNvSpPr/>
          <p:nvPr/>
        </p:nvSpPr>
        <p:spPr bwMode="auto">
          <a:xfrm>
            <a:off x="10568884" y="3249379"/>
            <a:ext cx="1047475" cy="1588110"/>
          </a:xfrm>
          <a:custGeom>
            <a:avLst/>
            <a:gdLst>
              <a:gd name="connsiteX0" fmla="*/ 2052735 w 2052735"/>
              <a:gd name="connsiteY0" fmla="*/ 0 h 2463282"/>
              <a:gd name="connsiteX1" fmla="*/ 877078 w 2052735"/>
              <a:gd name="connsiteY1" fmla="*/ 93306 h 2463282"/>
              <a:gd name="connsiteX2" fmla="*/ 0 w 2052735"/>
              <a:gd name="connsiteY2" fmla="*/ 2220686 h 2463282"/>
              <a:gd name="connsiteX3" fmla="*/ 1754156 w 2052735"/>
              <a:gd name="connsiteY3" fmla="*/ 2463282 h 2463282"/>
              <a:gd name="connsiteX0" fmla="*/ 2052735 w 2120245"/>
              <a:gd name="connsiteY0" fmla="*/ 0 h 2513765"/>
              <a:gd name="connsiteX1" fmla="*/ 877078 w 2120245"/>
              <a:gd name="connsiteY1" fmla="*/ 93306 h 2513765"/>
              <a:gd name="connsiteX2" fmla="*/ 0 w 2120245"/>
              <a:gd name="connsiteY2" fmla="*/ 2220686 h 2513765"/>
              <a:gd name="connsiteX3" fmla="*/ 2120245 w 2120245"/>
              <a:gd name="connsiteY3" fmla="*/ 2513765 h 2513765"/>
              <a:gd name="connsiteX0" fmla="*/ 2052735 w 2082374"/>
              <a:gd name="connsiteY0" fmla="*/ 0 h 2525124"/>
              <a:gd name="connsiteX1" fmla="*/ 877078 w 2082374"/>
              <a:gd name="connsiteY1" fmla="*/ 93306 h 2525124"/>
              <a:gd name="connsiteX2" fmla="*/ 0 w 2082374"/>
              <a:gd name="connsiteY2" fmla="*/ 2220686 h 2525124"/>
              <a:gd name="connsiteX3" fmla="*/ 2082374 w 2082374"/>
              <a:gd name="connsiteY3" fmla="*/ 2525124 h 2525124"/>
            </a:gdLst>
            <a:ahLst/>
            <a:cxnLst>
              <a:cxn ang="0">
                <a:pos x="connsiteX0" y="connsiteY0"/>
              </a:cxn>
              <a:cxn ang="0">
                <a:pos x="connsiteX1" y="connsiteY1"/>
              </a:cxn>
              <a:cxn ang="0">
                <a:pos x="connsiteX2" y="connsiteY2"/>
              </a:cxn>
              <a:cxn ang="0">
                <a:pos x="connsiteX3" y="connsiteY3"/>
              </a:cxn>
            </a:cxnLst>
            <a:rect l="l" t="t" r="r" b="b"/>
            <a:pathLst>
              <a:path w="2082374" h="2525124">
                <a:moveTo>
                  <a:pt x="2052735" y="0"/>
                </a:moveTo>
                <a:lnTo>
                  <a:pt x="877078" y="93306"/>
                </a:lnTo>
                <a:lnTo>
                  <a:pt x="0" y="2220686"/>
                </a:lnTo>
                <a:lnTo>
                  <a:pt x="2082374" y="2525124"/>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88" name="Freeform 177">
            <a:extLst>
              <a:ext uri="{FF2B5EF4-FFF2-40B4-BE49-F238E27FC236}">
                <a16:creationId xmlns:a16="http://schemas.microsoft.com/office/drawing/2014/main" id="{C040E0E6-F257-6714-2F6F-7720B3B42941}"/>
              </a:ext>
              <a:ext uri="{C183D7F6-B498-43B3-948B-1728B52AA6E4}">
                <adec:decorative xmlns:adec="http://schemas.microsoft.com/office/drawing/2017/decorative" val="1"/>
              </a:ext>
            </a:extLst>
          </p:cNvPr>
          <p:cNvSpPr/>
          <p:nvPr/>
        </p:nvSpPr>
        <p:spPr bwMode="auto">
          <a:xfrm>
            <a:off x="4129429" y="1829264"/>
            <a:ext cx="1417431" cy="2323825"/>
          </a:xfrm>
          <a:custGeom>
            <a:avLst/>
            <a:gdLst>
              <a:gd name="connsiteX0" fmla="*/ 2817845 w 2817845"/>
              <a:gd name="connsiteY0" fmla="*/ 0 h 3694923"/>
              <a:gd name="connsiteX1" fmla="*/ 877078 w 2817845"/>
              <a:gd name="connsiteY1" fmla="*/ 1530221 h 3694923"/>
              <a:gd name="connsiteX2" fmla="*/ 2108719 w 2817845"/>
              <a:gd name="connsiteY2" fmla="*/ 1250302 h 3694923"/>
              <a:gd name="connsiteX3" fmla="*/ 0 w 2817845"/>
              <a:gd name="connsiteY3" fmla="*/ 2202025 h 3694923"/>
              <a:gd name="connsiteX4" fmla="*/ 2164702 w 2817845"/>
              <a:gd name="connsiteY4" fmla="*/ 2481943 h 3694923"/>
              <a:gd name="connsiteX5" fmla="*/ 1026368 w 2817845"/>
              <a:gd name="connsiteY5" fmla="*/ 3116425 h 3694923"/>
              <a:gd name="connsiteX6" fmla="*/ 503854 w 2817845"/>
              <a:gd name="connsiteY6" fmla="*/ 3694923 h 3694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7845" h="3694923">
                <a:moveTo>
                  <a:pt x="2817845" y="0"/>
                </a:moveTo>
                <a:lnTo>
                  <a:pt x="877078" y="1530221"/>
                </a:lnTo>
                <a:lnTo>
                  <a:pt x="2108719" y="1250302"/>
                </a:lnTo>
                <a:lnTo>
                  <a:pt x="0" y="2202025"/>
                </a:lnTo>
                <a:lnTo>
                  <a:pt x="2164702" y="2481943"/>
                </a:lnTo>
                <a:lnTo>
                  <a:pt x="1026368" y="3116425"/>
                </a:lnTo>
                <a:lnTo>
                  <a:pt x="503854" y="369492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89" name="Freeform 178">
            <a:extLst>
              <a:ext uri="{FF2B5EF4-FFF2-40B4-BE49-F238E27FC236}">
                <a16:creationId xmlns:a16="http://schemas.microsoft.com/office/drawing/2014/main" id="{7C9BDC45-4F14-82D0-06B4-126F8555E840}"/>
              </a:ext>
              <a:ext uri="{C183D7F6-B498-43B3-948B-1728B52AA6E4}">
                <adec:decorative xmlns:adec="http://schemas.microsoft.com/office/drawing/2017/decorative" val="1"/>
              </a:ext>
            </a:extLst>
          </p:cNvPr>
          <p:cNvSpPr/>
          <p:nvPr/>
        </p:nvSpPr>
        <p:spPr bwMode="auto">
          <a:xfrm>
            <a:off x="2589968" y="2803393"/>
            <a:ext cx="1539461" cy="2288615"/>
          </a:xfrm>
          <a:custGeom>
            <a:avLst/>
            <a:gdLst>
              <a:gd name="connsiteX0" fmla="*/ 317240 w 3060440"/>
              <a:gd name="connsiteY0" fmla="*/ 839755 h 3638939"/>
              <a:gd name="connsiteX1" fmla="*/ 1194318 w 3060440"/>
              <a:gd name="connsiteY1" fmla="*/ 298579 h 3638939"/>
              <a:gd name="connsiteX2" fmla="*/ 2444620 w 3060440"/>
              <a:gd name="connsiteY2" fmla="*/ 0 h 3638939"/>
              <a:gd name="connsiteX3" fmla="*/ 1343608 w 3060440"/>
              <a:gd name="connsiteY3" fmla="*/ 1810139 h 3638939"/>
              <a:gd name="connsiteX4" fmla="*/ 466530 w 3060440"/>
              <a:gd name="connsiteY4" fmla="*/ 877077 h 3638939"/>
              <a:gd name="connsiteX5" fmla="*/ 0 w 3060440"/>
              <a:gd name="connsiteY5" fmla="*/ 1623526 h 3638939"/>
              <a:gd name="connsiteX6" fmla="*/ 3060440 w 3060440"/>
              <a:gd name="connsiteY6" fmla="*/ 3638939 h 3638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0440" h="3638939">
                <a:moveTo>
                  <a:pt x="317240" y="839755"/>
                </a:moveTo>
                <a:lnTo>
                  <a:pt x="1194318" y="298579"/>
                </a:lnTo>
                <a:lnTo>
                  <a:pt x="2444620" y="0"/>
                </a:lnTo>
                <a:lnTo>
                  <a:pt x="1343608" y="1810139"/>
                </a:lnTo>
                <a:lnTo>
                  <a:pt x="466530" y="877077"/>
                </a:lnTo>
                <a:lnTo>
                  <a:pt x="0" y="1623526"/>
                </a:lnTo>
                <a:lnTo>
                  <a:pt x="3060440" y="3638939"/>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0" name="Freeform 179">
            <a:extLst>
              <a:ext uri="{FF2B5EF4-FFF2-40B4-BE49-F238E27FC236}">
                <a16:creationId xmlns:a16="http://schemas.microsoft.com/office/drawing/2014/main" id="{4EEB0059-2649-CA85-39FF-0FB1D460D82F}"/>
              </a:ext>
              <a:ext uri="{C183D7F6-B498-43B3-948B-1728B52AA6E4}">
                <adec:decorative xmlns:adec="http://schemas.microsoft.com/office/drawing/2017/decorative" val="1"/>
              </a:ext>
            </a:extLst>
          </p:cNvPr>
          <p:cNvSpPr/>
          <p:nvPr/>
        </p:nvSpPr>
        <p:spPr bwMode="auto">
          <a:xfrm>
            <a:off x="1557403" y="2181359"/>
            <a:ext cx="1163983" cy="845027"/>
          </a:xfrm>
          <a:custGeom>
            <a:avLst/>
            <a:gdLst>
              <a:gd name="connsiteX0" fmla="*/ 0 w 2313992"/>
              <a:gd name="connsiteY0" fmla="*/ 1007706 h 1343608"/>
              <a:gd name="connsiteX1" fmla="*/ 1045029 w 2313992"/>
              <a:gd name="connsiteY1" fmla="*/ 1343608 h 1343608"/>
              <a:gd name="connsiteX2" fmla="*/ 2108718 w 2313992"/>
              <a:gd name="connsiteY2" fmla="*/ 0 h 1343608"/>
              <a:gd name="connsiteX3" fmla="*/ 2108718 w 2313992"/>
              <a:gd name="connsiteY3" fmla="*/ 0 h 1343608"/>
              <a:gd name="connsiteX4" fmla="*/ 2313992 w 2313992"/>
              <a:gd name="connsiteY4" fmla="*/ 653143 h 1343608"/>
              <a:gd name="connsiteX5" fmla="*/ 1082351 w 2313992"/>
              <a:gd name="connsiteY5" fmla="*/ 1324947 h 134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3992" h="1343608">
                <a:moveTo>
                  <a:pt x="0" y="1007706"/>
                </a:moveTo>
                <a:lnTo>
                  <a:pt x="1045029" y="1343608"/>
                </a:lnTo>
                <a:lnTo>
                  <a:pt x="2108718" y="0"/>
                </a:lnTo>
                <a:lnTo>
                  <a:pt x="2108718" y="0"/>
                </a:lnTo>
                <a:lnTo>
                  <a:pt x="2313992" y="653143"/>
                </a:lnTo>
                <a:lnTo>
                  <a:pt x="1082351" y="1324947"/>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1" name="Freeform 180">
            <a:extLst>
              <a:ext uri="{FF2B5EF4-FFF2-40B4-BE49-F238E27FC236}">
                <a16:creationId xmlns:a16="http://schemas.microsoft.com/office/drawing/2014/main" id="{F84F4FAD-DCF9-6675-CC5D-9F8FEE9315B9}"/>
              </a:ext>
              <a:ext uri="{C183D7F6-B498-43B3-948B-1728B52AA6E4}">
                <adec:decorative xmlns:adec="http://schemas.microsoft.com/office/drawing/2017/decorative" val="1"/>
              </a:ext>
            </a:extLst>
          </p:cNvPr>
          <p:cNvSpPr/>
          <p:nvPr/>
        </p:nvSpPr>
        <p:spPr bwMode="auto">
          <a:xfrm>
            <a:off x="1116215" y="2615609"/>
            <a:ext cx="3050762" cy="2441189"/>
          </a:xfrm>
          <a:custGeom>
            <a:avLst/>
            <a:gdLst>
              <a:gd name="connsiteX0" fmla="*/ 6064898 w 6064898"/>
              <a:gd name="connsiteY0" fmla="*/ 3881535 h 3881535"/>
              <a:gd name="connsiteX1" fmla="*/ 4348066 w 6064898"/>
              <a:gd name="connsiteY1" fmla="*/ 2164702 h 3881535"/>
              <a:gd name="connsiteX2" fmla="*/ 6027576 w 6064898"/>
              <a:gd name="connsiteY2" fmla="*/ 989045 h 3881535"/>
              <a:gd name="connsiteX3" fmla="*/ 6027576 w 6064898"/>
              <a:gd name="connsiteY3" fmla="*/ 186612 h 3881535"/>
              <a:gd name="connsiteX4" fmla="*/ 5299788 w 6064898"/>
              <a:gd name="connsiteY4" fmla="*/ 317241 h 3881535"/>
              <a:gd name="connsiteX5" fmla="*/ 3209731 w 6064898"/>
              <a:gd name="connsiteY5" fmla="*/ 0 h 3881535"/>
              <a:gd name="connsiteX6" fmla="*/ 3359021 w 6064898"/>
              <a:gd name="connsiteY6" fmla="*/ 1119674 h 3881535"/>
              <a:gd name="connsiteX7" fmla="*/ 317241 w 6064898"/>
              <a:gd name="connsiteY7" fmla="*/ 2463282 h 3881535"/>
              <a:gd name="connsiteX8" fmla="*/ 1306286 w 6064898"/>
              <a:gd name="connsiteY8" fmla="*/ 1287625 h 3881535"/>
              <a:gd name="connsiteX9" fmla="*/ 0 w 6064898"/>
              <a:gd name="connsiteY9" fmla="*/ 466531 h 3881535"/>
              <a:gd name="connsiteX10" fmla="*/ 858417 w 6064898"/>
              <a:gd name="connsiteY10" fmla="*/ 354563 h 3881535"/>
              <a:gd name="connsiteX11" fmla="*/ 1268964 w 6064898"/>
              <a:gd name="connsiteY11" fmla="*/ 1250302 h 3881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64898" h="3881535">
                <a:moveTo>
                  <a:pt x="6064898" y="3881535"/>
                </a:moveTo>
                <a:lnTo>
                  <a:pt x="4348066" y="2164702"/>
                </a:lnTo>
                <a:lnTo>
                  <a:pt x="6027576" y="989045"/>
                </a:lnTo>
                <a:lnTo>
                  <a:pt x="6027576" y="186612"/>
                </a:lnTo>
                <a:lnTo>
                  <a:pt x="5299788" y="317241"/>
                </a:lnTo>
                <a:lnTo>
                  <a:pt x="3209731" y="0"/>
                </a:lnTo>
                <a:lnTo>
                  <a:pt x="3359021" y="1119674"/>
                </a:lnTo>
                <a:lnTo>
                  <a:pt x="317241" y="2463282"/>
                </a:lnTo>
                <a:lnTo>
                  <a:pt x="1306286" y="1287625"/>
                </a:lnTo>
                <a:lnTo>
                  <a:pt x="0" y="466531"/>
                </a:lnTo>
                <a:lnTo>
                  <a:pt x="858417" y="354563"/>
                </a:lnTo>
                <a:lnTo>
                  <a:pt x="1268964" y="1250302"/>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2" name="Freeform 181">
            <a:extLst>
              <a:ext uri="{FF2B5EF4-FFF2-40B4-BE49-F238E27FC236}">
                <a16:creationId xmlns:a16="http://schemas.microsoft.com/office/drawing/2014/main" id="{08748FB5-AA0A-D2A5-F6BB-FC5C3AFBA381}"/>
              </a:ext>
              <a:ext uri="{C183D7F6-B498-43B3-948B-1728B52AA6E4}">
                <adec:decorative xmlns:adec="http://schemas.microsoft.com/office/drawing/2017/decorative" val="1"/>
              </a:ext>
            </a:extLst>
          </p:cNvPr>
          <p:cNvSpPr/>
          <p:nvPr/>
        </p:nvSpPr>
        <p:spPr bwMode="auto">
          <a:xfrm>
            <a:off x="4176365" y="2709501"/>
            <a:ext cx="7425085" cy="2370770"/>
          </a:xfrm>
          <a:custGeom>
            <a:avLst/>
            <a:gdLst>
              <a:gd name="connsiteX0" fmla="*/ 14481110 w 14481110"/>
              <a:gd name="connsiteY0" fmla="*/ 0 h 3769567"/>
              <a:gd name="connsiteX1" fmla="*/ 11961844 w 14481110"/>
              <a:gd name="connsiteY1" fmla="*/ 895739 h 3769567"/>
              <a:gd name="connsiteX2" fmla="*/ 10599575 w 14481110"/>
              <a:gd name="connsiteY2" fmla="*/ 989045 h 3769567"/>
              <a:gd name="connsiteX3" fmla="*/ 9050693 w 14481110"/>
              <a:gd name="connsiteY3" fmla="*/ 914400 h 3769567"/>
              <a:gd name="connsiteX4" fmla="*/ 6699379 w 14481110"/>
              <a:gd name="connsiteY4" fmla="*/ 1212980 h 3769567"/>
              <a:gd name="connsiteX5" fmla="*/ 6736702 w 14481110"/>
              <a:gd name="connsiteY5" fmla="*/ 2052735 h 3769567"/>
              <a:gd name="connsiteX6" fmla="*/ 5710334 w 14481110"/>
              <a:gd name="connsiteY6" fmla="*/ 2799184 h 3769567"/>
              <a:gd name="connsiteX7" fmla="*/ 6736702 w 14481110"/>
              <a:gd name="connsiteY7" fmla="*/ 1212980 h 3769567"/>
              <a:gd name="connsiteX8" fmla="*/ 4348065 w 14481110"/>
              <a:gd name="connsiteY8" fmla="*/ 1660849 h 3769567"/>
              <a:gd name="connsiteX9" fmla="*/ 3750906 w 14481110"/>
              <a:gd name="connsiteY9" fmla="*/ 3321698 h 3769567"/>
              <a:gd name="connsiteX10" fmla="*/ 5710334 w 14481110"/>
              <a:gd name="connsiteY10" fmla="*/ 2761861 h 3769567"/>
              <a:gd name="connsiteX11" fmla="*/ 3097763 w 14481110"/>
              <a:gd name="connsiteY11" fmla="*/ 1474237 h 3769567"/>
              <a:gd name="connsiteX12" fmla="*/ 0 w 14481110"/>
              <a:gd name="connsiteY12" fmla="*/ 3769567 h 3769567"/>
              <a:gd name="connsiteX13" fmla="*/ 2575249 w 14481110"/>
              <a:gd name="connsiteY13" fmla="*/ 2313992 h 3769567"/>
              <a:gd name="connsiteX14" fmla="*/ 3676261 w 14481110"/>
              <a:gd name="connsiteY14" fmla="*/ 3247053 h 3769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81110" h="3769567">
                <a:moveTo>
                  <a:pt x="14481110" y="0"/>
                </a:moveTo>
                <a:lnTo>
                  <a:pt x="11961844" y="895739"/>
                </a:lnTo>
                <a:lnTo>
                  <a:pt x="10599575" y="989045"/>
                </a:lnTo>
                <a:lnTo>
                  <a:pt x="9050693" y="914400"/>
                </a:lnTo>
                <a:lnTo>
                  <a:pt x="6699379" y="1212980"/>
                </a:lnTo>
                <a:lnTo>
                  <a:pt x="6736702" y="2052735"/>
                </a:lnTo>
                <a:lnTo>
                  <a:pt x="5710334" y="2799184"/>
                </a:lnTo>
                <a:lnTo>
                  <a:pt x="6736702" y="1212980"/>
                </a:lnTo>
                <a:lnTo>
                  <a:pt x="4348065" y="1660849"/>
                </a:lnTo>
                <a:lnTo>
                  <a:pt x="3750906" y="3321698"/>
                </a:lnTo>
                <a:lnTo>
                  <a:pt x="5710334" y="2761861"/>
                </a:lnTo>
                <a:lnTo>
                  <a:pt x="3097763" y="1474237"/>
                </a:lnTo>
                <a:lnTo>
                  <a:pt x="0" y="3769567"/>
                </a:lnTo>
                <a:lnTo>
                  <a:pt x="2575249" y="2313992"/>
                </a:lnTo>
                <a:lnTo>
                  <a:pt x="3676261" y="324705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3" name="Freeform 182">
            <a:extLst>
              <a:ext uri="{FF2B5EF4-FFF2-40B4-BE49-F238E27FC236}">
                <a16:creationId xmlns:a16="http://schemas.microsoft.com/office/drawing/2014/main" id="{37C2C60B-D6FE-DCFC-C2B8-837B7DED72D1}"/>
              </a:ext>
              <a:ext uri="{C183D7F6-B498-43B3-948B-1728B52AA6E4}">
                <adec:decorative xmlns:adec="http://schemas.microsoft.com/office/drawing/2017/decorative" val="1"/>
              </a:ext>
            </a:extLst>
          </p:cNvPr>
          <p:cNvSpPr/>
          <p:nvPr/>
        </p:nvSpPr>
        <p:spPr bwMode="auto">
          <a:xfrm>
            <a:off x="590546" y="1817528"/>
            <a:ext cx="10400751" cy="3251007"/>
          </a:xfrm>
          <a:custGeom>
            <a:avLst/>
            <a:gdLst>
              <a:gd name="connsiteX0" fmla="*/ 0 w 20266090"/>
              <a:gd name="connsiteY0" fmla="*/ 1101012 h 5169159"/>
              <a:gd name="connsiteX1" fmla="*/ 1511559 w 20266090"/>
              <a:gd name="connsiteY1" fmla="*/ 1642188 h 5169159"/>
              <a:gd name="connsiteX2" fmla="*/ 3732245 w 20266090"/>
              <a:gd name="connsiteY2" fmla="*/ 522514 h 5169159"/>
              <a:gd name="connsiteX3" fmla="*/ 5952930 w 20266090"/>
              <a:gd name="connsiteY3" fmla="*/ 1604865 h 5169159"/>
              <a:gd name="connsiteX4" fmla="*/ 6643396 w 20266090"/>
              <a:gd name="connsiteY4" fmla="*/ 2220686 h 5169159"/>
              <a:gd name="connsiteX5" fmla="*/ 6400800 w 20266090"/>
              <a:gd name="connsiteY5" fmla="*/ 3452326 h 5169159"/>
              <a:gd name="connsiteX6" fmla="*/ 5001208 w 20266090"/>
              <a:gd name="connsiteY6" fmla="*/ 3433665 h 5169159"/>
              <a:gd name="connsiteX7" fmla="*/ 3564294 w 20266090"/>
              <a:gd name="connsiteY7" fmla="*/ 3228392 h 5169159"/>
              <a:gd name="connsiteX8" fmla="*/ 1007706 w 20266090"/>
              <a:gd name="connsiteY8" fmla="*/ 3732245 h 5169159"/>
              <a:gd name="connsiteX9" fmla="*/ 391885 w 20266090"/>
              <a:gd name="connsiteY9" fmla="*/ 2444620 h 5169159"/>
              <a:gd name="connsiteX10" fmla="*/ 1884783 w 20266090"/>
              <a:gd name="connsiteY10" fmla="*/ 2593910 h 5169159"/>
              <a:gd name="connsiteX11" fmla="*/ 2500604 w 20266090"/>
              <a:gd name="connsiteY11" fmla="*/ 1922106 h 5169159"/>
              <a:gd name="connsiteX12" fmla="*/ 3993502 w 20266090"/>
              <a:gd name="connsiteY12" fmla="*/ 2425959 h 5169159"/>
              <a:gd name="connsiteX13" fmla="*/ 6662057 w 20266090"/>
              <a:gd name="connsiteY13" fmla="*/ 2239347 h 5169159"/>
              <a:gd name="connsiteX14" fmla="*/ 7613779 w 20266090"/>
              <a:gd name="connsiteY14" fmla="*/ 1530220 h 5169159"/>
              <a:gd name="connsiteX15" fmla="*/ 6662057 w 20266090"/>
              <a:gd name="connsiteY15" fmla="*/ 1455575 h 5169159"/>
              <a:gd name="connsiteX16" fmla="*/ 9386596 w 20266090"/>
              <a:gd name="connsiteY16" fmla="*/ 18661 h 5169159"/>
              <a:gd name="connsiteX17" fmla="*/ 8714792 w 20266090"/>
              <a:gd name="connsiteY17" fmla="*/ 1287624 h 5169159"/>
              <a:gd name="connsiteX18" fmla="*/ 7651102 w 20266090"/>
              <a:gd name="connsiteY18" fmla="*/ 3135086 h 5169159"/>
              <a:gd name="connsiteX19" fmla="*/ 6680718 w 20266090"/>
              <a:gd name="connsiteY19" fmla="*/ 2239347 h 5169159"/>
              <a:gd name="connsiteX20" fmla="*/ 7109926 w 20266090"/>
              <a:gd name="connsiteY20" fmla="*/ 3769567 h 5169159"/>
              <a:gd name="connsiteX21" fmla="*/ 6680718 w 20266090"/>
              <a:gd name="connsiteY21" fmla="*/ 5169159 h 5169159"/>
              <a:gd name="connsiteX22" fmla="*/ 6400800 w 20266090"/>
              <a:gd name="connsiteY22" fmla="*/ 3452326 h 5169159"/>
              <a:gd name="connsiteX23" fmla="*/ 7091265 w 20266090"/>
              <a:gd name="connsiteY23" fmla="*/ 3769567 h 5169159"/>
              <a:gd name="connsiteX24" fmla="*/ 9797143 w 20266090"/>
              <a:gd name="connsiteY24" fmla="*/ 2873828 h 5169159"/>
              <a:gd name="connsiteX25" fmla="*/ 9274628 w 20266090"/>
              <a:gd name="connsiteY25" fmla="*/ 3732245 h 5169159"/>
              <a:gd name="connsiteX26" fmla="*/ 12465698 w 20266090"/>
              <a:gd name="connsiteY26" fmla="*/ 4217437 h 5169159"/>
              <a:gd name="connsiteX27" fmla="*/ 11122090 w 20266090"/>
              <a:gd name="connsiteY27" fmla="*/ 3041779 h 5169159"/>
              <a:gd name="connsiteX28" fmla="*/ 9815804 w 20266090"/>
              <a:gd name="connsiteY28" fmla="*/ 2911151 h 5169159"/>
              <a:gd name="connsiteX29" fmla="*/ 12092473 w 20266090"/>
              <a:gd name="connsiteY29" fmla="*/ 2444620 h 5169159"/>
              <a:gd name="connsiteX30" fmla="*/ 13566710 w 20266090"/>
              <a:gd name="connsiteY30" fmla="*/ 1810139 h 5169159"/>
              <a:gd name="connsiteX31" fmla="*/ 16272588 w 20266090"/>
              <a:gd name="connsiteY31" fmla="*/ 895739 h 5169159"/>
              <a:gd name="connsiteX32" fmla="*/ 18773192 w 20266090"/>
              <a:gd name="connsiteY32" fmla="*/ 2276669 h 5169159"/>
              <a:gd name="connsiteX33" fmla="*/ 19127755 w 20266090"/>
              <a:gd name="connsiteY33" fmla="*/ 2967135 h 5169159"/>
              <a:gd name="connsiteX34" fmla="*/ 19426334 w 20266090"/>
              <a:gd name="connsiteY34" fmla="*/ 4478694 h 5169159"/>
              <a:gd name="connsiteX35" fmla="*/ 18325322 w 20266090"/>
              <a:gd name="connsiteY35" fmla="*/ 3228392 h 5169159"/>
              <a:gd name="connsiteX36" fmla="*/ 19146416 w 20266090"/>
              <a:gd name="connsiteY36" fmla="*/ 3004457 h 5169159"/>
              <a:gd name="connsiteX37" fmla="*/ 20266090 w 20266090"/>
              <a:gd name="connsiteY37" fmla="*/ 2369975 h 5169159"/>
              <a:gd name="connsiteX38" fmla="*/ 18717208 w 20266090"/>
              <a:gd name="connsiteY38" fmla="*/ 2220686 h 5169159"/>
              <a:gd name="connsiteX39" fmla="*/ 18306661 w 20266090"/>
              <a:gd name="connsiteY39" fmla="*/ 3172408 h 5169159"/>
              <a:gd name="connsiteX40" fmla="*/ 17354939 w 20266090"/>
              <a:gd name="connsiteY40" fmla="*/ 2425959 h 5169159"/>
              <a:gd name="connsiteX41" fmla="*/ 16272588 w 20266090"/>
              <a:gd name="connsiteY41" fmla="*/ 858416 h 5169159"/>
              <a:gd name="connsiteX42" fmla="*/ 15787396 w 20266090"/>
              <a:gd name="connsiteY42" fmla="*/ 2276669 h 5169159"/>
              <a:gd name="connsiteX43" fmla="*/ 14518432 w 20266090"/>
              <a:gd name="connsiteY43" fmla="*/ 2220686 h 5169159"/>
              <a:gd name="connsiteX44" fmla="*/ 13604032 w 20266090"/>
              <a:gd name="connsiteY44" fmla="*/ 1772816 h 5169159"/>
              <a:gd name="connsiteX45" fmla="*/ 13417420 w 20266090"/>
              <a:gd name="connsiteY45" fmla="*/ 2687216 h 5169159"/>
              <a:gd name="connsiteX46" fmla="*/ 12185779 w 20266090"/>
              <a:gd name="connsiteY46" fmla="*/ 2407298 h 5169159"/>
              <a:gd name="connsiteX47" fmla="*/ 10767526 w 20266090"/>
              <a:gd name="connsiteY47" fmla="*/ 1660849 h 5169159"/>
              <a:gd name="connsiteX48" fmla="*/ 9778481 w 20266090"/>
              <a:gd name="connsiteY48" fmla="*/ 2873828 h 5169159"/>
              <a:gd name="connsiteX49" fmla="*/ 8733453 w 20266090"/>
              <a:gd name="connsiteY49" fmla="*/ 2481943 h 5169159"/>
              <a:gd name="connsiteX50" fmla="*/ 8733453 w 20266090"/>
              <a:gd name="connsiteY50" fmla="*/ 1250302 h 5169159"/>
              <a:gd name="connsiteX51" fmla="*/ 9815804 w 20266090"/>
              <a:gd name="connsiteY51" fmla="*/ 2873828 h 5169159"/>
              <a:gd name="connsiteX52" fmla="*/ 9367934 w 20266090"/>
              <a:gd name="connsiteY52" fmla="*/ 0 h 5169159"/>
              <a:gd name="connsiteX53" fmla="*/ 10804849 w 20266090"/>
              <a:gd name="connsiteY53" fmla="*/ 1660849 h 5169159"/>
              <a:gd name="connsiteX54" fmla="*/ 13585371 w 20266090"/>
              <a:gd name="connsiteY54" fmla="*/ 1791477 h 5169159"/>
              <a:gd name="connsiteX55" fmla="*/ 11532636 w 20266090"/>
              <a:gd name="connsiteY55" fmla="*/ 1399592 h 5169159"/>
              <a:gd name="connsiteX56" fmla="*/ 9367934 w 20266090"/>
              <a:gd name="connsiteY56" fmla="*/ 18661 h 5169159"/>
              <a:gd name="connsiteX57" fmla="*/ 13604032 w 20266090"/>
              <a:gd name="connsiteY57" fmla="*/ 1810139 h 516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0266090" h="5169159">
                <a:moveTo>
                  <a:pt x="0" y="1101012"/>
                </a:moveTo>
                <a:lnTo>
                  <a:pt x="1511559" y="1642188"/>
                </a:lnTo>
                <a:lnTo>
                  <a:pt x="3732245" y="522514"/>
                </a:lnTo>
                <a:lnTo>
                  <a:pt x="5952930" y="1604865"/>
                </a:lnTo>
                <a:lnTo>
                  <a:pt x="6643396" y="2220686"/>
                </a:lnTo>
                <a:lnTo>
                  <a:pt x="6400800" y="3452326"/>
                </a:lnTo>
                <a:lnTo>
                  <a:pt x="5001208" y="3433665"/>
                </a:lnTo>
                <a:lnTo>
                  <a:pt x="3564294" y="3228392"/>
                </a:lnTo>
                <a:lnTo>
                  <a:pt x="1007706" y="3732245"/>
                </a:lnTo>
                <a:lnTo>
                  <a:pt x="391885" y="2444620"/>
                </a:lnTo>
                <a:lnTo>
                  <a:pt x="1884783" y="2593910"/>
                </a:lnTo>
                <a:lnTo>
                  <a:pt x="2500604" y="1922106"/>
                </a:lnTo>
                <a:lnTo>
                  <a:pt x="3993502" y="2425959"/>
                </a:lnTo>
                <a:lnTo>
                  <a:pt x="6662057" y="2239347"/>
                </a:lnTo>
                <a:lnTo>
                  <a:pt x="7613779" y="1530220"/>
                </a:lnTo>
                <a:lnTo>
                  <a:pt x="6662057" y="1455575"/>
                </a:lnTo>
                <a:lnTo>
                  <a:pt x="9386596" y="18661"/>
                </a:lnTo>
                <a:lnTo>
                  <a:pt x="8714792" y="1287624"/>
                </a:lnTo>
                <a:lnTo>
                  <a:pt x="7651102" y="3135086"/>
                </a:lnTo>
                <a:lnTo>
                  <a:pt x="6680718" y="2239347"/>
                </a:lnTo>
                <a:lnTo>
                  <a:pt x="7109926" y="3769567"/>
                </a:lnTo>
                <a:lnTo>
                  <a:pt x="6680718" y="5169159"/>
                </a:lnTo>
                <a:lnTo>
                  <a:pt x="6400800" y="3452326"/>
                </a:lnTo>
                <a:lnTo>
                  <a:pt x="7091265" y="3769567"/>
                </a:lnTo>
                <a:lnTo>
                  <a:pt x="9797143" y="2873828"/>
                </a:lnTo>
                <a:lnTo>
                  <a:pt x="9274628" y="3732245"/>
                </a:lnTo>
                <a:lnTo>
                  <a:pt x="12465698" y="4217437"/>
                </a:lnTo>
                <a:lnTo>
                  <a:pt x="11122090" y="3041779"/>
                </a:lnTo>
                <a:lnTo>
                  <a:pt x="9815804" y="2911151"/>
                </a:lnTo>
                <a:lnTo>
                  <a:pt x="12092473" y="2444620"/>
                </a:lnTo>
                <a:lnTo>
                  <a:pt x="13566710" y="1810139"/>
                </a:lnTo>
                <a:lnTo>
                  <a:pt x="16272588" y="895739"/>
                </a:lnTo>
                <a:lnTo>
                  <a:pt x="18773192" y="2276669"/>
                </a:lnTo>
                <a:lnTo>
                  <a:pt x="19127755" y="2967135"/>
                </a:lnTo>
                <a:lnTo>
                  <a:pt x="19426334" y="4478694"/>
                </a:lnTo>
                <a:lnTo>
                  <a:pt x="18325322" y="3228392"/>
                </a:lnTo>
                <a:lnTo>
                  <a:pt x="19146416" y="3004457"/>
                </a:lnTo>
                <a:lnTo>
                  <a:pt x="20266090" y="2369975"/>
                </a:lnTo>
                <a:lnTo>
                  <a:pt x="18717208" y="2220686"/>
                </a:lnTo>
                <a:lnTo>
                  <a:pt x="18306661" y="3172408"/>
                </a:lnTo>
                <a:lnTo>
                  <a:pt x="17354939" y="2425959"/>
                </a:lnTo>
                <a:lnTo>
                  <a:pt x="16272588" y="858416"/>
                </a:lnTo>
                <a:lnTo>
                  <a:pt x="15787396" y="2276669"/>
                </a:lnTo>
                <a:lnTo>
                  <a:pt x="14518432" y="2220686"/>
                </a:lnTo>
                <a:lnTo>
                  <a:pt x="13604032" y="1772816"/>
                </a:lnTo>
                <a:lnTo>
                  <a:pt x="13417420" y="2687216"/>
                </a:lnTo>
                <a:lnTo>
                  <a:pt x="12185779" y="2407298"/>
                </a:lnTo>
                <a:lnTo>
                  <a:pt x="10767526" y="1660849"/>
                </a:lnTo>
                <a:lnTo>
                  <a:pt x="9778481" y="2873828"/>
                </a:lnTo>
                <a:lnTo>
                  <a:pt x="8733453" y="2481943"/>
                </a:lnTo>
                <a:lnTo>
                  <a:pt x="8733453" y="1250302"/>
                </a:lnTo>
                <a:lnTo>
                  <a:pt x="9815804" y="2873828"/>
                </a:lnTo>
                <a:lnTo>
                  <a:pt x="9367934" y="0"/>
                </a:lnTo>
                <a:lnTo>
                  <a:pt x="10804849" y="1660849"/>
                </a:lnTo>
                <a:lnTo>
                  <a:pt x="13585371" y="1791477"/>
                </a:lnTo>
                <a:lnTo>
                  <a:pt x="11532636" y="1399592"/>
                </a:lnTo>
                <a:lnTo>
                  <a:pt x="9367934" y="18661"/>
                </a:lnTo>
                <a:lnTo>
                  <a:pt x="13604032" y="1810139"/>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4" name="Freeform 183">
            <a:extLst>
              <a:ext uri="{FF2B5EF4-FFF2-40B4-BE49-F238E27FC236}">
                <a16:creationId xmlns:a16="http://schemas.microsoft.com/office/drawing/2014/main" id="{5C97E5EA-59D6-BC5D-32A2-0E1EDD61F731}"/>
              </a:ext>
              <a:ext uri="{C183D7F6-B498-43B3-948B-1728B52AA6E4}">
                <adec:decorative xmlns:adec="http://schemas.microsoft.com/office/drawing/2017/decorative" val="1"/>
              </a:ext>
            </a:extLst>
          </p:cNvPr>
          <p:cNvSpPr/>
          <p:nvPr/>
        </p:nvSpPr>
        <p:spPr bwMode="auto">
          <a:xfrm>
            <a:off x="7546282" y="2380879"/>
            <a:ext cx="3031988" cy="2359034"/>
          </a:xfrm>
          <a:custGeom>
            <a:avLst/>
            <a:gdLst>
              <a:gd name="connsiteX0" fmla="*/ 6027576 w 6027576"/>
              <a:gd name="connsiteY0" fmla="*/ 3526971 h 3750906"/>
              <a:gd name="connsiteX1" fmla="*/ 3862874 w 6027576"/>
              <a:gd name="connsiteY1" fmla="*/ 2463281 h 3750906"/>
              <a:gd name="connsiteX2" fmla="*/ 2556588 w 6027576"/>
              <a:gd name="connsiteY2" fmla="*/ 2519265 h 3750906"/>
              <a:gd name="connsiteX3" fmla="*/ 2369976 w 6027576"/>
              <a:gd name="connsiteY3" fmla="*/ 1380930 h 3750906"/>
              <a:gd name="connsiteX4" fmla="*/ 3918857 w 6027576"/>
              <a:gd name="connsiteY4" fmla="*/ 2444620 h 3750906"/>
              <a:gd name="connsiteX5" fmla="*/ 4870580 w 6027576"/>
              <a:gd name="connsiteY5" fmla="*/ 2388636 h 3750906"/>
              <a:gd name="connsiteX6" fmla="*/ 2369976 w 6027576"/>
              <a:gd name="connsiteY6" fmla="*/ 1380930 h 3750906"/>
              <a:gd name="connsiteX7" fmla="*/ 1250302 w 6027576"/>
              <a:gd name="connsiteY7" fmla="*/ 2799183 h 3750906"/>
              <a:gd name="connsiteX8" fmla="*/ 2071396 w 6027576"/>
              <a:gd name="connsiteY8" fmla="*/ 3750906 h 3750906"/>
              <a:gd name="connsiteX9" fmla="*/ 0 w 6027576"/>
              <a:gd name="connsiteY9" fmla="*/ 2575249 h 3750906"/>
              <a:gd name="connsiteX10" fmla="*/ 1250302 w 6027576"/>
              <a:gd name="connsiteY10" fmla="*/ 2836506 h 3750906"/>
              <a:gd name="connsiteX11" fmla="*/ 74645 w 6027576"/>
              <a:gd name="connsiteY11" fmla="*/ 1791477 h 3750906"/>
              <a:gd name="connsiteX12" fmla="*/ 1101012 w 6027576"/>
              <a:gd name="connsiteY12" fmla="*/ 1343608 h 3750906"/>
              <a:gd name="connsiteX13" fmla="*/ 2892490 w 6027576"/>
              <a:gd name="connsiteY13" fmla="*/ 0 h 375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27576" h="3750906">
                <a:moveTo>
                  <a:pt x="6027576" y="3526971"/>
                </a:moveTo>
                <a:lnTo>
                  <a:pt x="3862874" y="2463281"/>
                </a:lnTo>
                <a:lnTo>
                  <a:pt x="2556588" y="2519265"/>
                </a:lnTo>
                <a:lnTo>
                  <a:pt x="2369976" y="1380930"/>
                </a:lnTo>
                <a:lnTo>
                  <a:pt x="3918857" y="2444620"/>
                </a:lnTo>
                <a:lnTo>
                  <a:pt x="4870580" y="2388636"/>
                </a:lnTo>
                <a:lnTo>
                  <a:pt x="2369976" y="1380930"/>
                </a:lnTo>
                <a:lnTo>
                  <a:pt x="1250302" y="2799183"/>
                </a:lnTo>
                <a:lnTo>
                  <a:pt x="2071396" y="3750906"/>
                </a:lnTo>
                <a:lnTo>
                  <a:pt x="0" y="2575249"/>
                </a:lnTo>
                <a:lnTo>
                  <a:pt x="1250302" y="2836506"/>
                </a:lnTo>
                <a:lnTo>
                  <a:pt x="74645" y="1791477"/>
                </a:lnTo>
                <a:lnTo>
                  <a:pt x="1101012" y="1343608"/>
                </a:lnTo>
                <a:lnTo>
                  <a:pt x="2892490" y="0"/>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37" name="Freeform 122">
            <a:extLst>
              <a:ext uri="{FF2B5EF4-FFF2-40B4-BE49-F238E27FC236}">
                <a16:creationId xmlns:a16="http://schemas.microsoft.com/office/drawing/2014/main" id="{1FA5153F-B00C-8225-4A01-CAE956798EE4}"/>
              </a:ext>
              <a:ext uri="{C183D7F6-B498-43B3-948B-1728B52AA6E4}">
                <adec:decorative xmlns:adec="http://schemas.microsoft.com/office/drawing/2017/decorative" val="1"/>
              </a:ext>
            </a:extLst>
          </p:cNvPr>
          <p:cNvSpPr/>
          <p:nvPr/>
        </p:nvSpPr>
        <p:spPr>
          <a:xfrm>
            <a:off x="7955528" y="310186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a:ea typeface="+mn-lt"/>
              <a:cs typeface="Segoe UI"/>
              <a:sym typeface="+mn-lt"/>
            </a:endParaRPr>
          </a:p>
        </p:txBody>
      </p:sp>
      <p:sp>
        <p:nvSpPr>
          <p:cNvPr id="238" name="Freeform 123">
            <a:extLst>
              <a:ext uri="{FF2B5EF4-FFF2-40B4-BE49-F238E27FC236}">
                <a16:creationId xmlns:a16="http://schemas.microsoft.com/office/drawing/2014/main" id="{21AEFAC4-F921-581E-7336-A970813D0DC4}"/>
              </a:ext>
              <a:ext uri="{C183D7F6-B498-43B3-948B-1728B52AA6E4}">
                <adec:decorative xmlns:adec="http://schemas.microsoft.com/office/drawing/2017/decorative" val="1"/>
              </a:ext>
            </a:extLst>
          </p:cNvPr>
          <p:cNvSpPr/>
          <p:nvPr/>
        </p:nvSpPr>
        <p:spPr>
          <a:xfrm>
            <a:off x="6055006" y="2769220"/>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7000">
                <a:srgbClr val="7A46B2"/>
              </a:gs>
              <a:gs pos="91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39" name="Freeform 124">
            <a:extLst>
              <a:ext uri="{FF2B5EF4-FFF2-40B4-BE49-F238E27FC236}">
                <a16:creationId xmlns:a16="http://schemas.microsoft.com/office/drawing/2014/main" id="{D95F3FE5-484A-E62C-C585-4AA39C518E09}"/>
              </a:ext>
              <a:ext uri="{C183D7F6-B498-43B3-948B-1728B52AA6E4}">
                <adec:decorative xmlns:adec="http://schemas.microsoft.com/office/drawing/2017/decorative" val="1"/>
              </a:ext>
            </a:extLst>
          </p:cNvPr>
          <p:cNvSpPr/>
          <p:nvPr/>
        </p:nvSpPr>
        <p:spPr>
          <a:xfrm>
            <a:off x="2475527" y="3657136"/>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0" name="Freeform 125">
            <a:extLst>
              <a:ext uri="{FF2B5EF4-FFF2-40B4-BE49-F238E27FC236}">
                <a16:creationId xmlns:a16="http://schemas.microsoft.com/office/drawing/2014/main" id="{5CE3D525-F535-02C4-AD2E-65813EBE33B0}"/>
              </a:ext>
              <a:ext uri="{C183D7F6-B498-43B3-948B-1728B52AA6E4}">
                <adec:decorative xmlns:adec="http://schemas.microsoft.com/office/drawing/2017/decorative" val="1"/>
              </a:ext>
            </a:extLst>
          </p:cNvPr>
          <p:cNvSpPr/>
          <p:nvPr/>
        </p:nvSpPr>
        <p:spPr>
          <a:xfrm>
            <a:off x="1623143" y="3298238"/>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1" name="Freeform 126">
            <a:extLst>
              <a:ext uri="{FF2B5EF4-FFF2-40B4-BE49-F238E27FC236}">
                <a16:creationId xmlns:a16="http://schemas.microsoft.com/office/drawing/2014/main" id="{D362598F-8DC4-749F-E1EA-0EA77A3F3F6B}"/>
              </a:ext>
              <a:ext uri="{C183D7F6-B498-43B3-948B-1728B52AA6E4}">
                <adec:decorative xmlns:adec="http://schemas.microsoft.com/office/drawing/2017/decorative" val="1"/>
              </a:ext>
            </a:extLst>
          </p:cNvPr>
          <p:cNvSpPr/>
          <p:nvPr/>
        </p:nvSpPr>
        <p:spPr>
          <a:xfrm>
            <a:off x="4094400" y="2597386"/>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2" name="Freeform 127">
            <a:extLst>
              <a:ext uri="{FF2B5EF4-FFF2-40B4-BE49-F238E27FC236}">
                <a16:creationId xmlns:a16="http://schemas.microsoft.com/office/drawing/2014/main" id="{73B7626E-BDF1-87AA-1BB4-942F516C29D5}"/>
              </a:ext>
              <a:ext uri="{C183D7F6-B498-43B3-948B-1728B52AA6E4}">
                <adec:decorative xmlns:adec="http://schemas.microsoft.com/office/drawing/2017/decorative" val="1"/>
              </a:ext>
            </a:extLst>
          </p:cNvPr>
          <p:cNvSpPr/>
          <p:nvPr/>
        </p:nvSpPr>
        <p:spPr>
          <a:xfrm>
            <a:off x="4269673" y="4059567"/>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4" name="Freeform 129">
            <a:extLst>
              <a:ext uri="{FF2B5EF4-FFF2-40B4-BE49-F238E27FC236}">
                <a16:creationId xmlns:a16="http://schemas.microsoft.com/office/drawing/2014/main" id="{73B5DA06-E304-1DEB-BFDE-E896D012C319}"/>
              </a:ext>
              <a:ext uri="{C183D7F6-B498-43B3-948B-1728B52AA6E4}">
                <adec:decorative xmlns:adec="http://schemas.microsoft.com/office/drawing/2017/decorative" val="1"/>
              </a:ext>
            </a:extLst>
          </p:cNvPr>
          <p:cNvSpPr/>
          <p:nvPr/>
        </p:nvSpPr>
        <p:spPr>
          <a:xfrm>
            <a:off x="6268992" y="3619079"/>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5" name="Freeform 130">
            <a:extLst>
              <a:ext uri="{FF2B5EF4-FFF2-40B4-BE49-F238E27FC236}">
                <a16:creationId xmlns:a16="http://schemas.microsoft.com/office/drawing/2014/main" id="{2F45F9EE-E50B-3D9B-9FE4-023DEC864E7A}"/>
              </a:ext>
              <a:ext uri="{C183D7F6-B498-43B3-948B-1728B52AA6E4}">
                <adec:decorative xmlns:adec="http://schemas.microsoft.com/office/drawing/2017/decorative" val="1"/>
              </a:ext>
            </a:extLst>
          </p:cNvPr>
          <p:cNvSpPr/>
          <p:nvPr/>
        </p:nvSpPr>
        <p:spPr>
          <a:xfrm>
            <a:off x="3461701" y="3135252"/>
            <a:ext cx="288287" cy="2882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6" name="Freeform 131">
            <a:extLst>
              <a:ext uri="{FF2B5EF4-FFF2-40B4-BE49-F238E27FC236}">
                <a16:creationId xmlns:a16="http://schemas.microsoft.com/office/drawing/2014/main" id="{B371CE78-0551-FEE9-84BB-E535596D8B56}"/>
              </a:ext>
              <a:ext uri="{C183D7F6-B498-43B3-948B-1728B52AA6E4}">
                <adec:decorative xmlns:adec="http://schemas.microsoft.com/office/drawing/2017/decorative" val="1"/>
              </a:ext>
            </a:extLst>
          </p:cNvPr>
          <p:cNvSpPr/>
          <p:nvPr/>
        </p:nvSpPr>
        <p:spPr>
          <a:xfrm>
            <a:off x="2653935" y="2552445"/>
            <a:ext cx="143410" cy="1433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7" name="Freeform 132">
            <a:extLst>
              <a:ext uri="{FF2B5EF4-FFF2-40B4-BE49-F238E27FC236}">
                <a16:creationId xmlns:a16="http://schemas.microsoft.com/office/drawing/2014/main" id="{80D73CA5-2A72-02B2-AAA4-0288C93ADA0B}"/>
              </a:ext>
              <a:ext uri="{C183D7F6-B498-43B3-948B-1728B52AA6E4}">
                <adec:decorative xmlns:adec="http://schemas.microsoft.com/office/drawing/2017/decorative" val="1"/>
              </a:ext>
            </a:extLst>
          </p:cNvPr>
          <p:cNvSpPr/>
          <p:nvPr/>
        </p:nvSpPr>
        <p:spPr>
          <a:xfrm>
            <a:off x="2714272" y="3227520"/>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8" name="Freeform 133">
            <a:extLst>
              <a:ext uri="{FF2B5EF4-FFF2-40B4-BE49-F238E27FC236}">
                <a16:creationId xmlns:a16="http://schemas.microsoft.com/office/drawing/2014/main" id="{D1BA7045-2ADC-17FE-A808-4601A9D85F4B}"/>
              </a:ext>
              <a:ext uri="{C183D7F6-B498-43B3-948B-1728B52AA6E4}">
                <adec:decorative xmlns:adec="http://schemas.microsoft.com/office/drawing/2017/decorative" val="1"/>
              </a:ext>
            </a:extLst>
          </p:cNvPr>
          <p:cNvSpPr/>
          <p:nvPr/>
        </p:nvSpPr>
        <p:spPr>
          <a:xfrm>
            <a:off x="905306" y="326872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9" name="Freeform 134">
            <a:extLst>
              <a:ext uri="{FF2B5EF4-FFF2-40B4-BE49-F238E27FC236}">
                <a16:creationId xmlns:a16="http://schemas.microsoft.com/office/drawing/2014/main" id="{D593C9CA-4009-B3E8-7D5D-BBD015D1454D}"/>
              </a:ext>
              <a:ext uri="{C183D7F6-B498-43B3-948B-1728B52AA6E4}">
                <adec:decorative xmlns:adec="http://schemas.microsoft.com/office/drawing/2017/decorative" val="1"/>
              </a:ext>
            </a:extLst>
          </p:cNvPr>
          <p:cNvSpPr/>
          <p:nvPr/>
        </p:nvSpPr>
        <p:spPr>
          <a:xfrm>
            <a:off x="3722628" y="2735383"/>
            <a:ext cx="180961" cy="18091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0" name="Freeform 135">
            <a:extLst>
              <a:ext uri="{FF2B5EF4-FFF2-40B4-BE49-F238E27FC236}">
                <a16:creationId xmlns:a16="http://schemas.microsoft.com/office/drawing/2014/main" id="{554668BB-3FA7-9EE2-DC1E-406CE182D9E4}"/>
              </a:ext>
              <a:ext uri="{C183D7F6-B498-43B3-948B-1728B52AA6E4}">
                <adec:decorative xmlns:adec="http://schemas.microsoft.com/office/drawing/2017/decorative" val="1"/>
              </a:ext>
            </a:extLst>
          </p:cNvPr>
          <p:cNvSpPr/>
          <p:nvPr/>
        </p:nvSpPr>
        <p:spPr>
          <a:xfrm>
            <a:off x="6475640" y="2608750"/>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7000">
                <a:srgbClr val="7A46B2"/>
              </a:gs>
              <a:gs pos="91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1" name="Freeform 136">
            <a:extLst>
              <a:ext uri="{FF2B5EF4-FFF2-40B4-BE49-F238E27FC236}">
                <a16:creationId xmlns:a16="http://schemas.microsoft.com/office/drawing/2014/main" id="{96382EBF-9E9B-19A7-7711-68E6EEBAC716}"/>
              </a:ext>
              <a:ext uri="{C183D7F6-B498-43B3-948B-1728B52AA6E4}">
                <adec:decorative xmlns:adec="http://schemas.microsoft.com/office/drawing/2017/decorative" val="1"/>
              </a:ext>
            </a:extLst>
          </p:cNvPr>
          <p:cNvSpPr/>
          <p:nvPr/>
        </p:nvSpPr>
        <p:spPr>
          <a:xfrm>
            <a:off x="4078048" y="3141518"/>
            <a:ext cx="181970" cy="18191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2" name="Freeform 137">
            <a:extLst>
              <a:ext uri="{FF2B5EF4-FFF2-40B4-BE49-F238E27FC236}">
                <a16:creationId xmlns:a16="http://schemas.microsoft.com/office/drawing/2014/main" id="{0607ADD5-1999-1B29-EFB7-9B4947C15B4D}"/>
              </a:ext>
              <a:ext uri="{C183D7F6-B498-43B3-948B-1728B52AA6E4}">
                <adec:decorative xmlns:adec="http://schemas.microsoft.com/office/drawing/2017/decorative" val="1"/>
              </a:ext>
            </a:extLst>
          </p:cNvPr>
          <p:cNvSpPr/>
          <p:nvPr/>
        </p:nvSpPr>
        <p:spPr>
          <a:xfrm>
            <a:off x="8641112" y="3779222"/>
            <a:ext cx="372271" cy="37216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4" name="Freeform 139">
            <a:extLst>
              <a:ext uri="{FF2B5EF4-FFF2-40B4-BE49-F238E27FC236}">
                <a16:creationId xmlns:a16="http://schemas.microsoft.com/office/drawing/2014/main" id="{6BBBDE05-B439-860B-A83A-017969BCEC67}"/>
              </a:ext>
              <a:ext uri="{C183D7F6-B498-43B3-948B-1728B52AA6E4}">
                <adec:decorative xmlns:adec="http://schemas.microsoft.com/office/drawing/2017/decorative" val="1"/>
              </a:ext>
            </a:extLst>
          </p:cNvPr>
          <p:cNvSpPr/>
          <p:nvPr/>
        </p:nvSpPr>
        <p:spPr>
          <a:xfrm>
            <a:off x="6829081" y="3201011"/>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5" name="Freeform 140">
            <a:extLst>
              <a:ext uri="{FF2B5EF4-FFF2-40B4-BE49-F238E27FC236}">
                <a16:creationId xmlns:a16="http://schemas.microsoft.com/office/drawing/2014/main" id="{EE429A52-4D87-4911-E689-D5BEEAC7D506}"/>
              </a:ext>
              <a:ext uri="{C183D7F6-B498-43B3-948B-1728B52AA6E4}">
                <adec:decorative xmlns:adec="http://schemas.microsoft.com/office/drawing/2017/decorative" val="1"/>
              </a:ext>
            </a:extLst>
          </p:cNvPr>
          <p:cNvSpPr/>
          <p:nvPr/>
        </p:nvSpPr>
        <p:spPr>
          <a:xfrm>
            <a:off x="7459231" y="3937024"/>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6" name="Freeform 141">
            <a:extLst>
              <a:ext uri="{FF2B5EF4-FFF2-40B4-BE49-F238E27FC236}">
                <a16:creationId xmlns:a16="http://schemas.microsoft.com/office/drawing/2014/main" id="{EB23240D-80B4-B228-92DC-F148D0C486F1}"/>
              </a:ext>
              <a:ext uri="{C183D7F6-B498-43B3-948B-1728B52AA6E4}">
                <adec:decorative xmlns:adec="http://schemas.microsoft.com/office/drawing/2017/decorative" val="1"/>
              </a:ext>
            </a:extLst>
          </p:cNvPr>
          <p:cNvSpPr/>
          <p:nvPr/>
        </p:nvSpPr>
        <p:spPr>
          <a:xfrm>
            <a:off x="9880877" y="3668144"/>
            <a:ext cx="298434" cy="29835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E14C7B"/>
              </a:gs>
              <a:gs pos="20000">
                <a:srgbClr val="B5429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7" name="Freeform 142">
            <a:extLst>
              <a:ext uri="{FF2B5EF4-FFF2-40B4-BE49-F238E27FC236}">
                <a16:creationId xmlns:a16="http://schemas.microsoft.com/office/drawing/2014/main" id="{827E7C50-7CDF-DEBE-226C-AA1E1B8F7B84}"/>
              </a:ext>
              <a:ext uri="{C183D7F6-B498-43B3-948B-1728B52AA6E4}">
                <adec:decorative xmlns:adec="http://schemas.microsoft.com/office/drawing/2017/decorative" val="1"/>
              </a:ext>
            </a:extLst>
          </p:cNvPr>
          <p:cNvSpPr/>
          <p:nvPr/>
        </p:nvSpPr>
        <p:spPr>
          <a:xfrm>
            <a:off x="3107756" y="2877703"/>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8" name="Freeform 143">
            <a:extLst>
              <a:ext uri="{FF2B5EF4-FFF2-40B4-BE49-F238E27FC236}">
                <a16:creationId xmlns:a16="http://schemas.microsoft.com/office/drawing/2014/main" id="{D0E0CB4A-0909-D993-A579-68128D291F8C}"/>
              </a:ext>
              <a:ext uri="{C183D7F6-B498-43B3-948B-1728B52AA6E4}">
                <adec:decorative xmlns:adec="http://schemas.microsoft.com/office/drawing/2017/decorative" val="1"/>
              </a:ext>
            </a:extLst>
          </p:cNvPr>
          <p:cNvSpPr/>
          <p:nvPr/>
        </p:nvSpPr>
        <p:spPr>
          <a:xfrm>
            <a:off x="5310103" y="1765570"/>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9" name="Freeform 144">
            <a:extLst>
              <a:ext uri="{FF2B5EF4-FFF2-40B4-BE49-F238E27FC236}">
                <a16:creationId xmlns:a16="http://schemas.microsoft.com/office/drawing/2014/main" id="{DA7AE566-841C-9D3B-38D3-A46475023B1B}"/>
              </a:ext>
              <a:ext uri="{C183D7F6-B498-43B3-948B-1728B52AA6E4}">
                <adec:decorative xmlns:adec="http://schemas.microsoft.com/office/drawing/2017/decorative" val="1"/>
              </a:ext>
            </a:extLst>
          </p:cNvPr>
          <p:cNvSpPr/>
          <p:nvPr/>
        </p:nvSpPr>
        <p:spPr>
          <a:xfrm>
            <a:off x="1417675" y="2689997"/>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0" name="Freeform 145">
            <a:extLst>
              <a:ext uri="{FF2B5EF4-FFF2-40B4-BE49-F238E27FC236}">
                <a16:creationId xmlns:a16="http://schemas.microsoft.com/office/drawing/2014/main" id="{864D9E04-32A3-8088-5D13-B949BC13BFF7}"/>
              </a:ext>
              <a:ext uri="{C183D7F6-B498-43B3-948B-1728B52AA6E4}">
                <adec:decorative xmlns:adec="http://schemas.microsoft.com/office/drawing/2017/decorative" val="1"/>
              </a:ext>
            </a:extLst>
          </p:cNvPr>
          <p:cNvSpPr/>
          <p:nvPr/>
        </p:nvSpPr>
        <p:spPr>
          <a:xfrm>
            <a:off x="1015943" y="2844081"/>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1" name="Freeform 146">
            <a:extLst>
              <a:ext uri="{FF2B5EF4-FFF2-40B4-BE49-F238E27FC236}">
                <a16:creationId xmlns:a16="http://schemas.microsoft.com/office/drawing/2014/main" id="{0723BECA-DDF5-7A9B-DCB2-D7308CDABAD8}"/>
              </a:ext>
              <a:ext uri="{C183D7F6-B498-43B3-948B-1728B52AA6E4}">
                <adec:decorative xmlns:adec="http://schemas.microsoft.com/office/drawing/2017/decorative" val="1"/>
              </a:ext>
            </a:extLst>
          </p:cNvPr>
          <p:cNvSpPr/>
          <p:nvPr/>
        </p:nvSpPr>
        <p:spPr>
          <a:xfrm>
            <a:off x="2486912" y="2075375"/>
            <a:ext cx="282465" cy="28238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2" name="Freeform 147">
            <a:extLst>
              <a:ext uri="{FF2B5EF4-FFF2-40B4-BE49-F238E27FC236}">
                <a16:creationId xmlns:a16="http://schemas.microsoft.com/office/drawing/2014/main" id="{6129A3C9-4F88-97E1-579C-748179A33DC5}"/>
              </a:ext>
              <a:ext uri="{C183D7F6-B498-43B3-948B-1728B52AA6E4}">
                <adec:decorative xmlns:adec="http://schemas.microsoft.com/office/drawing/2017/decorative" val="1"/>
              </a:ext>
            </a:extLst>
          </p:cNvPr>
          <p:cNvSpPr/>
          <p:nvPr/>
        </p:nvSpPr>
        <p:spPr>
          <a:xfrm>
            <a:off x="9311846" y="3149193"/>
            <a:ext cx="372271" cy="37216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3" name="Freeform 148">
            <a:extLst>
              <a:ext uri="{FF2B5EF4-FFF2-40B4-BE49-F238E27FC236}">
                <a16:creationId xmlns:a16="http://schemas.microsoft.com/office/drawing/2014/main" id="{60748C5F-0D86-23E1-5543-974C47786252}"/>
              </a:ext>
              <a:ext uri="{C183D7F6-B498-43B3-948B-1728B52AA6E4}">
                <adec:decorative xmlns:adec="http://schemas.microsoft.com/office/drawing/2017/decorative" val="1"/>
              </a:ext>
            </a:extLst>
          </p:cNvPr>
          <p:cNvSpPr/>
          <p:nvPr/>
        </p:nvSpPr>
        <p:spPr>
          <a:xfrm>
            <a:off x="8602398" y="3161303"/>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4" name="Freeform 149">
            <a:extLst>
              <a:ext uri="{FF2B5EF4-FFF2-40B4-BE49-F238E27FC236}">
                <a16:creationId xmlns:a16="http://schemas.microsoft.com/office/drawing/2014/main" id="{9B13CF19-62CC-2207-12E5-4E7D94387EE7}"/>
              </a:ext>
              <a:ext uri="{C183D7F6-B498-43B3-948B-1728B52AA6E4}">
                <adec:decorative xmlns:adec="http://schemas.microsoft.com/office/drawing/2017/decorative" val="1"/>
              </a:ext>
            </a:extLst>
          </p:cNvPr>
          <p:cNvSpPr/>
          <p:nvPr/>
        </p:nvSpPr>
        <p:spPr>
          <a:xfrm>
            <a:off x="8845615" y="227744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5" name="Freeform 150">
            <a:extLst>
              <a:ext uri="{FF2B5EF4-FFF2-40B4-BE49-F238E27FC236}">
                <a16:creationId xmlns:a16="http://schemas.microsoft.com/office/drawing/2014/main" id="{A0132F4D-154F-DA65-44F6-E5215F5AD199}"/>
              </a:ext>
              <a:ext uri="{C183D7F6-B498-43B3-948B-1728B52AA6E4}">
                <adec:decorative xmlns:adec="http://schemas.microsoft.com/office/drawing/2017/decorative" val="1"/>
              </a:ext>
            </a:extLst>
          </p:cNvPr>
          <p:cNvSpPr/>
          <p:nvPr/>
        </p:nvSpPr>
        <p:spPr>
          <a:xfrm>
            <a:off x="7499348" y="2821096"/>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6" name="Freeform 151">
            <a:extLst>
              <a:ext uri="{FF2B5EF4-FFF2-40B4-BE49-F238E27FC236}">
                <a16:creationId xmlns:a16="http://schemas.microsoft.com/office/drawing/2014/main" id="{8D5083BF-962C-57A0-0A17-8A4D242F588A}"/>
              </a:ext>
              <a:ext uri="{C183D7F6-B498-43B3-948B-1728B52AA6E4}">
                <adec:decorative xmlns:adec="http://schemas.microsoft.com/office/drawing/2017/decorative" val="1"/>
              </a:ext>
            </a:extLst>
          </p:cNvPr>
          <p:cNvSpPr/>
          <p:nvPr/>
        </p:nvSpPr>
        <p:spPr>
          <a:xfrm>
            <a:off x="9353513" y="3822045"/>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32000">
                <a:srgbClr val="CA429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7" name="Freeform 152">
            <a:extLst>
              <a:ext uri="{FF2B5EF4-FFF2-40B4-BE49-F238E27FC236}">
                <a16:creationId xmlns:a16="http://schemas.microsoft.com/office/drawing/2014/main" id="{93F5AC81-0A34-ECC8-E32F-C369761C7382}"/>
              </a:ext>
              <a:ext uri="{C183D7F6-B498-43B3-948B-1728B52AA6E4}">
                <adec:decorative xmlns:adec="http://schemas.microsoft.com/office/drawing/2017/decorative" val="1"/>
              </a:ext>
            </a:extLst>
          </p:cNvPr>
          <p:cNvSpPr/>
          <p:nvPr/>
        </p:nvSpPr>
        <p:spPr>
          <a:xfrm>
            <a:off x="5617276" y="351276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67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8" name="Freeform 153">
            <a:extLst>
              <a:ext uri="{FF2B5EF4-FFF2-40B4-BE49-F238E27FC236}">
                <a16:creationId xmlns:a16="http://schemas.microsoft.com/office/drawing/2014/main" id="{4E92931C-F1D3-FB48-9356-A9917E5136FC}"/>
              </a:ext>
              <a:ext uri="{C183D7F6-B498-43B3-948B-1728B52AA6E4}">
                <adec:decorative xmlns:adec="http://schemas.microsoft.com/office/drawing/2017/decorative" val="1"/>
              </a:ext>
            </a:extLst>
          </p:cNvPr>
          <p:cNvSpPr/>
          <p:nvPr/>
        </p:nvSpPr>
        <p:spPr>
          <a:xfrm>
            <a:off x="5065466" y="3262225"/>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67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9" name="Freeform 154">
            <a:extLst>
              <a:ext uri="{FF2B5EF4-FFF2-40B4-BE49-F238E27FC236}">
                <a16:creationId xmlns:a16="http://schemas.microsoft.com/office/drawing/2014/main" id="{7B43D16E-F847-BD2D-DECB-8426A145F0C6}"/>
              </a:ext>
              <a:ext uri="{C183D7F6-B498-43B3-948B-1728B52AA6E4}">
                <adec:decorative xmlns:adec="http://schemas.microsoft.com/office/drawing/2017/decorative" val="1"/>
              </a:ext>
            </a:extLst>
          </p:cNvPr>
          <p:cNvSpPr/>
          <p:nvPr/>
        </p:nvSpPr>
        <p:spPr>
          <a:xfrm>
            <a:off x="3935940" y="3885741"/>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0" name="Freeform 155">
            <a:extLst>
              <a:ext uri="{FF2B5EF4-FFF2-40B4-BE49-F238E27FC236}">
                <a16:creationId xmlns:a16="http://schemas.microsoft.com/office/drawing/2014/main" id="{552D00F4-833C-8200-1A98-C67D8E0C817C}"/>
              </a:ext>
              <a:ext uri="{C183D7F6-B498-43B3-948B-1728B52AA6E4}">
                <adec:decorative xmlns:adec="http://schemas.microsoft.com/office/drawing/2017/decorative" val="1"/>
              </a:ext>
            </a:extLst>
          </p:cNvPr>
          <p:cNvSpPr/>
          <p:nvPr/>
        </p:nvSpPr>
        <p:spPr>
          <a:xfrm>
            <a:off x="1205886" y="404363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2" name="Freeform 157">
            <a:extLst>
              <a:ext uri="{FF2B5EF4-FFF2-40B4-BE49-F238E27FC236}">
                <a16:creationId xmlns:a16="http://schemas.microsoft.com/office/drawing/2014/main" id="{42E8E998-A46A-7886-B670-481E59DB7915}"/>
              </a:ext>
              <a:ext uri="{C183D7F6-B498-43B3-948B-1728B52AA6E4}">
                <adec:decorative xmlns:adec="http://schemas.microsoft.com/office/drawing/2017/decorative" val="1"/>
              </a:ext>
            </a:extLst>
          </p:cNvPr>
          <p:cNvSpPr/>
          <p:nvPr/>
        </p:nvSpPr>
        <p:spPr>
          <a:xfrm>
            <a:off x="7423815" y="3374095"/>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5" name="Freeform 160">
            <a:extLst>
              <a:ext uri="{FF2B5EF4-FFF2-40B4-BE49-F238E27FC236}">
                <a16:creationId xmlns:a16="http://schemas.microsoft.com/office/drawing/2014/main" id="{4BB2044E-50B0-5AE8-8BDE-7A83F3918601}"/>
              </a:ext>
              <a:ext uri="{C183D7F6-B498-43B3-948B-1728B52AA6E4}">
                <adec:decorative xmlns:adec="http://schemas.microsoft.com/office/drawing/2017/decorative" val="1"/>
              </a:ext>
            </a:extLst>
          </p:cNvPr>
          <p:cNvSpPr/>
          <p:nvPr/>
        </p:nvSpPr>
        <p:spPr>
          <a:xfrm>
            <a:off x="10127694" y="3159108"/>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500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6" name="Freeform 161">
            <a:extLst>
              <a:ext uri="{FF2B5EF4-FFF2-40B4-BE49-F238E27FC236}">
                <a16:creationId xmlns:a16="http://schemas.microsoft.com/office/drawing/2014/main" id="{61533A9C-F0D2-5449-9A49-D111703C803C}"/>
              </a:ext>
              <a:ext uri="{C183D7F6-B498-43B3-948B-1728B52AA6E4}">
                <adec:decorative xmlns:adec="http://schemas.microsoft.com/office/drawing/2017/decorative" val="1"/>
              </a:ext>
            </a:extLst>
          </p:cNvPr>
          <p:cNvSpPr/>
          <p:nvPr/>
        </p:nvSpPr>
        <p:spPr>
          <a:xfrm>
            <a:off x="8032947" y="4037776"/>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7" name="Freeform 162">
            <a:extLst>
              <a:ext uri="{FF2B5EF4-FFF2-40B4-BE49-F238E27FC236}">
                <a16:creationId xmlns:a16="http://schemas.microsoft.com/office/drawing/2014/main" id="{9F4B75CA-3C25-6337-3947-8AA4869F416F}"/>
              </a:ext>
              <a:ext uri="{C183D7F6-B498-43B3-948B-1728B52AA6E4}">
                <adec:decorative xmlns:adec="http://schemas.microsoft.com/office/drawing/2017/decorative" val="1"/>
              </a:ext>
            </a:extLst>
          </p:cNvPr>
          <p:cNvSpPr/>
          <p:nvPr/>
        </p:nvSpPr>
        <p:spPr>
          <a:xfrm>
            <a:off x="3141150" y="3820875"/>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8" name="Freeform 163">
            <a:extLst>
              <a:ext uri="{FF2B5EF4-FFF2-40B4-BE49-F238E27FC236}">
                <a16:creationId xmlns:a16="http://schemas.microsoft.com/office/drawing/2014/main" id="{40AB2CD2-787B-AB9B-413A-4D3A91323494}"/>
              </a:ext>
              <a:ext uri="{C183D7F6-B498-43B3-948B-1728B52AA6E4}">
                <adec:decorative xmlns:adec="http://schemas.microsoft.com/office/drawing/2017/decorative" val="1"/>
              </a:ext>
            </a:extLst>
          </p:cNvPr>
          <p:cNvSpPr/>
          <p:nvPr/>
        </p:nvSpPr>
        <p:spPr>
          <a:xfrm>
            <a:off x="10306093" y="3579197"/>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E14C7B"/>
              </a:gs>
              <a:gs pos="20000">
                <a:srgbClr val="B5429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9" name="Freeform 164">
            <a:extLst>
              <a:ext uri="{FF2B5EF4-FFF2-40B4-BE49-F238E27FC236}">
                <a16:creationId xmlns:a16="http://schemas.microsoft.com/office/drawing/2014/main" id="{7C36ACED-913C-DE82-D5E4-7932FF4E284B}"/>
              </a:ext>
              <a:ext uri="{C183D7F6-B498-43B3-948B-1728B52AA6E4}">
                <adec:decorative xmlns:adec="http://schemas.microsoft.com/office/drawing/2017/decorative" val="1"/>
              </a:ext>
            </a:extLst>
          </p:cNvPr>
          <p:cNvSpPr/>
          <p:nvPr/>
        </p:nvSpPr>
        <p:spPr>
          <a:xfrm>
            <a:off x="4481993" y="270078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0" name="Freeform 165">
            <a:extLst>
              <a:ext uri="{FF2B5EF4-FFF2-40B4-BE49-F238E27FC236}">
                <a16:creationId xmlns:a16="http://schemas.microsoft.com/office/drawing/2014/main" id="{28CFD469-3100-38F8-E98D-7FA003CD7ACF}"/>
              </a:ext>
              <a:ext uri="{C183D7F6-B498-43B3-948B-1728B52AA6E4}">
                <adec:decorative xmlns:adec="http://schemas.microsoft.com/office/drawing/2017/decorative" val="1"/>
              </a:ext>
            </a:extLst>
          </p:cNvPr>
          <p:cNvSpPr/>
          <p:nvPr/>
        </p:nvSpPr>
        <p:spPr>
          <a:xfrm>
            <a:off x="4512249" y="3619079"/>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1" name="Freeform 166">
            <a:extLst>
              <a:ext uri="{FF2B5EF4-FFF2-40B4-BE49-F238E27FC236}">
                <a16:creationId xmlns:a16="http://schemas.microsoft.com/office/drawing/2014/main" id="{4F32DAF6-48DE-C4B0-7343-2DE8E872BF54}"/>
              </a:ext>
              <a:ext uri="{C183D7F6-B498-43B3-948B-1728B52AA6E4}">
                <adec:decorative xmlns:adec="http://schemas.microsoft.com/office/drawing/2017/decorative" val="1"/>
              </a:ext>
            </a:extLst>
          </p:cNvPr>
          <p:cNvSpPr/>
          <p:nvPr/>
        </p:nvSpPr>
        <p:spPr>
          <a:xfrm>
            <a:off x="5077047" y="253698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2" name="Freeform 167">
            <a:extLst>
              <a:ext uri="{FF2B5EF4-FFF2-40B4-BE49-F238E27FC236}">
                <a16:creationId xmlns:a16="http://schemas.microsoft.com/office/drawing/2014/main" id="{8B1CE3C4-95D5-F433-A764-C393B9F7932E}"/>
              </a:ext>
              <a:ext uri="{C183D7F6-B498-43B3-948B-1728B52AA6E4}">
                <adec:decorative xmlns:adec="http://schemas.microsoft.com/office/drawing/2017/decorative" val="1"/>
              </a:ext>
            </a:extLst>
          </p:cNvPr>
          <p:cNvSpPr/>
          <p:nvPr/>
        </p:nvSpPr>
        <p:spPr>
          <a:xfrm>
            <a:off x="5355677" y="405450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67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4" name="Freeform 169">
            <a:extLst>
              <a:ext uri="{FF2B5EF4-FFF2-40B4-BE49-F238E27FC236}">
                <a16:creationId xmlns:a16="http://schemas.microsoft.com/office/drawing/2014/main" id="{89B6BDEC-ECAA-CB3A-4DFB-0739F27DA644}"/>
              </a:ext>
              <a:ext uri="{C183D7F6-B498-43B3-948B-1728B52AA6E4}">
                <adec:decorative xmlns:adec="http://schemas.microsoft.com/office/drawing/2017/decorative" val="1"/>
              </a:ext>
            </a:extLst>
          </p:cNvPr>
          <p:cNvSpPr/>
          <p:nvPr/>
        </p:nvSpPr>
        <p:spPr>
          <a:xfrm>
            <a:off x="1986071" y="2930368"/>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73" name="TextBox 172">
            <a:extLst>
              <a:ext uri="{FF2B5EF4-FFF2-40B4-BE49-F238E27FC236}">
                <a16:creationId xmlns:a16="http://schemas.microsoft.com/office/drawing/2014/main" id="{1D47D5DC-2C43-48A5-B372-9AF5DE482D90}"/>
              </a:ext>
            </a:extLst>
          </p:cNvPr>
          <p:cNvSpPr txBox="1"/>
          <p:nvPr/>
        </p:nvSpPr>
        <p:spPr>
          <a:xfrm>
            <a:off x="3935941" y="1257050"/>
            <a:ext cx="4348388" cy="271613"/>
          </a:xfrm>
          <a:prstGeom prst="rect">
            <a:avLst/>
          </a:prstGeom>
          <a:noFill/>
        </p:spPr>
        <p:txBody>
          <a:bodyPr wrap="square" lIns="0" tIns="0" rIns="0" bIns="0" rtlCol="0" anchor="t">
            <a:spAutoFit/>
          </a:bodyPr>
          <a:lstStyle/>
          <a:p>
            <a:pPr marL="0" marR="0" lvl="0" indent="0" algn="ctr" defTabSz="750265" rtl="0" eaLnBrk="1" fontAlgn="auto" latinLnBrk="0" hangingPunct="1">
              <a:lnSpc>
                <a:spcPct val="100000"/>
              </a:lnSpc>
              <a:spcBef>
                <a:spcPts val="0"/>
              </a:spcBef>
              <a:spcAft>
                <a:spcPts val="0"/>
              </a:spcAft>
              <a:buClrTx/>
              <a:buSzTx/>
              <a:buFontTx/>
              <a:buNone/>
              <a:tabLst/>
              <a:defRPr/>
            </a:pPr>
            <a:r>
              <a:rPr kumimoji="0" lang="fr-fr" sz="1765" b="0" i="0" u="none" strike="noStrike" kern="1200" cap="none" spc="0" normalizeH="0" baseline="0" noProof="0">
                <a:ln>
                  <a:noFill/>
                </a:ln>
                <a:solidFill>
                  <a:srgbClr val="2A446F"/>
                </a:solidFill>
                <a:effectLst/>
                <a:uLnTx/>
                <a:uFillTx/>
                <a:latin typeface="Segoe UI Semibold"/>
                <a:ea typeface="+mn-ea"/>
                <a:cs typeface="Segoe UI Semibold" panose="020B0702040204020203" pitchFamily="34" charset="0"/>
              </a:rPr>
              <a:t>La plateforme de contrôle pour les agents</a:t>
            </a:r>
          </a:p>
        </p:txBody>
      </p:sp>
      <p:sp>
        <p:nvSpPr>
          <p:cNvPr id="243" name="Freeform 128">
            <a:extLst>
              <a:ext uri="{FF2B5EF4-FFF2-40B4-BE49-F238E27FC236}">
                <a16:creationId xmlns:a16="http://schemas.microsoft.com/office/drawing/2014/main" id="{52012434-9903-E33B-A29E-EFDDCC8FA29C}"/>
              </a:ext>
              <a:ext uri="{C183D7F6-B498-43B3-948B-1728B52AA6E4}">
                <adec:decorative xmlns:adec="http://schemas.microsoft.com/office/drawing/2017/decorative" val="1"/>
              </a:ext>
            </a:extLst>
          </p:cNvPr>
          <p:cNvSpPr/>
          <p:nvPr/>
        </p:nvSpPr>
        <p:spPr>
          <a:xfrm>
            <a:off x="10486879" y="4652348"/>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E14C7B"/>
              </a:gs>
              <a:gs pos="17000">
                <a:srgbClr val="B54292">
                  <a:lumMod val="83000"/>
                </a:srgbClr>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3" name="Freeform 138">
            <a:extLst>
              <a:ext uri="{FF2B5EF4-FFF2-40B4-BE49-F238E27FC236}">
                <a16:creationId xmlns:a16="http://schemas.microsoft.com/office/drawing/2014/main" id="{B09EF561-2738-F232-A483-E6650404910E}"/>
              </a:ext>
              <a:ext uri="{C183D7F6-B498-43B3-948B-1728B52AA6E4}">
                <adec:decorative xmlns:adec="http://schemas.microsoft.com/office/drawing/2017/decorative" val="1"/>
              </a:ext>
            </a:extLst>
          </p:cNvPr>
          <p:cNvSpPr/>
          <p:nvPr/>
        </p:nvSpPr>
        <p:spPr>
          <a:xfrm>
            <a:off x="8463962" y="4625283"/>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1" name="Freeform 156">
            <a:extLst>
              <a:ext uri="{FF2B5EF4-FFF2-40B4-BE49-F238E27FC236}">
                <a16:creationId xmlns:a16="http://schemas.microsoft.com/office/drawing/2014/main" id="{A1331D80-08D4-405E-ECD2-5E7D33471B24}"/>
              </a:ext>
              <a:ext uri="{C183D7F6-B498-43B3-948B-1728B52AA6E4}">
                <adec:decorative xmlns:adec="http://schemas.microsoft.com/office/drawing/2017/decorative" val="1"/>
              </a:ext>
            </a:extLst>
          </p:cNvPr>
          <p:cNvSpPr/>
          <p:nvPr/>
        </p:nvSpPr>
        <p:spPr>
          <a:xfrm>
            <a:off x="6071522" y="4307976"/>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4" name="Freeform 159">
            <a:extLst>
              <a:ext uri="{FF2B5EF4-FFF2-40B4-BE49-F238E27FC236}">
                <a16:creationId xmlns:a16="http://schemas.microsoft.com/office/drawing/2014/main" id="{B8B24363-402C-5AA8-2226-777D726D2DC0}"/>
              </a:ext>
              <a:ext uri="{C183D7F6-B498-43B3-948B-1728B52AA6E4}">
                <adec:decorative xmlns:adec="http://schemas.microsoft.com/office/drawing/2017/decorative" val="1"/>
              </a:ext>
            </a:extLst>
          </p:cNvPr>
          <p:cNvSpPr/>
          <p:nvPr/>
        </p:nvSpPr>
        <p:spPr>
          <a:xfrm>
            <a:off x="6916737" y="4332559"/>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3" name="Freeform 168">
            <a:extLst>
              <a:ext uri="{FF2B5EF4-FFF2-40B4-BE49-F238E27FC236}">
                <a16:creationId xmlns:a16="http://schemas.microsoft.com/office/drawing/2014/main" id="{8337EEF9-6201-1EA6-6511-E405B34B33F9}"/>
              </a:ext>
              <a:ext uri="{C183D7F6-B498-43B3-948B-1728B52AA6E4}">
                <adec:decorative xmlns:adec="http://schemas.microsoft.com/office/drawing/2017/decorative" val="1"/>
              </a:ext>
            </a:extLst>
          </p:cNvPr>
          <p:cNvSpPr/>
          <p:nvPr/>
        </p:nvSpPr>
        <p:spPr>
          <a:xfrm>
            <a:off x="5903564" y="4732120"/>
            <a:ext cx="344060" cy="34396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alpha val="65000"/>
                </a:srgbClr>
              </a:gs>
              <a:gs pos="12000">
                <a:srgbClr val="AC35AF">
                  <a:alpha val="58000"/>
                </a:srgbClr>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308" name="Rectangle: Rounded Corners 307">
            <a:extLst>
              <a:ext uri="{FF2B5EF4-FFF2-40B4-BE49-F238E27FC236}">
                <a16:creationId xmlns:a16="http://schemas.microsoft.com/office/drawing/2014/main" id="{A64F1C93-A15D-C5D6-0E12-C391F2C3F631}"/>
              </a:ext>
              <a:ext uri="{C183D7F6-B498-43B3-948B-1728B52AA6E4}">
                <adec:decorative xmlns:adec="http://schemas.microsoft.com/office/drawing/2017/decorative" val="1"/>
              </a:ext>
            </a:extLst>
          </p:cNvPr>
          <p:cNvSpPr>
            <a:spLocks/>
          </p:cNvSpPr>
          <p:nvPr/>
        </p:nvSpPr>
        <p:spPr bwMode="auto">
          <a:xfrm>
            <a:off x="723897" y="4769972"/>
            <a:ext cx="2024482" cy="1417467"/>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09" name="Rectangle: Rounded Corners 308">
            <a:extLst>
              <a:ext uri="{FF2B5EF4-FFF2-40B4-BE49-F238E27FC236}">
                <a16:creationId xmlns:a16="http://schemas.microsoft.com/office/drawing/2014/main" id="{4CDA8E1C-B5E6-FBDC-87D2-1B9EEBE5DF1A}"/>
              </a:ext>
              <a:ext uri="{C183D7F6-B498-43B3-948B-1728B52AA6E4}">
                <adec:decorative xmlns:adec="http://schemas.microsoft.com/office/drawing/2017/decorative" val="1"/>
              </a:ext>
            </a:extLst>
          </p:cNvPr>
          <p:cNvSpPr>
            <a:spLocks/>
          </p:cNvSpPr>
          <p:nvPr/>
        </p:nvSpPr>
        <p:spPr bwMode="auto">
          <a:xfrm>
            <a:off x="2903827" y="4769972"/>
            <a:ext cx="2024482" cy="1417467"/>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10" name="Rectangle: Rounded Corners 309">
            <a:extLst>
              <a:ext uri="{FF2B5EF4-FFF2-40B4-BE49-F238E27FC236}">
                <a16:creationId xmlns:a16="http://schemas.microsoft.com/office/drawing/2014/main" id="{88D3697C-D277-590B-2421-D008AE4C0B62}"/>
              </a:ext>
              <a:ext uri="{C183D7F6-B498-43B3-948B-1728B52AA6E4}">
                <adec:decorative xmlns:adec="http://schemas.microsoft.com/office/drawing/2017/decorative" val="1"/>
              </a:ext>
            </a:extLst>
          </p:cNvPr>
          <p:cNvSpPr>
            <a:spLocks/>
          </p:cNvSpPr>
          <p:nvPr/>
        </p:nvSpPr>
        <p:spPr bwMode="auto">
          <a:xfrm>
            <a:off x="5083757" y="4769972"/>
            <a:ext cx="2024482" cy="1417467"/>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11" name="Rectangle: Rounded Corners 310">
            <a:extLst>
              <a:ext uri="{FF2B5EF4-FFF2-40B4-BE49-F238E27FC236}">
                <a16:creationId xmlns:a16="http://schemas.microsoft.com/office/drawing/2014/main" id="{E9D48DDB-8B80-6356-B9C7-A0C3F4429BB8}"/>
              </a:ext>
              <a:ext uri="{C183D7F6-B498-43B3-948B-1728B52AA6E4}">
                <adec:decorative xmlns:adec="http://schemas.microsoft.com/office/drawing/2017/decorative" val="1"/>
              </a:ext>
            </a:extLst>
          </p:cNvPr>
          <p:cNvSpPr>
            <a:spLocks/>
          </p:cNvSpPr>
          <p:nvPr/>
        </p:nvSpPr>
        <p:spPr bwMode="auto">
          <a:xfrm>
            <a:off x="7263687" y="4769972"/>
            <a:ext cx="2024482" cy="1417467"/>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12" name="Rectangle: Rounded Corners 311">
            <a:extLst>
              <a:ext uri="{FF2B5EF4-FFF2-40B4-BE49-F238E27FC236}">
                <a16:creationId xmlns:a16="http://schemas.microsoft.com/office/drawing/2014/main" id="{EE2E59BC-23FE-0962-72DD-566AF7484C90}"/>
              </a:ext>
              <a:ext uri="{C183D7F6-B498-43B3-948B-1728B52AA6E4}">
                <adec:decorative xmlns:adec="http://schemas.microsoft.com/office/drawing/2017/decorative" val="1"/>
              </a:ext>
            </a:extLst>
          </p:cNvPr>
          <p:cNvSpPr>
            <a:spLocks/>
          </p:cNvSpPr>
          <p:nvPr/>
        </p:nvSpPr>
        <p:spPr bwMode="auto">
          <a:xfrm>
            <a:off x="9443617" y="4769972"/>
            <a:ext cx="2024482" cy="1417467"/>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grpSp>
        <p:nvGrpSpPr>
          <p:cNvPr id="6" name="Group 5">
            <a:extLst>
              <a:ext uri="{FF2B5EF4-FFF2-40B4-BE49-F238E27FC236}">
                <a16:creationId xmlns:a16="http://schemas.microsoft.com/office/drawing/2014/main" id="{B6EBEF3D-1DBF-35A1-FD84-9DCEE7A443E7}"/>
              </a:ext>
              <a:ext uri="{C183D7F6-B498-43B3-948B-1728B52AA6E4}">
                <adec:decorative xmlns:adec="http://schemas.microsoft.com/office/drawing/2017/decorative" val="1"/>
              </a:ext>
            </a:extLst>
          </p:cNvPr>
          <p:cNvGrpSpPr/>
          <p:nvPr/>
        </p:nvGrpSpPr>
        <p:grpSpPr>
          <a:xfrm>
            <a:off x="1408783" y="4457611"/>
            <a:ext cx="654710" cy="654710"/>
            <a:chOff x="1408783" y="4316018"/>
            <a:chExt cx="654710" cy="654710"/>
          </a:xfrm>
        </p:grpSpPr>
        <p:sp>
          <p:nvSpPr>
            <p:cNvPr id="166" name="Box">
              <a:extLst>
                <a:ext uri="{FF2B5EF4-FFF2-40B4-BE49-F238E27FC236}">
                  <a16:creationId xmlns:a16="http://schemas.microsoft.com/office/drawing/2014/main" id="{9657EAC4-83E7-1C75-21C3-2DE304C8B091}"/>
                </a:ext>
                <a:ext uri="{C183D7F6-B498-43B3-948B-1728B52AA6E4}">
                  <adec:decorative xmlns:adec="http://schemas.microsoft.com/office/drawing/2017/decorative" val="1"/>
                </a:ext>
              </a:extLst>
            </p:cNvPr>
            <p:cNvSpPr>
              <a:spLocks noChangeAspect="1"/>
            </p:cNvSpPr>
            <p:nvPr/>
          </p:nvSpPr>
          <p:spPr bwMode="auto">
            <a:xfrm>
              <a:off x="140878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3" name="Graphic 119">
              <a:extLst>
                <a:ext uri="{FF2B5EF4-FFF2-40B4-BE49-F238E27FC236}">
                  <a16:creationId xmlns:a16="http://schemas.microsoft.com/office/drawing/2014/main" id="{43B18221-C589-A466-8E62-0E7524C743A6}"/>
                </a:ext>
              </a:extLst>
            </p:cNvPr>
            <p:cNvSpPr/>
            <p:nvPr/>
          </p:nvSpPr>
          <p:spPr>
            <a:xfrm>
              <a:off x="1566340" y="4473576"/>
              <a:ext cx="339598" cy="339596"/>
            </a:xfrm>
            <a:custGeom>
              <a:avLst/>
              <a:gdLst>
                <a:gd name="csX0" fmla="*/ 802316 w 979097"/>
                <a:gd name="csY0" fmla="*/ 0 h 979097"/>
                <a:gd name="csX1" fmla="*/ 979097 w 979097"/>
                <a:gd name="csY1" fmla="*/ 176781 h 979097"/>
                <a:gd name="csX2" fmla="*/ 979097 w 979097"/>
                <a:gd name="csY2" fmla="*/ 802316 h 979097"/>
                <a:gd name="csX3" fmla="*/ 802316 w 979097"/>
                <a:gd name="csY3" fmla="*/ 979097 h 979097"/>
                <a:gd name="csX4" fmla="*/ 176781 w 979097"/>
                <a:gd name="csY4" fmla="*/ 979097 h 979097"/>
                <a:gd name="csX5" fmla="*/ 0 w 979097"/>
                <a:gd name="csY5" fmla="*/ 802316 h 979097"/>
                <a:gd name="csX6" fmla="*/ 0 w 979097"/>
                <a:gd name="csY6" fmla="*/ 176781 h 979097"/>
                <a:gd name="csX7" fmla="*/ 176781 w 979097"/>
                <a:gd name="csY7" fmla="*/ 0 h 979097"/>
                <a:gd name="csX8" fmla="*/ 802316 w 979097"/>
                <a:gd name="csY8" fmla="*/ 0 h 979097"/>
                <a:gd name="csX9" fmla="*/ 802316 w 979097"/>
                <a:gd name="csY9" fmla="*/ 81591 h 979097"/>
                <a:gd name="csX10" fmla="*/ 176781 w 979097"/>
                <a:gd name="csY10" fmla="*/ 81591 h 979097"/>
                <a:gd name="csX11" fmla="*/ 81591 w 979097"/>
                <a:gd name="csY11" fmla="*/ 176781 h 979097"/>
                <a:gd name="csX12" fmla="*/ 81591 w 979097"/>
                <a:gd name="csY12" fmla="*/ 802316 h 979097"/>
                <a:gd name="csX13" fmla="*/ 176781 w 979097"/>
                <a:gd name="csY13" fmla="*/ 897506 h 979097"/>
                <a:gd name="csX14" fmla="*/ 802316 w 979097"/>
                <a:gd name="csY14" fmla="*/ 897506 h 979097"/>
                <a:gd name="csX15" fmla="*/ 897506 w 979097"/>
                <a:gd name="csY15" fmla="*/ 802316 h 979097"/>
                <a:gd name="csX16" fmla="*/ 897506 w 979097"/>
                <a:gd name="csY16" fmla="*/ 176781 h 979097"/>
                <a:gd name="csX17" fmla="*/ 802316 w 979097"/>
                <a:gd name="csY17" fmla="*/ 81591 h 979097"/>
                <a:gd name="csX18" fmla="*/ 258373 w 979097"/>
                <a:gd name="csY18" fmla="*/ 217577 h 979097"/>
                <a:gd name="csX19" fmla="*/ 298796 w 979097"/>
                <a:gd name="csY19" fmla="*/ 252837 h 979097"/>
                <a:gd name="csX20" fmla="*/ 299169 w 979097"/>
                <a:gd name="csY20" fmla="*/ 258373 h 979097"/>
                <a:gd name="csX21" fmla="*/ 299169 w 979097"/>
                <a:gd name="csY21" fmla="*/ 312767 h 979097"/>
                <a:gd name="csX22" fmla="*/ 258373 w 979097"/>
                <a:gd name="csY22" fmla="*/ 353563 h 979097"/>
                <a:gd name="csX23" fmla="*/ 217950 w 979097"/>
                <a:gd name="csY23" fmla="*/ 318303 h 979097"/>
                <a:gd name="csX24" fmla="*/ 217577 w 979097"/>
                <a:gd name="csY24" fmla="*/ 312767 h 979097"/>
                <a:gd name="csX25" fmla="*/ 217577 w 979097"/>
                <a:gd name="csY25" fmla="*/ 258373 h 979097"/>
                <a:gd name="csX26" fmla="*/ 258373 w 979097"/>
                <a:gd name="csY26" fmla="*/ 217577 h 979097"/>
                <a:gd name="csX27" fmla="*/ 298796 w 979097"/>
                <a:gd name="csY27" fmla="*/ 660793 h 979097"/>
                <a:gd name="csX28" fmla="*/ 258373 w 979097"/>
                <a:gd name="csY28" fmla="*/ 625534 h 979097"/>
                <a:gd name="csX29" fmla="*/ 217577 w 979097"/>
                <a:gd name="csY29" fmla="*/ 666330 h 979097"/>
                <a:gd name="csX30" fmla="*/ 217577 w 979097"/>
                <a:gd name="csY30" fmla="*/ 720724 h 979097"/>
                <a:gd name="csX31" fmla="*/ 217950 w 979097"/>
                <a:gd name="csY31" fmla="*/ 726262 h 979097"/>
                <a:gd name="csX32" fmla="*/ 258373 w 979097"/>
                <a:gd name="csY32" fmla="*/ 761520 h 979097"/>
                <a:gd name="csX33" fmla="*/ 299169 w 979097"/>
                <a:gd name="csY33" fmla="*/ 720724 h 979097"/>
                <a:gd name="csX34" fmla="*/ 299169 w 979097"/>
                <a:gd name="csY34" fmla="*/ 666330 h 979097"/>
                <a:gd name="csX35" fmla="*/ 298796 w 979097"/>
                <a:gd name="csY35" fmla="*/ 660793 h 979097"/>
                <a:gd name="csX36" fmla="*/ 299169 w 979097"/>
                <a:gd name="csY36" fmla="*/ 452626 h 979097"/>
                <a:gd name="csX37" fmla="*/ 258745 w 979097"/>
                <a:gd name="csY37" fmla="*/ 417362 h 979097"/>
                <a:gd name="csX38" fmla="*/ 217950 w 979097"/>
                <a:gd name="csY38" fmla="*/ 458158 h 979097"/>
                <a:gd name="csX39" fmla="*/ 217577 w 979097"/>
                <a:gd name="csY39" fmla="*/ 520619 h 979097"/>
                <a:gd name="csX40" fmla="*/ 217950 w 979097"/>
                <a:gd name="csY40" fmla="*/ 526151 h 979097"/>
                <a:gd name="csX41" fmla="*/ 258373 w 979097"/>
                <a:gd name="csY41" fmla="*/ 561414 h 979097"/>
                <a:gd name="csX42" fmla="*/ 299169 w 979097"/>
                <a:gd name="csY42" fmla="*/ 520619 h 979097"/>
                <a:gd name="csX43" fmla="*/ 299541 w 979097"/>
                <a:gd name="csY43" fmla="*/ 458158 h 979097"/>
                <a:gd name="csX44" fmla="*/ 299169 w 979097"/>
                <a:gd name="csY44" fmla="*/ 452626 h 97909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Lst>
              <a:rect l="l" t="t" r="r" b="b"/>
              <a:pathLst>
                <a:path w="979097" h="979097">
                  <a:moveTo>
                    <a:pt x="802316" y="0"/>
                  </a:moveTo>
                  <a:cubicBezTo>
                    <a:pt x="899948" y="0"/>
                    <a:pt x="979097" y="79148"/>
                    <a:pt x="979097" y="176781"/>
                  </a:cubicBezTo>
                  <a:lnTo>
                    <a:pt x="979097" y="802316"/>
                  </a:lnTo>
                  <a:cubicBezTo>
                    <a:pt x="979097" y="899948"/>
                    <a:pt x="899948" y="979097"/>
                    <a:pt x="802316" y="979097"/>
                  </a:cubicBezTo>
                  <a:lnTo>
                    <a:pt x="176781" y="979097"/>
                  </a:lnTo>
                  <a:cubicBezTo>
                    <a:pt x="79148" y="979097"/>
                    <a:pt x="0" y="899948"/>
                    <a:pt x="0" y="802316"/>
                  </a:cubicBezTo>
                  <a:lnTo>
                    <a:pt x="0" y="176781"/>
                  </a:lnTo>
                  <a:cubicBezTo>
                    <a:pt x="0" y="79148"/>
                    <a:pt x="79148" y="0"/>
                    <a:pt x="176781" y="0"/>
                  </a:cubicBezTo>
                  <a:lnTo>
                    <a:pt x="802316" y="0"/>
                  </a:lnTo>
                  <a:close/>
                  <a:moveTo>
                    <a:pt x="802316" y="81591"/>
                  </a:moveTo>
                  <a:lnTo>
                    <a:pt x="176781" y="81591"/>
                  </a:lnTo>
                  <a:cubicBezTo>
                    <a:pt x="124209" y="81591"/>
                    <a:pt x="81591" y="124209"/>
                    <a:pt x="81591" y="176781"/>
                  </a:cubicBezTo>
                  <a:lnTo>
                    <a:pt x="81591" y="802316"/>
                  </a:lnTo>
                  <a:cubicBezTo>
                    <a:pt x="81591" y="854888"/>
                    <a:pt x="124209" y="897506"/>
                    <a:pt x="176781" y="897506"/>
                  </a:cubicBezTo>
                  <a:lnTo>
                    <a:pt x="802316" y="897506"/>
                  </a:lnTo>
                  <a:cubicBezTo>
                    <a:pt x="854888" y="897506"/>
                    <a:pt x="897506" y="854888"/>
                    <a:pt x="897506" y="802316"/>
                  </a:cubicBezTo>
                  <a:lnTo>
                    <a:pt x="897506" y="176781"/>
                  </a:lnTo>
                  <a:cubicBezTo>
                    <a:pt x="897506" y="124209"/>
                    <a:pt x="854888" y="81591"/>
                    <a:pt x="802316" y="81591"/>
                  </a:cubicBezTo>
                  <a:close/>
                  <a:moveTo>
                    <a:pt x="258373" y="217577"/>
                  </a:moveTo>
                  <a:cubicBezTo>
                    <a:pt x="279026" y="217577"/>
                    <a:pt x="296095" y="232925"/>
                    <a:pt x="298796" y="252837"/>
                  </a:cubicBezTo>
                  <a:lnTo>
                    <a:pt x="299169" y="258373"/>
                  </a:lnTo>
                  <a:lnTo>
                    <a:pt x="299169" y="312767"/>
                  </a:lnTo>
                  <a:cubicBezTo>
                    <a:pt x="299169" y="335298"/>
                    <a:pt x="280904" y="353563"/>
                    <a:pt x="258373" y="353563"/>
                  </a:cubicBezTo>
                  <a:cubicBezTo>
                    <a:pt x="237719" y="353563"/>
                    <a:pt x="220651" y="338216"/>
                    <a:pt x="217950" y="318303"/>
                  </a:cubicBezTo>
                  <a:lnTo>
                    <a:pt x="217577" y="312767"/>
                  </a:lnTo>
                  <a:lnTo>
                    <a:pt x="217577" y="258373"/>
                  </a:lnTo>
                  <a:cubicBezTo>
                    <a:pt x="217577" y="235842"/>
                    <a:pt x="235842" y="217577"/>
                    <a:pt x="258373" y="217577"/>
                  </a:cubicBezTo>
                  <a:close/>
                  <a:moveTo>
                    <a:pt x="298796" y="660793"/>
                  </a:moveTo>
                  <a:cubicBezTo>
                    <a:pt x="296095" y="640884"/>
                    <a:pt x="279026" y="625534"/>
                    <a:pt x="258373" y="625534"/>
                  </a:cubicBezTo>
                  <a:cubicBezTo>
                    <a:pt x="235842" y="625534"/>
                    <a:pt x="217577" y="643800"/>
                    <a:pt x="217577" y="666330"/>
                  </a:cubicBezTo>
                  <a:lnTo>
                    <a:pt x="217577" y="720724"/>
                  </a:lnTo>
                  <a:lnTo>
                    <a:pt x="217950" y="726262"/>
                  </a:lnTo>
                  <a:cubicBezTo>
                    <a:pt x="220651" y="746170"/>
                    <a:pt x="237719" y="761520"/>
                    <a:pt x="258373" y="761520"/>
                  </a:cubicBezTo>
                  <a:cubicBezTo>
                    <a:pt x="280904" y="761520"/>
                    <a:pt x="299169" y="743255"/>
                    <a:pt x="299169" y="720724"/>
                  </a:cubicBezTo>
                  <a:lnTo>
                    <a:pt x="299169" y="666330"/>
                  </a:lnTo>
                  <a:lnTo>
                    <a:pt x="298796" y="660793"/>
                  </a:lnTo>
                  <a:close/>
                  <a:moveTo>
                    <a:pt x="299169" y="452626"/>
                  </a:moveTo>
                  <a:cubicBezTo>
                    <a:pt x="296467" y="432712"/>
                    <a:pt x="279398" y="417362"/>
                    <a:pt x="258745" y="417362"/>
                  </a:cubicBezTo>
                  <a:cubicBezTo>
                    <a:pt x="236214" y="417362"/>
                    <a:pt x="217950" y="435628"/>
                    <a:pt x="217950" y="458158"/>
                  </a:cubicBezTo>
                  <a:lnTo>
                    <a:pt x="217577" y="520619"/>
                  </a:lnTo>
                  <a:lnTo>
                    <a:pt x="217950" y="526151"/>
                  </a:lnTo>
                  <a:cubicBezTo>
                    <a:pt x="220651" y="546064"/>
                    <a:pt x="237719" y="561414"/>
                    <a:pt x="258373" y="561414"/>
                  </a:cubicBezTo>
                  <a:cubicBezTo>
                    <a:pt x="280904" y="561414"/>
                    <a:pt x="299169" y="543149"/>
                    <a:pt x="299169" y="520619"/>
                  </a:cubicBezTo>
                  <a:lnTo>
                    <a:pt x="299541" y="458158"/>
                  </a:lnTo>
                  <a:lnTo>
                    <a:pt x="299169" y="452626"/>
                  </a:lnTo>
                  <a:close/>
                </a:path>
              </a:pathLst>
            </a:custGeom>
            <a:solidFill>
              <a:schemeClr val="tx1"/>
            </a:solidFill>
            <a:ln w="54372" cap="flat">
              <a:noFill/>
              <a:prstDash val="solid"/>
              <a:miter/>
            </a:ln>
          </p:spPr>
          <p:txBody>
            <a:bodyPr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DA28CAB2-25E1-D636-7AEC-0255403D32D5}"/>
              </a:ext>
              <a:ext uri="{C183D7F6-B498-43B3-948B-1728B52AA6E4}">
                <adec:decorative xmlns:adec="http://schemas.microsoft.com/office/drawing/2017/decorative" val="1"/>
              </a:ext>
            </a:extLst>
          </p:cNvPr>
          <p:cNvGrpSpPr/>
          <p:nvPr/>
        </p:nvGrpSpPr>
        <p:grpSpPr>
          <a:xfrm>
            <a:off x="7948573" y="4457611"/>
            <a:ext cx="654710" cy="654710"/>
            <a:chOff x="7948573" y="4316018"/>
            <a:chExt cx="654710" cy="654710"/>
          </a:xfrm>
        </p:grpSpPr>
        <p:sp>
          <p:nvSpPr>
            <p:cNvPr id="169" name="Box">
              <a:extLst>
                <a:ext uri="{FF2B5EF4-FFF2-40B4-BE49-F238E27FC236}">
                  <a16:creationId xmlns:a16="http://schemas.microsoft.com/office/drawing/2014/main" id="{3A26E11D-8581-D549-21A9-DC1B0D61AFEF}"/>
                </a:ext>
                <a:ext uri="{C183D7F6-B498-43B3-948B-1728B52AA6E4}">
                  <adec:decorative xmlns:adec="http://schemas.microsoft.com/office/drawing/2017/decorative" val="1"/>
                </a:ext>
              </a:extLst>
            </p:cNvPr>
            <p:cNvSpPr>
              <a:spLocks noChangeAspect="1"/>
            </p:cNvSpPr>
            <p:nvPr/>
          </p:nvSpPr>
          <p:spPr bwMode="auto">
            <a:xfrm>
              <a:off x="794857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4" name="Graphic 16">
              <a:extLst>
                <a:ext uri="{FF2B5EF4-FFF2-40B4-BE49-F238E27FC236}">
                  <a16:creationId xmlns:a16="http://schemas.microsoft.com/office/drawing/2014/main" id="{58ACF1DB-DF41-8AF8-30EB-33E60C7769D1}"/>
                </a:ext>
              </a:extLst>
            </p:cNvPr>
            <p:cNvSpPr/>
            <p:nvPr/>
          </p:nvSpPr>
          <p:spPr>
            <a:xfrm>
              <a:off x="8111874" y="4479321"/>
              <a:ext cx="328108" cy="328106"/>
            </a:xfrm>
            <a:custGeom>
              <a:avLst/>
              <a:gdLst>
                <a:gd name="csX0" fmla="*/ 179785 w 1118663"/>
                <a:gd name="csY0" fmla="*/ 79905 h 1118663"/>
                <a:gd name="csX1" fmla="*/ 79905 w 1118663"/>
                <a:gd name="csY1" fmla="*/ 179785 h 1118663"/>
                <a:gd name="csX2" fmla="*/ 179785 w 1118663"/>
                <a:gd name="csY2" fmla="*/ 279666 h 1118663"/>
                <a:gd name="csX3" fmla="*/ 279666 w 1118663"/>
                <a:gd name="csY3" fmla="*/ 179785 h 1118663"/>
                <a:gd name="csX4" fmla="*/ 179785 w 1118663"/>
                <a:gd name="csY4" fmla="*/ 79905 h 1118663"/>
                <a:gd name="csX5" fmla="*/ 0 w 1118663"/>
                <a:gd name="csY5" fmla="*/ 179785 h 1118663"/>
                <a:gd name="csX6" fmla="*/ 179785 w 1118663"/>
                <a:gd name="csY6" fmla="*/ 0 h 1118663"/>
                <a:gd name="csX7" fmla="*/ 359571 w 1118663"/>
                <a:gd name="csY7" fmla="*/ 179785 h 1118663"/>
                <a:gd name="csX8" fmla="*/ 332003 w 1118663"/>
                <a:gd name="csY8" fmla="*/ 275501 h 1118663"/>
                <a:gd name="csX9" fmla="*/ 463618 w 1118663"/>
                <a:gd name="csY9" fmla="*/ 407114 h 1118663"/>
                <a:gd name="csX10" fmla="*/ 559332 w 1118663"/>
                <a:gd name="csY10" fmla="*/ 379547 h 1118663"/>
                <a:gd name="csX11" fmla="*/ 655046 w 1118663"/>
                <a:gd name="csY11" fmla="*/ 407114 h 1118663"/>
                <a:gd name="csX12" fmla="*/ 786660 w 1118663"/>
                <a:gd name="csY12" fmla="*/ 275501 h 1118663"/>
                <a:gd name="csX13" fmla="*/ 759093 w 1118663"/>
                <a:gd name="csY13" fmla="*/ 179785 h 1118663"/>
                <a:gd name="csX14" fmla="*/ 938879 w 1118663"/>
                <a:gd name="csY14" fmla="*/ 0 h 1118663"/>
                <a:gd name="csX15" fmla="*/ 1118664 w 1118663"/>
                <a:gd name="csY15" fmla="*/ 179785 h 1118663"/>
                <a:gd name="csX16" fmla="*/ 938879 w 1118663"/>
                <a:gd name="csY16" fmla="*/ 359571 h 1118663"/>
                <a:gd name="csX17" fmla="*/ 843165 w 1118663"/>
                <a:gd name="csY17" fmla="*/ 332003 h 1118663"/>
                <a:gd name="csX18" fmla="*/ 711550 w 1118663"/>
                <a:gd name="csY18" fmla="*/ 463618 h 1118663"/>
                <a:gd name="csX19" fmla="*/ 739117 w 1118663"/>
                <a:gd name="csY19" fmla="*/ 559332 h 1118663"/>
                <a:gd name="csX20" fmla="*/ 711550 w 1118663"/>
                <a:gd name="csY20" fmla="*/ 655046 h 1118663"/>
                <a:gd name="csX21" fmla="*/ 843165 w 1118663"/>
                <a:gd name="csY21" fmla="*/ 786660 h 1118663"/>
                <a:gd name="csX22" fmla="*/ 938879 w 1118663"/>
                <a:gd name="csY22" fmla="*/ 759093 h 1118663"/>
                <a:gd name="csX23" fmla="*/ 1118664 w 1118663"/>
                <a:gd name="csY23" fmla="*/ 938879 h 1118663"/>
                <a:gd name="csX24" fmla="*/ 938879 w 1118663"/>
                <a:gd name="csY24" fmla="*/ 1118664 h 1118663"/>
                <a:gd name="csX25" fmla="*/ 759093 w 1118663"/>
                <a:gd name="csY25" fmla="*/ 938879 h 1118663"/>
                <a:gd name="csX26" fmla="*/ 786660 w 1118663"/>
                <a:gd name="csY26" fmla="*/ 843165 h 1118663"/>
                <a:gd name="csX27" fmla="*/ 655046 w 1118663"/>
                <a:gd name="csY27" fmla="*/ 711550 h 1118663"/>
                <a:gd name="csX28" fmla="*/ 559332 w 1118663"/>
                <a:gd name="csY28" fmla="*/ 739117 h 1118663"/>
                <a:gd name="csX29" fmla="*/ 463618 w 1118663"/>
                <a:gd name="csY29" fmla="*/ 711550 h 1118663"/>
                <a:gd name="csX30" fmla="*/ 332003 w 1118663"/>
                <a:gd name="csY30" fmla="*/ 843165 h 1118663"/>
                <a:gd name="csX31" fmla="*/ 359571 w 1118663"/>
                <a:gd name="csY31" fmla="*/ 938879 h 1118663"/>
                <a:gd name="csX32" fmla="*/ 179785 w 1118663"/>
                <a:gd name="csY32" fmla="*/ 1118664 h 1118663"/>
                <a:gd name="csX33" fmla="*/ 0 w 1118663"/>
                <a:gd name="csY33" fmla="*/ 938879 h 1118663"/>
                <a:gd name="csX34" fmla="*/ 179785 w 1118663"/>
                <a:gd name="csY34" fmla="*/ 759093 h 1118663"/>
                <a:gd name="csX35" fmla="*/ 275501 w 1118663"/>
                <a:gd name="csY35" fmla="*/ 786660 h 1118663"/>
                <a:gd name="csX36" fmla="*/ 407114 w 1118663"/>
                <a:gd name="csY36" fmla="*/ 655046 h 1118663"/>
                <a:gd name="csX37" fmla="*/ 379547 w 1118663"/>
                <a:gd name="csY37" fmla="*/ 559332 h 1118663"/>
                <a:gd name="csX38" fmla="*/ 407114 w 1118663"/>
                <a:gd name="csY38" fmla="*/ 463618 h 1118663"/>
                <a:gd name="csX39" fmla="*/ 275501 w 1118663"/>
                <a:gd name="csY39" fmla="*/ 332003 h 1118663"/>
                <a:gd name="csX40" fmla="*/ 179785 w 1118663"/>
                <a:gd name="csY40" fmla="*/ 359571 h 1118663"/>
                <a:gd name="csX41" fmla="*/ 0 w 1118663"/>
                <a:gd name="csY41" fmla="*/ 179785 h 1118663"/>
                <a:gd name="csX42" fmla="*/ 938879 w 1118663"/>
                <a:gd name="csY42" fmla="*/ 79905 h 1118663"/>
                <a:gd name="csX43" fmla="*/ 838998 w 1118663"/>
                <a:gd name="csY43" fmla="*/ 179785 h 1118663"/>
                <a:gd name="csX44" fmla="*/ 938879 w 1118663"/>
                <a:gd name="csY44" fmla="*/ 279666 h 1118663"/>
                <a:gd name="csX45" fmla="*/ 1038759 w 1118663"/>
                <a:gd name="csY45" fmla="*/ 179785 h 1118663"/>
                <a:gd name="csX46" fmla="*/ 938879 w 1118663"/>
                <a:gd name="csY46" fmla="*/ 79905 h 1118663"/>
                <a:gd name="csX47" fmla="*/ 79905 w 1118663"/>
                <a:gd name="csY47" fmla="*/ 938879 h 1118663"/>
                <a:gd name="csX48" fmla="*/ 179785 w 1118663"/>
                <a:gd name="csY48" fmla="*/ 1038759 h 1118663"/>
                <a:gd name="csX49" fmla="*/ 279666 w 1118663"/>
                <a:gd name="csY49" fmla="*/ 938879 h 1118663"/>
                <a:gd name="csX50" fmla="*/ 179785 w 1118663"/>
                <a:gd name="csY50" fmla="*/ 838998 h 1118663"/>
                <a:gd name="csX51" fmla="*/ 79905 w 1118663"/>
                <a:gd name="csY51" fmla="*/ 938879 h 1118663"/>
                <a:gd name="csX52" fmla="*/ 559332 w 1118663"/>
                <a:gd name="csY52" fmla="*/ 459451 h 1118663"/>
                <a:gd name="csX53" fmla="*/ 459451 w 1118663"/>
                <a:gd name="csY53" fmla="*/ 559332 h 1118663"/>
                <a:gd name="csX54" fmla="*/ 559332 w 1118663"/>
                <a:gd name="csY54" fmla="*/ 659213 h 1118663"/>
                <a:gd name="csX55" fmla="*/ 659213 w 1118663"/>
                <a:gd name="csY55" fmla="*/ 559332 h 1118663"/>
                <a:gd name="csX56" fmla="*/ 559332 w 1118663"/>
                <a:gd name="csY56" fmla="*/ 459451 h 1118663"/>
                <a:gd name="csX57" fmla="*/ 838998 w 1118663"/>
                <a:gd name="csY57" fmla="*/ 938879 h 1118663"/>
                <a:gd name="csX58" fmla="*/ 938879 w 1118663"/>
                <a:gd name="csY58" fmla="*/ 1038759 h 1118663"/>
                <a:gd name="csX59" fmla="*/ 1038759 w 1118663"/>
                <a:gd name="csY59" fmla="*/ 938879 h 1118663"/>
                <a:gd name="csX60" fmla="*/ 938879 w 1118663"/>
                <a:gd name="csY60" fmla="*/ 838998 h 1118663"/>
                <a:gd name="csX61" fmla="*/ 838998 w 1118663"/>
                <a:gd name="csY61" fmla="*/ 938879 h 111866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Lst>
              <a:rect l="l" t="t" r="r" b="b"/>
              <a:pathLst>
                <a:path w="1118663" h="1118663">
                  <a:moveTo>
                    <a:pt x="179785" y="79905"/>
                  </a:moveTo>
                  <a:cubicBezTo>
                    <a:pt x="124623" y="79905"/>
                    <a:pt x="79905" y="124623"/>
                    <a:pt x="79905" y="179785"/>
                  </a:cubicBezTo>
                  <a:cubicBezTo>
                    <a:pt x="79905" y="234948"/>
                    <a:pt x="124623" y="279666"/>
                    <a:pt x="179785" y="279666"/>
                  </a:cubicBezTo>
                  <a:cubicBezTo>
                    <a:pt x="234948" y="279666"/>
                    <a:pt x="279666" y="234948"/>
                    <a:pt x="279666" y="179785"/>
                  </a:cubicBezTo>
                  <a:cubicBezTo>
                    <a:pt x="279666" y="124623"/>
                    <a:pt x="234948" y="79905"/>
                    <a:pt x="179785" y="79905"/>
                  </a:cubicBezTo>
                  <a:close/>
                  <a:moveTo>
                    <a:pt x="0" y="179785"/>
                  </a:moveTo>
                  <a:cubicBezTo>
                    <a:pt x="0" y="80493"/>
                    <a:pt x="80493" y="0"/>
                    <a:pt x="179785" y="0"/>
                  </a:cubicBezTo>
                  <a:cubicBezTo>
                    <a:pt x="279078" y="0"/>
                    <a:pt x="359571" y="80493"/>
                    <a:pt x="359571" y="179785"/>
                  </a:cubicBezTo>
                  <a:cubicBezTo>
                    <a:pt x="359571" y="214965"/>
                    <a:pt x="349467" y="247784"/>
                    <a:pt x="332003" y="275501"/>
                  </a:cubicBezTo>
                  <a:lnTo>
                    <a:pt x="463618" y="407114"/>
                  </a:lnTo>
                  <a:cubicBezTo>
                    <a:pt x="491333" y="389651"/>
                    <a:pt x="524154" y="379547"/>
                    <a:pt x="559332" y="379547"/>
                  </a:cubicBezTo>
                  <a:cubicBezTo>
                    <a:pt x="594510" y="379547"/>
                    <a:pt x="627331" y="389651"/>
                    <a:pt x="655046" y="407114"/>
                  </a:cubicBezTo>
                  <a:lnTo>
                    <a:pt x="786660" y="275501"/>
                  </a:lnTo>
                  <a:cubicBezTo>
                    <a:pt x="769197" y="247784"/>
                    <a:pt x="759093" y="214965"/>
                    <a:pt x="759093" y="179785"/>
                  </a:cubicBezTo>
                  <a:cubicBezTo>
                    <a:pt x="759093" y="80493"/>
                    <a:pt x="839585" y="0"/>
                    <a:pt x="938879" y="0"/>
                  </a:cubicBezTo>
                  <a:cubicBezTo>
                    <a:pt x="1038172" y="0"/>
                    <a:pt x="1118664" y="80493"/>
                    <a:pt x="1118664" y="179785"/>
                  </a:cubicBezTo>
                  <a:cubicBezTo>
                    <a:pt x="1118664" y="279078"/>
                    <a:pt x="1038172" y="359571"/>
                    <a:pt x="938879" y="359571"/>
                  </a:cubicBezTo>
                  <a:cubicBezTo>
                    <a:pt x="903701" y="359571"/>
                    <a:pt x="870880" y="349467"/>
                    <a:pt x="843165" y="332003"/>
                  </a:cubicBezTo>
                  <a:lnTo>
                    <a:pt x="711550" y="463618"/>
                  </a:lnTo>
                  <a:cubicBezTo>
                    <a:pt x="729013" y="491333"/>
                    <a:pt x="739117" y="524154"/>
                    <a:pt x="739117" y="559332"/>
                  </a:cubicBezTo>
                  <a:cubicBezTo>
                    <a:pt x="739117" y="594510"/>
                    <a:pt x="729013" y="627331"/>
                    <a:pt x="711550" y="655046"/>
                  </a:cubicBezTo>
                  <a:lnTo>
                    <a:pt x="843165" y="786660"/>
                  </a:lnTo>
                  <a:cubicBezTo>
                    <a:pt x="870880" y="769197"/>
                    <a:pt x="903701" y="759093"/>
                    <a:pt x="938879" y="759093"/>
                  </a:cubicBezTo>
                  <a:cubicBezTo>
                    <a:pt x="1038172" y="759093"/>
                    <a:pt x="1118664" y="839585"/>
                    <a:pt x="1118664" y="938879"/>
                  </a:cubicBezTo>
                  <a:cubicBezTo>
                    <a:pt x="1118664" y="1038172"/>
                    <a:pt x="1038172" y="1118664"/>
                    <a:pt x="938879" y="1118664"/>
                  </a:cubicBezTo>
                  <a:cubicBezTo>
                    <a:pt x="839585" y="1118664"/>
                    <a:pt x="759093" y="1038172"/>
                    <a:pt x="759093" y="938879"/>
                  </a:cubicBezTo>
                  <a:cubicBezTo>
                    <a:pt x="759093" y="903701"/>
                    <a:pt x="769197" y="870880"/>
                    <a:pt x="786660" y="843165"/>
                  </a:cubicBezTo>
                  <a:lnTo>
                    <a:pt x="655046" y="711550"/>
                  </a:lnTo>
                  <a:cubicBezTo>
                    <a:pt x="627331" y="729013"/>
                    <a:pt x="594510" y="739117"/>
                    <a:pt x="559332" y="739117"/>
                  </a:cubicBezTo>
                  <a:cubicBezTo>
                    <a:pt x="524154" y="739117"/>
                    <a:pt x="491333" y="729013"/>
                    <a:pt x="463618" y="711550"/>
                  </a:cubicBezTo>
                  <a:lnTo>
                    <a:pt x="332003" y="843165"/>
                  </a:lnTo>
                  <a:cubicBezTo>
                    <a:pt x="349467" y="870880"/>
                    <a:pt x="359571" y="903701"/>
                    <a:pt x="359571" y="938879"/>
                  </a:cubicBezTo>
                  <a:cubicBezTo>
                    <a:pt x="359571" y="1038172"/>
                    <a:pt x="279078" y="1118664"/>
                    <a:pt x="179785" y="1118664"/>
                  </a:cubicBezTo>
                  <a:cubicBezTo>
                    <a:pt x="80493" y="1118664"/>
                    <a:pt x="0" y="1038172"/>
                    <a:pt x="0" y="938879"/>
                  </a:cubicBezTo>
                  <a:cubicBezTo>
                    <a:pt x="0" y="839585"/>
                    <a:pt x="80493" y="759093"/>
                    <a:pt x="179785" y="759093"/>
                  </a:cubicBezTo>
                  <a:cubicBezTo>
                    <a:pt x="214965" y="759093"/>
                    <a:pt x="247784" y="769197"/>
                    <a:pt x="275501" y="786660"/>
                  </a:cubicBezTo>
                  <a:lnTo>
                    <a:pt x="407114" y="655046"/>
                  </a:lnTo>
                  <a:cubicBezTo>
                    <a:pt x="389651" y="627331"/>
                    <a:pt x="379547" y="594510"/>
                    <a:pt x="379547" y="559332"/>
                  </a:cubicBezTo>
                  <a:cubicBezTo>
                    <a:pt x="379547" y="524154"/>
                    <a:pt x="389651" y="491333"/>
                    <a:pt x="407114" y="463618"/>
                  </a:cubicBezTo>
                  <a:lnTo>
                    <a:pt x="275501" y="332003"/>
                  </a:lnTo>
                  <a:cubicBezTo>
                    <a:pt x="247784" y="349467"/>
                    <a:pt x="214965" y="359571"/>
                    <a:pt x="179785" y="359571"/>
                  </a:cubicBezTo>
                  <a:cubicBezTo>
                    <a:pt x="80493" y="359571"/>
                    <a:pt x="0" y="279078"/>
                    <a:pt x="0" y="179785"/>
                  </a:cubicBezTo>
                  <a:close/>
                  <a:moveTo>
                    <a:pt x="938879" y="79905"/>
                  </a:moveTo>
                  <a:cubicBezTo>
                    <a:pt x="883717" y="79905"/>
                    <a:pt x="838998" y="124623"/>
                    <a:pt x="838998" y="179785"/>
                  </a:cubicBezTo>
                  <a:cubicBezTo>
                    <a:pt x="838998" y="234948"/>
                    <a:pt x="883717" y="279666"/>
                    <a:pt x="938879" y="279666"/>
                  </a:cubicBezTo>
                  <a:cubicBezTo>
                    <a:pt x="994041" y="279666"/>
                    <a:pt x="1038759" y="234948"/>
                    <a:pt x="1038759" y="179785"/>
                  </a:cubicBezTo>
                  <a:cubicBezTo>
                    <a:pt x="1038759" y="124623"/>
                    <a:pt x="994041" y="79905"/>
                    <a:pt x="938879" y="79905"/>
                  </a:cubicBezTo>
                  <a:close/>
                  <a:moveTo>
                    <a:pt x="79905" y="938879"/>
                  </a:moveTo>
                  <a:cubicBezTo>
                    <a:pt x="79905" y="994041"/>
                    <a:pt x="124623" y="1038759"/>
                    <a:pt x="179785" y="1038759"/>
                  </a:cubicBezTo>
                  <a:cubicBezTo>
                    <a:pt x="234948" y="1038759"/>
                    <a:pt x="279666" y="994041"/>
                    <a:pt x="279666" y="938879"/>
                  </a:cubicBezTo>
                  <a:cubicBezTo>
                    <a:pt x="279666" y="883717"/>
                    <a:pt x="234948" y="838998"/>
                    <a:pt x="179785" y="838998"/>
                  </a:cubicBezTo>
                  <a:cubicBezTo>
                    <a:pt x="124623" y="838998"/>
                    <a:pt x="79905" y="883717"/>
                    <a:pt x="79905" y="938879"/>
                  </a:cubicBezTo>
                  <a:close/>
                  <a:moveTo>
                    <a:pt x="559332" y="459451"/>
                  </a:moveTo>
                  <a:cubicBezTo>
                    <a:pt x="504170" y="459451"/>
                    <a:pt x="459451" y="504170"/>
                    <a:pt x="459451" y="559332"/>
                  </a:cubicBezTo>
                  <a:cubicBezTo>
                    <a:pt x="459451" y="614494"/>
                    <a:pt x="504170" y="659213"/>
                    <a:pt x="559332" y="659213"/>
                  </a:cubicBezTo>
                  <a:cubicBezTo>
                    <a:pt x="614494" y="659213"/>
                    <a:pt x="659213" y="614494"/>
                    <a:pt x="659213" y="559332"/>
                  </a:cubicBezTo>
                  <a:cubicBezTo>
                    <a:pt x="659213" y="504170"/>
                    <a:pt x="614494" y="459451"/>
                    <a:pt x="559332" y="459451"/>
                  </a:cubicBezTo>
                  <a:close/>
                  <a:moveTo>
                    <a:pt x="838998" y="938879"/>
                  </a:moveTo>
                  <a:cubicBezTo>
                    <a:pt x="838998" y="994041"/>
                    <a:pt x="883717" y="1038759"/>
                    <a:pt x="938879" y="1038759"/>
                  </a:cubicBezTo>
                  <a:cubicBezTo>
                    <a:pt x="994041" y="1038759"/>
                    <a:pt x="1038759" y="994041"/>
                    <a:pt x="1038759" y="938879"/>
                  </a:cubicBezTo>
                  <a:cubicBezTo>
                    <a:pt x="1038759" y="883717"/>
                    <a:pt x="994041" y="838998"/>
                    <a:pt x="938879" y="838998"/>
                  </a:cubicBezTo>
                  <a:cubicBezTo>
                    <a:pt x="883717" y="838998"/>
                    <a:pt x="838998" y="883717"/>
                    <a:pt x="838998" y="938879"/>
                  </a:cubicBezTo>
                  <a:close/>
                </a:path>
              </a:pathLst>
            </a:custGeom>
            <a:solidFill>
              <a:schemeClr val="tx1"/>
            </a:solidFill>
            <a:ln w="39886"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AE37A455-BCBB-E6D8-1E76-0162DF76F3F1}"/>
              </a:ext>
              <a:ext uri="{C183D7F6-B498-43B3-948B-1728B52AA6E4}">
                <adec:decorative xmlns:adec="http://schemas.microsoft.com/office/drawing/2017/decorative" val="1"/>
              </a:ext>
            </a:extLst>
          </p:cNvPr>
          <p:cNvGrpSpPr/>
          <p:nvPr/>
        </p:nvGrpSpPr>
        <p:grpSpPr>
          <a:xfrm>
            <a:off x="5768643" y="4457611"/>
            <a:ext cx="654710" cy="654710"/>
            <a:chOff x="5768643" y="4316018"/>
            <a:chExt cx="654710" cy="654710"/>
          </a:xfrm>
        </p:grpSpPr>
        <p:sp>
          <p:nvSpPr>
            <p:cNvPr id="168" name="Box">
              <a:extLst>
                <a:ext uri="{FF2B5EF4-FFF2-40B4-BE49-F238E27FC236}">
                  <a16:creationId xmlns:a16="http://schemas.microsoft.com/office/drawing/2014/main" id="{A27919AE-EC2D-9470-1114-F6134021D139}"/>
                </a:ext>
                <a:ext uri="{C183D7F6-B498-43B3-948B-1728B52AA6E4}">
                  <adec:decorative xmlns:adec="http://schemas.microsoft.com/office/drawing/2017/decorative" val="1"/>
                </a:ext>
              </a:extLst>
            </p:cNvPr>
            <p:cNvSpPr>
              <a:spLocks noChangeAspect="1"/>
            </p:cNvSpPr>
            <p:nvPr/>
          </p:nvSpPr>
          <p:spPr bwMode="auto">
            <a:xfrm>
              <a:off x="576864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5" name="Graphic 23">
              <a:extLst>
                <a:ext uri="{FF2B5EF4-FFF2-40B4-BE49-F238E27FC236}">
                  <a16:creationId xmlns:a16="http://schemas.microsoft.com/office/drawing/2014/main" id="{5CBBC3F7-5EA4-F984-77C8-EB617C879BFA}"/>
                </a:ext>
              </a:extLst>
            </p:cNvPr>
            <p:cNvSpPr/>
            <p:nvPr/>
          </p:nvSpPr>
          <p:spPr>
            <a:xfrm>
              <a:off x="5918190" y="4456447"/>
              <a:ext cx="355616" cy="373852"/>
            </a:xfrm>
            <a:custGeom>
              <a:avLst/>
              <a:gdLst>
                <a:gd name="csX0" fmla="*/ 656957 w 1075017"/>
                <a:gd name="csY0" fmla="*/ 333865 h 1130146"/>
                <a:gd name="csX1" fmla="*/ 644752 w 1075017"/>
                <a:gd name="csY1" fmla="*/ 319983 h 1130146"/>
                <a:gd name="csX2" fmla="*/ 586808 w 1075017"/>
                <a:gd name="csY2" fmla="*/ 284119 h 1130146"/>
                <a:gd name="csX3" fmla="*/ 515071 w 1075017"/>
                <a:gd name="csY3" fmla="*/ 260821 h 1130146"/>
                <a:gd name="csX4" fmla="*/ 501366 w 1075017"/>
                <a:gd name="csY4" fmla="*/ 250474 h 1130146"/>
                <a:gd name="csX5" fmla="*/ 496162 w 1075017"/>
                <a:gd name="csY5" fmla="*/ 234120 h 1130146"/>
                <a:gd name="csX6" fmla="*/ 501366 w 1075017"/>
                <a:gd name="csY6" fmla="*/ 217764 h 1130146"/>
                <a:gd name="csX7" fmla="*/ 515071 w 1075017"/>
                <a:gd name="csY7" fmla="*/ 207418 h 1130146"/>
                <a:gd name="csX8" fmla="*/ 586808 w 1075017"/>
                <a:gd name="csY8" fmla="*/ 184121 h 1130146"/>
                <a:gd name="csX9" fmla="*/ 643875 w 1075017"/>
                <a:gd name="csY9" fmla="*/ 148148 h 1130146"/>
                <a:gd name="csX10" fmla="*/ 678394 w 1075017"/>
                <a:gd name="csY10" fmla="*/ 92351 h 1130146"/>
                <a:gd name="csX11" fmla="*/ 678990 w 1075017"/>
                <a:gd name="csY11" fmla="*/ 90577 h 1130146"/>
                <a:gd name="csX12" fmla="*/ 702304 w 1075017"/>
                <a:gd name="csY12" fmla="*/ 18895 h 1130146"/>
                <a:gd name="csX13" fmla="*/ 712660 w 1075017"/>
                <a:gd name="csY13" fmla="*/ 5201 h 1130146"/>
                <a:gd name="csX14" fmla="*/ 729028 w 1075017"/>
                <a:gd name="csY14" fmla="*/ 0 h 1130146"/>
                <a:gd name="csX15" fmla="*/ 745393 w 1075017"/>
                <a:gd name="csY15" fmla="*/ 5201 h 1130146"/>
                <a:gd name="csX16" fmla="*/ 755749 w 1075017"/>
                <a:gd name="csY16" fmla="*/ 18895 h 1130146"/>
                <a:gd name="csX17" fmla="*/ 779063 w 1075017"/>
                <a:gd name="csY17" fmla="*/ 90577 h 1130146"/>
                <a:gd name="csX18" fmla="*/ 814800 w 1075017"/>
                <a:gd name="csY18" fmla="*/ 148411 h 1130146"/>
                <a:gd name="csX19" fmla="*/ 872680 w 1075017"/>
                <a:gd name="csY19" fmla="*/ 184121 h 1130146"/>
                <a:gd name="csX20" fmla="*/ 944417 w 1075017"/>
                <a:gd name="csY20" fmla="*/ 207418 h 1130146"/>
                <a:gd name="csX21" fmla="*/ 945850 w 1075017"/>
                <a:gd name="csY21" fmla="*/ 207776 h 1130146"/>
                <a:gd name="csX22" fmla="*/ 959556 w 1075017"/>
                <a:gd name="csY22" fmla="*/ 218123 h 1130146"/>
                <a:gd name="csX23" fmla="*/ 964760 w 1075017"/>
                <a:gd name="csY23" fmla="*/ 234478 h 1130146"/>
                <a:gd name="csX24" fmla="*/ 959556 w 1075017"/>
                <a:gd name="csY24" fmla="*/ 250832 h 1130146"/>
                <a:gd name="csX25" fmla="*/ 945850 w 1075017"/>
                <a:gd name="csY25" fmla="*/ 261180 h 1130146"/>
                <a:gd name="csX26" fmla="*/ 874114 w 1075017"/>
                <a:gd name="csY26" fmla="*/ 284477 h 1130146"/>
                <a:gd name="csX27" fmla="*/ 816236 w 1075017"/>
                <a:gd name="csY27" fmla="*/ 320187 h 1130146"/>
                <a:gd name="csX28" fmla="*/ 780496 w 1075017"/>
                <a:gd name="csY28" fmla="*/ 378020 h 1130146"/>
                <a:gd name="csX29" fmla="*/ 757182 w 1075017"/>
                <a:gd name="csY29" fmla="*/ 449702 h 1130146"/>
                <a:gd name="csX30" fmla="*/ 756493 w 1075017"/>
                <a:gd name="csY30" fmla="*/ 451463 h 1130146"/>
                <a:gd name="csX31" fmla="*/ 746829 w 1075017"/>
                <a:gd name="csY31" fmla="*/ 463396 h 1130146"/>
                <a:gd name="csX32" fmla="*/ 730461 w 1075017"/>
                <a:gd name="csY32" fmla="*/ 468598 h 1130146"/>
                <a:gd name="csX33" fmla="*/ 714093 w 1075017"/>
                <a:gd name="csY33" fmla="*/ 463396 h 1130146"/>
                <a:gd name="csX34" fmla="*/ 703740 w 1075017"/>
                <a:gd name="csY34" fmla="*/ 449702 h 1130146"/>
                <a:gd name="csX35" fmla="*/ 680426 w 1075017"/>
                <a:gd name="csY35" fmla="*/ 378020 h 1130146"/>
                <a:gd name="csX36" fmla="*/ 656957 w 1075017"/>
                <a:gd name="csY36" fmla="*/ 333865 h 1130146"/>
                <a:gd name="csX37" fmla="*/ 1064248 w 1075017"/>
                <a:gd name="csY37" fmla="*/ 523277 h 1130146"/>
                <a:gd name="csX38" fmla="*/ 1026270 w 1075017"/>
                <a:gd name="csY38" fmla="*/ 510945 h 1130146"/>
                <a:gd name="csX39" fmla="*/ 995629 w 1075017"/>
                <a:gd name="csY39" fmla="*/ 492039 h 1130146"/>
                <a:gd name="csX40" fmla="*/ 976709 w 1075017"/>
                <a:gd name="csY40" fmla="*/ 461420 h 1130146"/>
                <a:gd name="csX41" fmla="*/ 964366 w 1075017"/>
                <a:gd name="csY41" fmla="*/ 423472 h 1130146"/>
                <a:gd name="csX42" fmla="*/ 958883 w 1075017"/>
                <a:gd name="csY42" fmla="*/ 416222 h 1130146"/>
                <a:gd name="csX43" fmla="*/ 950217 w 1075017"/>
                <a:gd name="csY43" fmla="*/ 413468 h 1130146"/>
                <a:gd name="csX44" fmla="*/ 941553 w 1075017"/>
                <a:gd name="csY44" fmla="*/ 416222 h 1130146"/>
                <a:gd name="csX45" fmla="*/ 936071 w 1075017"/>
                <a:gd name="csY45" fmla="*/ 423472 h 1130146"/>
                <a:gd name="csX46" fmla="*/ 923727 w 1075017"/>
                <a:gd name="csY46" fmla="*/ 461420 h 1130146"/>
                <a:gd name="csX47" fmla="*/ 905138 w 1075017"/>
                <a:gd name="csY47" fmla="*/ 491901 h 1130146"/>
                <a:gd name="csX48" fmla="*/ 874927 w 1075017"/>
                <a:gd name="csY48" fmla="*/ 510945 h 1130146"/>
                <a:gd name="csX49" fmla="*/ 836948 w 1075017"/>
                <a:gd name="csY49" fmla="*/ 523277 h 1130146"/>
                <a:gd name="csX50" fmla="*/ 829693 w 1075017"/>
                <a:gd name="csY50" fmla="*/ 528754 h 1130146"/>
                <a:gd name="csX51" fmla="*/ 826937 w 1075017"/>
                <a:gd name="csY51" fmla="*/ 537415 h 1130146"/>
                <a:gd name="csX52" fmla="*/ 829693 w 1075017"/>
                <a:gd name="csY52" fmla="*/ 546073 h 1130146"/>
                <a:gd name="csX53" fmla="*/ 836948 w 1075017"/>
                <a:gd name="csY53" fmla="*/ 551550 h 1130146"/>
                <a:gd name="csX54" fmla="*/ 874927 w 1075017"/>
                <a:gd name="csY54" fmla="*/ 563883 h 1130146"/>
                <a:gd name="csX55" fmla="*/ 886992 w 1075017"/>
                <a:gd name="csY55" fmla="*/ 569065 h 1130146"/>
                <a:gd name="csX56" fmla="*/ 887072 w 1075017"/>
                <a:gd name="csY56" fmla="*/ 569484 h 1130146"/>
                <a:gd name="csX57" fmla="*/ 905551 w 1075017"/>
                <a:gd name="csY57" fmla="*/ 583181 h 1130146"/>
                <a:gd name="csX58" fmla="*/ 924482 w 1075017"/>
                <a:gd name="csY58" fmla="*/ 613863 h 1130146"/>
                <a:gd name="csX59" fmla="*/ 936831 w 1075017"/>
                <a:gd name="csY59" fmla="*/ 651819 h 1130146"/>
                <a:gd name="csX60" fmla="*/ 942311 w 1075017"/>
                <a:gd name="csY60" fmla="*/ 659072 h 1130146"/>
                <a:gd name="csX61" fmla="*/ 950972 w 1075017"/>
                <a:gd name="csY61" fmla="*/ 661825 h 1130146"/>
                <a:gd name="csX62" fmla="*/ 959635 w 1075017"/>
                <a:gd name="csY62" fmla="*/ 659072 h 1130146"/>
                <a:gd name="csX63" fmla="*/ 964694 w 1075017"/>
                <a:gd name="csY63" fmla="*/ 652880 h 1130146"/>
                <a:gd name="csX64" fmla="*/ 964688 w 1075017"/>
                <a:gd name="csY64" fmla="*/ 652641 h 1130146"/>
                <a:gd name="csX65" fmla="*/ 965124 w 1075017"/>
                <a:gd name="csY65" fmla="*/ 651546 h 1130146"/>
                <a:gd name="csX66" fmla="*/ 977467 w 1075017"/>
                <a:gd name="csY66" fmla="*/ 613598 h 1130146"/>
                <a:gd name="csX67" fmla="*/ 996387 w 1075017"/>
                <a:gd name="csY67" fmla="*/ 582979 h 1130146"/>
                <a:gd name="csX68" fmla="*/ 1027028 w 1075017"/>
                <a:gd name="csY68" fmla="*/ 564073 h 1130146"/>
                <a:gd name="csX69" fmla="*/ 1065007 w 1075017"/>
                <a:gd name="csY69" fmla="*/ 551741 h 1130146"/>
                <a:gd name="csX70" fmla="*/ 1072262 w 1075017"/>
                <a:gd name="csY70" fmla="*/ 546264 h 1130146"/>
                <a:gd name="csX71" fmla="*/ 1075018 w 1075017"/>
                <a:gd name="csY71" fmla="*/ 537603 h 1130146"/>
                <a:gd name="csX72" fmla="*/ 1072262 w 1075017"/>
                <a:gd name="csY72" fmla="*/ 528945 h 1130146"/>
                <a:gd name="csX73" fmla="*/ 1065007 w 1075017"/>
                <a:gd name="csY73" fmla="*/ 523468 h 1130146"/>
                <a:gd name="csX74" fmla="*/ 1064248 w 1075017"/>
                <a:gd name="csY74" fmla="*/ 523277 h 1130146"/>
                <a:gd name="csX75" fmla="*/ 385904 w 1075017"/>
                <a:gd name="csY75" fmla="*/ 137823 h 1130146"/>
                <a:gd name="csX76" fmla="*/ 500316 w 1075017"/>
                <a:gd name="csY76" fmla="*/ 155066 h 1130146"/>
                <a:gd name="csX77" fmla="*/ 498188 w 1075017"/>
                <a:gd name="csY77" fmla="*/ 155752 h 1130146"/>
                <a:gd name="csX78" fmla="*/ 456566 w 1075017"/>
                <a:gd name="csY78" fmla="*/ 186625 h 1130146"/>
                <a:gd name="csX79" fmla="*/ 444233 w 1075017"/>
                <a:gd name="csY79" fmla="*/ 212089 h 1130146"/>
                <a:gd name="csX80" fmla="*/ 385904 w 1075017"/>
                <a:gd name="csY80" fmla="*/ 206734 h 1130146"/>
                <a:gd name="csX81" fmla="*/ 68911 w 1075017"/>
                <a:gd name="csY81" fmla="*/ 523727 h 1130146"/>
                <a:gd name="csX82" fmla="*/ 385904 w 1075017"/>
                <a:gd name="csY82" fmla="*/ 840719 h 1130146"/>
                <a:gd name="csX83" fmla="*/ 702896 w 1075017"/>
                <a:gd name="csY83" fmla="*/ 523727 h 1130146"/>
                <a:gd name="csX84" fmla="*/ 702847 w 1075017"/>
                <a:gd name="csY84" fmla="*/ 518054 h 1130146"/>
                <a:gd name="csX85" fmla="*/ 730971 w 1075017"/>
                <a:gd name="csY85" fmla="*/ 522985 h 1130146"/>
                <a:gd name="csX86" fmla="*/ 771642 w 1075017"/>
                <a:gd name="csY86" fmla="*/ 512293 h 1130146"/>
                <a:gd name="csX87" fmla="*/ 771808 w 1075017"/>
                <a:gd name="csY87" fmla="*/ 523727 h 1130146"/>
                <a:gd name="csX88" fmla="*/ 682060 w 1075017"/>
                <a:gd name="csY88" fmla="*/ 771154 h 1130146"/>
                <a:gd name="csX89" fmla="*/ 982233 w 1075017"/>
                <a:gd name="csY89" fmla="*/ 1071327 h 1130146"/>
                <a:gd name="csX90" fmla="*/ 982233 w 1075017"/>
                <a:gd name="csY90" fmla="*/ 1120056 h 1130146"/>
                <a:gd name="csX91" fmla="*/ 933507 w 1075017"/>
                <a:gd name="csY91" fmla="*/ 1120056 h 1130146"/>
                <a:gd name="csX92" fmla="*/ 633332 w 1075017"/>
                <a:gd name="csY92" fmla="*/ 819883 h 1130146"/>
                <a:gd name="csX93" fmla="*/ 385904 w 1075017"/>
                <a:gd name="csY93" fmla="*/ 909631 h 1130146"/>
                <a:gd name="csX94" fmla="*/ 0 w 1075017"/>
                <a:gd name="csY94" fmla="*/ 523727 h 1130146"/>
                <a:gd name="csX95" fmla="*/ 385904 w 1075017"/>
                <a:gd name="csY95" fmla="*/ 137823 h 113014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Lst>
              <a:rect l="l" t="t" r="r" b="b"/>
              <a:pathLst>
                <a:path w="1075017" h="1130146">
                  <a:moveTo>
                    <a:pt x="656957" y="333865"/>
                  </a:moveTo>
                  <a:cubicBezTo>
                    <a:pt x="653192" y="329000"/>
                    <a:pt x="649118" y="324363"/>
                    <a:pt x="644752" y="319983"/>
                  </a:cubicBezTo>
                  <a:cubicBezTo>
                    <a:pt x="628500" y="303679"/>
                    <a:pt x="608656" y="291399"/>
                    <a:pt x="586808" y="284119"/>
                  </a:cubicBezTo>
                  <a:lnTo>
                    <a:pt x="515071" y="260821"/>
                  </a:lnTo>
                  <a:cubicBezTo>
                    <a:pt x="509542" y="258873"/>
                    <a:pt x="504754" y="255256"/>
                    <a:pt x="501366" y="250474"/>
                  </a:cubicBezTo>
                  <a:cubicBezTo>
                    <a:pt x="497981" y="245693"/>
                    <a:pt x="496162" y="239978"/>
                    <a:pt x="496162" y="234120"/>
                  </a:cubicBezTo>
                  <a:cubicBezTo>
                    <a:pt x="496162" y="228261"/>
                    <a:pt x="497981" y="222547"/>
                    <a:pt x="501366" y="217764"/>
                  </a:cubicBezTo>
                  <a:cubicBezTo>
                    <a:pt x="504754" y="212982"/>
                    <a:pt x="509542" y="209367"/>
                    <a:pt x="515071" y="207418"/>
                  </a:cubicBezTo>
                  <a:lnTo>
                    <a:pt x="586808" y="184121"/>
                  </a:lnTo>
                  <a:cubicBezTo>
                    <a:pt x="608353" y="176688"/>
                    <a:pt x="627882" y="164376"/>
                    <a:pt x="643875" y="148148"/>
                  </a:cubicBezTo>
                  <a:cubicBezTo>
                    <a:pt x="659427" y="132365"/>
                    <a:pt x="671222" y="113294"/>
                    <a:pt x="678394" y="92351"/>
                  </a:cubicBezTo>
                  <a:lnTo>
                    <a:pt x="678990" y="90577"/>
                  </a:lnTo>
                  <a:lnTo>
                    <a:pt x="702304" y="18895"/>
                  </a:lnTo>
                  <a:cubicBezTo>
                    <a:pt x="704255" y="13370"/>
                    <a:pt x="707872" y="8586"/>
                    <a:pt x="712660" y="5201"/>
                  </a:cubicBezTo>
                  <a:cubicBezTo>
                    <a:pt x="717445" y="1817"/>
                    <a:pt x="723162" y="0"/>
                    <a:pt x="729028" y="0"/>
                  </a:cubicBezTo>
                  <a:cubicBezTo>
                    <a:pt x="734891" y="0"/>
                    <a:pt x="740607" y="1817"/>
                    <a:pt x="745393" y="5201"/>
                  </a:cubicBezTo>
                  <a:cubicBezTo>
                    <a:pt x="750181" y="8586"/>
                    <a:pt x="753797" y="13370"/>
                    <a:pt x="755749" y="18895"/>
                  </a:cubicBezTo>
                  <a:lnTo>
                    <a:pt x="779063" y="90577"/>
                  </a:lnTo>
                  <a:cubicBezTo>
                    <a:pt x="786312" y="112369"/>
                    <a:pt x="798548" y="132172"/>
                    <a:pt x="814800" y="148411"/>
                  </a:cubicBezTo>
                  <a:cubicBezTo>
                    <a:pt x="831052" y="164650"/>
                    <a:pt x="850868" y="176877"/>
                    <a:pt x="872680" y="184121"/>
                  </a:cubicBezTo>
                  <a:lnTo>
                    <a:pt x="944417" y="207418"/>
                  </a:lnTo>
                  <a:lnTo>
                    <a:pt x="945850" y="207776"/>
                  </a:lnTo>
                  <a:cubicBezTo>
                    <a:pt x="951380" y="209726"/>
                    <a:pt x="956168" y="213340"/>
                    <a:pt x="959556" y="218123"/>
                  </a:cubicBezTo>
                  <a:cubicBezTo>
                    <a:pt x="962940" y="222905"/>
                    <a:pt x="964760" y="228619"/>
                    <a:pt x="964760" y="234478"/>
                  </a:cubicBezTo>
                  <a:cubicBezTo>
                    <a:pt x="964760" y="240337"/>
                    <a:pt x="962940" y="246051"/>
                    <a:pt x="959556" y="250832"/>
                  </a:cubicBezTo>
                  <a:cubicBezTo>
                    <a:pt x="956168" y="255614"/>
                    <a:pt x="951380" y="259231"/>
                    <a:pt x="945850" y="261180"/>
                  </a:cubicBezTo>
                  <a:lnTo>
                    <a:pt x="874114" y="284477"/>
                  </a:lnTo>
                  <a:cubicBezTo>
                    <a:pt x="852305" y="291721"/>
                    <a:pt x="832486" y="303949"/>
                    <a:pt x="816236" y="320187"/>
                  </a:cubicBezTo>
                  <a:cubicBezTo>
                    <a:pt x="799984" y="336425"/>
                    <a:pt x="787748" y="356228"/>
                    <a:pt x="780496" y="378020"/>
                  </a:cubicBezTo>
                  <a:lnTo>
                    <a:pt x="757182" y="449702"/>
                  </a:lnTo>
                  <a:cubicBezTo>
                    <a:pt x="756973" y="450300"/>
                    <a:pt x="756744" y="450887"/>
                    <a:pt x="756493" y="451463"/>
                  </a:cubicBezTo>
                  <a:cubicBezTo>
                    <a:pt x="754439" y="456243"/>
                    <a:pt x="751099" y="460378"/>
                    <a:pt x="746829" y="463396"/>
                  </a:cubicBezTo>
                  <a:cubicBezTo>
                    <a:pt x="742044" y="466781"/>
                    <a:pt x="736324" y="468598"/>
                    <a:pt x="730461" y="468598"/>
                  </a:cubicBezTo>
                  <a:cubicBezTo>
                    <a:pt x="724598" y="468598"/>
                    <a:pt x="718878" y="466781"/>
                    <a:pt x="714093" y="463396"/>
                  </a:cubicBezTo>
                  <a:cubicBezTo>
                    <a:pt x="709308" y="460011"/>
                    <a:pt x="705689" y="455229"/>
                    <a:pt x="703740" y="449702"/>
                  </a:cubicBezTo>
                  <a:lnTo>
                    <a:pt x="680426" y="378020"/>
                  </a:lnTo>
                  <a:cubicBezTo>
                    <a:pt x="675158" y="362033"/>
                    <a:pt x="667209" y="347107"/>
                    <a:pt x="656957" y="333865"/>
                  </a:cubicBezTo>
                  <a:close/>
                  <a:moveTo>
                    <a:pt x="1064248" y="523277"/>
                  </a:moveTo>
                  <a:lnTo>
                    <a:pt x="1026270" y="510945"/>
                  </a:lnTo>
                  <a:cubicBezTo>
                    <a:pt x="1014723" y="507108"/>
                    <a:pt x="1004232" y="500636"/>
                    <a:pt x="995629" y="492039"/>
                  </a:cubicBezTo>
                  <a:cubicBezTo>
                    <a:pt x="987024" y="483441"/>
                    <a:pt x="980546" y="472958"/>
                    <a:pt x="976709" y="461420"/>
                  </a:cubicBezTo>
                  <a:lnTo>
                    <a:pt x="964366" y="423472"/>
                  </a:lnTo>
                  <a:cubicBezTo>
                    <a:pt x="963332" y="420547"/>
                    <a:pt x="961416" y="418014"/>
                    <a:pt x="958883" y="416222"/>
                  </a:cubicBezTo>
                  <a:cubicBezTo>
                    <a:pt x="956350" y="414430"/>
                    <a:pt x="953323" y="413468"/>
                    <a:pt x="950217" y="413468"/>
                  </a:cubicBezTo>
                  <a:cubicBezTo>
                    <a:pt x="947113" y="413468"/>
                    <a:pt x="944086" y="414430"/>
                    <a:pt x="941553" y="416222"/>
                  </a:cubicBezTo>
                  <a:cubicBezTo>
                    <a:pt x="939020" y="418014"/>
                    <a:pt x="937104" y="420547"/>
                    <a:pt x="936071" y="423472"/>
                  </a:cubicBezTo>
                  <a:lnTo>
                    <a:pt x="923727" y="461420"/>
                  </a:lnTo>
                  <a:cubicBezTo>
                    <a:pt x="919967" y="472878"/>
                    <a:pt x="913603" y="483309"/>
                    <a:pt x="905138" y="491901"/>
                  </a:cubicBezTo>
                  <a:cubicBezTo>
                    <a:pt x="896672" y="500493"/>
                    <a:pt x="886330" y="507009"/>
                    <a:pt x="874927" y="510945"/>
                  </a:cubicBezTo>
                  <a:lnTo>
                    <a:pt x="836948" y="523277"/>
                  </a:lnTo>
                  <a:cubicBezTo>
                    <a:pt x="834021" y="524311"/>
                    <a:pt x="831485" y="526224"/>
                    <a:pt x="829693" y="528754"/>
                  </a:cubicBezTo>
                  <a:cubicBezTo>
                    <a:pt x="827899" y="531288"/>
                    <a:pt x="826937" y="534312"/>
                    <a:pt x="826937" y="537415"/>
                  </a:cubicBezTo>
                  <a:cubicBezTo>
                    <a:pt x="826937" y="540516"/>
                    <a:pt x="827899" y="543540"/>
                    <a:pt x="829693" y="546073"/>
                  </a:cubicBezTo>
                  <a:cubicBezTo>
                    <a:pt x="831485" y="548604"/>
                    <a:pt x="834021" y="550519"/>
                    <a:pt x="836948" y="551550"/>
                  </a:cubicBezTo>
                  <a:lnTo>
                    <a:pt x="874927" y="563883"/>
                  </a:lnTo>
                  <a:cubicBezTo>
                    <a:pt x="879100" y="565275"/>
                    <a:pt x="883133" y="567009"/>
                    <a:pt x="886992" y="569065"/>
                  </a:cubicBezTo>
                  <a:lnTo>
                    <a:pt x="887072" y="569484"/>
                  </a:lnTo>
                  <a:cubicBezTo>
                    <a:pt x="893853" y="573103"/>
                    <a:pt x="900082" y="577712"/>
                    <a:pt x="905551" y="583181"/>
                  </a:cubicBezTo>
                  <a:cubicBezTo>
                    <a:pt x="914165" y="591795"/>
                    <a:pt x="920648" y="602300"/>
                    <a:pt x="924482" y="613863"/>
                  </a:cubicBezTo>
                  <a:lnTo>
                    <a:pt x="936831" y="651819"/>
                  </a:lnTo>
                  <a:cubicBezTo>
                    <a:pt x="937865" y="654744"/>
                    <a:pt x="939778" y="657277"/>
                    <a:pt x="942311" y="659072"/>
                  </a:cubicBezTo>
                  <a:cubicBezTo>
                    <a:pt x="944844" y="660863"/>
                    <a:pt x="947871" y="661825"/>
                    <a:pt x="950972" y="661825"/>
                  </a:cubicBezTo>
                  <a:cubicBezTo>
                    <a:pt x="954076" y="661825"/>
                    <a:pt x="957102" y="660863"/>
                    <a:pt x="959635" y="659072"/>
                  </a:cubicBezTo>
                  <a:cubicBezTo>
                    <a:pt x="961854" y="657500"/>
                    <a:pt x="963602" y="655359"/>
                    <a:pt x="964694" y="652880"/>
                  </a:cubicBezTo>
                  <a:lnTo>
                    <a:pt x="964688" y="652641"/>
                  </a:lnTo>
                  <a:cubicBezTo>
                    <a:pt x="964848" y="652282"/>
                    <a:pt x="964994" y="651918"/>
                    <a:pt x="965124" y="651546"/>
                  </a:cubicBezTo>
                  <a:lnTo>
                    <a:pt x="977467" y="613598"/>
                  </a:lnTo>
                  <a:cubicBezTo>
                    <a:pt x="981307" y="602060"/>
                    <a:pt x="987784" y="591577"/>
                    <a:pt x="996387" y="582979"/>
                  </a:cubicBezTo>
                  <a:cubicBezTo>
                    <a:pt x="1004990" y="574382"/>
                    <a:pt x="1015484" y="567910"/>
                    <a:pt x="1027028" y="564073"/>
                  </a:cubicBezTo>
                  <a:lnTo>
                    <a:pt x="1065007" y="551741"/>
                  </a:lnTo>
                  <a:cubicBezTo>
                    <a:pt x="1067934" y="550707"/>
                    <a:pt x="1070470" y="548794"/>
                    <a:pt x="1072262" y="546264"/>
                  </a:cubicBezTo>
                  <a:cubicBezTo>
                    <a:pt x="1074056" y="543730"/>
                    <a:pt x="1075018" y="540706"/>
                    <a:pt x="1075018" y="537603"/>
                  </a:cubicBezTo>
                  <a:cubicBezTo>
                    <a:pt x="1075018" y="534502"/>
                    <a:pt x="1074056" y="531478"/>
                    <a:pt x="1072262" y="528945"/>
                  </a:cubicBezTo>
                  <a:cubicBezTo>
                    <a:pt x="1070470" y="526414"/>
                    <a:pt x="1067934" y="524499"/>
                    <a:pt x="1065007" y="523468"/>
                  </a:cubicBezTo>
                  <a:lnTo>
                    <a:pt x="1064248" y="523277"/>
                  </a:lnTo>
                  <a:close/>
                  <a:moveTo>
                    <a:pt x="385904" y="137823"/>
                  </a:moveTo>
                  <a:cubicBezTo>
                    <a:pt x="425740" y="137823"/>
                    <a:pt x="464165" y="143859"/>
                    <a:pt x="500316" y="155066"/>
                  </a:cubicBezTo>
                  <a:lnTo>
                    <a:pt x="498188" y="155752"/>
                  </a:lnTo>
                  <a:cubicBezTo>
                    <a:pt x="481437" y="161454"/>
                    <a:pt x="466883" y="172247"/>
                    <a:pt x="456566" y="186625"/>
                  </a:cubicBezTo>
                  <a:cubicBezTo>
                    <a:pt x="451009" y="194361"/>
                    <a:pt x="446844" y="202979"/>
                    <a:pt x="444233" y="212089"/>
                  </a:cubicBezTo>
                  <a:cubicBezTo>
                    <a:pt x="425327" y="208573"/>
                    <a:pt x="405830" y="206734"/>
                    <a:pt x="385904" y="206734"/>
                  </a:cubicBezTo>
                  <a:cubicBezTo>
                    <a:pt x="210833" y="206734"/>
                    <a:pt x="68911" y="348656"/>
                    <a:pt x="68911" y="523727"/>
                  </a:cubicBezTo>
                  <a:cubicBezTo>
                    <a:pt x="68911" y="698798"/>
                    <a:pt x="210833" y="840719"/>
                    <a:pt x="385904" y="840719"/>
                  </a:cubicBezTo>
                  <a:cubicBezTo>
                    <a:pt x="560975" y="840719"/>
                    <a:pt x="702896" y="698798"/>
                    <a:pt x="702896" y="523727"/>
                  </a:cubicBezTo>
                  <a:cubicBezTo>
                    <a:pt x="702896" y="521833"/>
                    <a:pt x="702880" y="519942"/>
                    <a:pt x="702847" y="518054"/>
                  </a:cubicBezTo>
                  <a:cubicBezTo>
                    <a:pt x="711814" y="521296"/>
                    <a:pt x="721326" y="522985"/>
                    <a:pt x="730971" y="522985"/>
                  </a:cubicBezTo>
                  <a:cubicBezTo>
                    <a:pt x="745271" y="522985"/>
                    <a:pt x="759274" y="519278"/>
                    <a:pt x="771642" y="512293"/>
                  </a:cubicBezTo>
                  <a:cubicBezTo>
                    <a:pt x="771753" y="516091"/>
                    <a:pt x="771808" y="519901"/>
                    <a:pt x="771808" y="523727"/>
                  </a:cubicBezTo>
                  <a:cubicBezTo>
                    <a:pt x="771808" y="617884"/>
                    <a:pt x="738085" y="704167"/>
                    <a:pt x="682060" y="771154"/>
                  </a:cubicBezTo>
                  <a:lnTo>
                    <a:pt x="982233" y="1071327"/>
                  </a:lnTo>
                  <a:cubicBezTo>
                    <a:pt x="995690" y="1084784"/>
                    <a:pt x="995690" y="1106599"/>
                    <a:pt x="982233" y="1120056"/>
                  </a:cubicBezTo>
                  <a:cubicBezTo>
                    <a:pt x="968779" y="1133510"/>
                    <a:pt x="946961" y="1133510"/>
                    <a:pt x="933507" y="1120056"/>
                  </a:cubicBezTo>
                  <a:lnTo>
                    <a:pt x="633332" y="819883"/>
                  </a:lnTo>
                  <a:cubicBezTo>
                    <a:pt x="566344" y="875908"/>
                    <a:pt x="480062" y="909631"/>
                    <a:pt x="385904" y="909631"/>
                  </a:cubicBezTo>
                  <a:cubicBezTo>
                    <a:pt x="172775" y="909631"/>
                    <a:pt x="0" y="736856"/>
                    <a:pt x="0" y="523727"/>
                  </a:cubicBezTo>
                  <a:cubicBezTo>
                    <a:pt x="0" y="310597"/>
                    <a:pt x="172775" y="137823"/>
                    <a:pt x="385904" y="137823"/>
                  </a:cubicBezTo>
                  <a:close/>
                </a:path>
              </a:pathLst>
            </a:custGeom>
            <a:solidFill>
              <a:schemeClr val="tx1"/>
            </a:solidFill>
            <a:ln w="2738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4455EFC6-497C-DA34-856A-1127348F9DE5}"/>
              </a:ext>
              <a:ext uri="{C183D7F6-B498-43B3-948B-1728B52AA6E4}">
                <adec:decorative xmlns:adec="http://schemas.microsoft.com/office/drawing/2017/decorative" val="1"/>
              </a:ext>
            </a:extLst>
          </p:cNvPr>
          <p:cNvGrpSpPr/>
          <p:nvPr/>
        </p:nvGrpSpPr>
        <p:grpSpPr>
          <a:xfrm>
            <a:off x="3588713" y="4457611"/>
            <a:ext cx="654710" cy="654710"/>
            <a:chOff x="3588713" y="4316018"/>
            <a:chExt cx="654710" cy="654710"/>
          </a:xfrm>
        </p:grpSpPr>
        <p:sp>
          <p:nvSpPr>
            <p:cNvPr id="167" name="Box">
              <a:extLst>
                <a:ext uri="{FF2B5EF4-FFF2-40B4-BE49-F238E27FC236}">
                  <a16:creationId xmlns:a16="http://schemas.microsoft.com/office/drawing/2014/main" id="{1B4B250A-635F-4FE2-0E51-DA0CC318FBA6}"/>
                </a:ext>
                <a:ext uri="{C183D7F6-B498-43B3-948B-1728B52AA6E4}">
                  <adec:decorative xmlns:adec="http://schemas.microsoft.com/office/drawing/2017/decorative" val="1"/>
                </a:ext>
              </a:extLst>
            </p:cNvPr>
            <p:cNvSpPr>
              <a:spLocks noChangeAspect="1"/>
            </p:cNvSpPr>
            <p:nvPr/>
          </p:nvSpPr>
          <p:spPr bwMode="auto">
            <a:xfrm>
              <a:off x="358871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6" name="Graphic 152">
              <a:extLst>
                <a:ext uri="{FF2B5EF4-FFF2-40B4-BE49-F238E27FC236}">
                  <a16:creationId xmlns:a16="http://schemas.microsoft.com/office/drawing/2014/main" id="{C33AB62C-56FE-C284-13D1-45CA25423DDF}"/>
                </a:ext>
              </a:extLst>
            </p:cNvPr>
            <p:cNvSpPr/>
            <p:nvPr/>
          </p:nvSpPr>
          <p:spPr>
            <a:xfrm>
              <a:off x="3727066" y="4492126"/>
              <a:ext cx="378004" cy="302496"/>
            </a:xfrm>
            <a:custGeom>
              <a:avLst/>
              <a:gdLst>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398507 w 1028405"/>
                <a:gd name="csY18" fmla="*/ 437072 h 822981"/>
                <a:gd name="csX19" fmla="*/ 437072 w 1028405"/>
                <a:gd name="csY19" fmla="*/ 475637 h 822981"/>
                <a:gd name="csX20" fmla="*/ 437072 w 1028405"/>
                <a:gd name="csY20" fmla="*/ 500988 h 822981"/>
                <a:gd name="csX21" fmla="*/ 436661 w 1028405"/>
                <a:gd name="csY21" fmla="*/ 506541 h 822981"/>
                <a:gd name="csX22" fmla="*/ 308522 w 1028405"/>
                <a:gd name="csY22" fmla="*/ 591384 h 822981"/>
                <a:gd name="csX23" fmla="*/ 180382 w 1028405"/>
                <a:gd name="csY23" fmla="*/ 506541 h 822981"/>
                <a:gd name="csX24" fmla="*/ 179971 w 1028405"/>
                <a:gd name="csY24" fmla="*/ 500885 h 822981"/>
                <a:gd name="csX25" fmla="*/ 179971 w 1028405"/>
                <a:gd name="csY25" fmla="*/ 475637 h 822981"/>
                <a:gd name="csX26" fmla="*/ 218536 w 1028405"/>
                <a:gd name="csY26" fmla="*/ 437072 h 822981"/>
                <a:gd name="csX27" fmla="*/ 398507 w 1028405"/>
                <a:gd name="csY27" fmla="*/ 437072 h 822981"/>
                <a:gd name="csX28" fmla="*/ 578581 w 1028405"/>
                <a:gd name="csY28" fmla="*/ 462577 h 822981"/>
                <a:gd name="csX29" fmla="*/ 809869 w 1028405"/>
                <a:gd name="csY29" fmla="*/ 462577 h 822981"/>
                <a:gd name="csX30" fmla="*/ 848424 w 1028405"/>
                <a:gd name="csY30" fmla="*/ 501152 h 822981"/>
                <a:gd name="csX31" fmla="*/ 815114 w 1028405"/>
                <a:gd name="csY31" fmla="*/ 539347 h 822981"/>
                <a:gd name="csX32" fmla="*/ 809869 w 1028405"/>
                <a:gd name="csY32" fmla="*/ 539707 h 822981"/>
                <a:gd name="csX33" fmla="*/ 578581 w 1028405"/>
                <a:gd name="csY33" fmla="*/ 539707 h 822981"/>
                <a:gd name="csX34" fmla="*/ 540026 w 1028405"/>
                <a:gd name="csY34" fmla="*/ 501131 h 822981"/>
                <a:gd name="csX35" fmla="*/ 573336 w 1028405"/>
                <a:gd name="csY35" fmla="*/ 462937 h 822981"/>
                <a:gd name="csX36" fmla="*/ 578581 w 1028405"/>
                <a:gd name="csY36" fmla="*/ 462577 h 822981"/>
                <a:gd name="csX37" fmla="*/ 809869 w 1028405"/>
                <a:gd name="csY37" fmla="*/ 462577 h 822981"/>
                <a:gd name="csX38" fmla="*/ 578581 w 1028405"/>
                <a:gd name="csY38" fmla="*/ 462577 h 822981"/>
                <a:gd name="csX39" fmla="*/ 308522 w 1028405"/>
                <a:gd name="csY39" fmla="*/ 231494 h 822981"/>
                <a:gd name="csX40" fmla="*/ 385652 w 1028405"/>
                <a:gd name="csY40" fmla="*/ 308624 h 822981"/>
                <a:gd name="csX41" fmla="*/ 308522 w 1028405"/>
                <a:gd name="csY41" fmla="*/ 385755 h 822981"/>
                <a:gd name="csX42" fmla="*/ 231391 w 1028405"/>
                <a:gd name="csY42" fmla="*/ 308624 h 822981"/>
                <a:gd name="csX43" fmla="*/ 308522 w 1028405"/>
                <a:gd name="csY43" fmla="*/ 231494 h 822981"/>
                <a:gd name="csX44" fmla="*/ 578581 w 1028405"/>
                <a:gd name="csY44" fmla="*/ 282811 h 822981"/>
                <a:gd name="csX45" fmla="*/ 809869 w 1028405"/>
                <a:gd name="csY45" fmla="*/ 282811 h 822981"/>
                <a:gd name="csX46" fmla="*/ 848424 w 1028405"/>
                <a:gd name="csY46" fmla="*/ 321387 h 822981"/>
                <a:gd name="csX47" fmla="*/ 815114 w 1028405"/>
                <a:gd name="csY47" fmla="*/ 359582 h 822981"/>
                <a:gd name="csX48" fmla="*/ 809869 w 1028405"/>
                <a:gd name="csY48" fmla="*/ 359942 h 822981"/>
                <a:gd name="csX49" fmla="*/ 578581 w 1028405"/>
                <a:gd name="csY49" fmla="*/ 359942 h 822981"/>
                <a:gd name="csX50" fmla="*/ 540026 w 1028405"/>
                <a:gd name="csY50" fmla="*/ 321366 h 822981"/>
                <a:gd name="csX51" fmla="*/ 573336 w 1028405"/>
                <a:gd name="csY51" fmla="*/ 283171 h 822981"/>
                <a:gd name="csX52" fmla="*/ 578581 w 1028405"/>
                <a:gd name="csY52" fmla="*/ 282811 h 822981"/>
                <a:gd name="csX53" fmla="*/ 809869 w 1028405"/>
                <a:gd name="csY53" fmla="*/ 282811 h 822981"/>
                <a:gd name="csX54" fmla="*/ 578581 w 1028405"/>
                <a:gd name="csY54" fmla="*/ 282811 h 82298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Lst>
              <a:rect l="l" t="t" r="r" b="b"/>
              <a:pathLst>
                <a:path w="1028405" h="822981">
                  <a:moveTo>
                    <a:pt x="912709" y="0"/>
                  </a:moveTo>
                  <a:cubicBezTo>
                    <a:pt x="976604" y="0"/>
                    <a:pt x="1028405" y="51799"/>
                    <a:pt x="1028405" y="115696"/>
                  </a:cubicBezTo>
                  <a:lnTo>
                    <a:pt x="1028405" y="707286"/>
                  </a:lnTo>
                  <a:cubicBezTo>
                    <a:pt x="1028405" y="771180"/>
                    <a:pt x="976604" y="822981"/>
                    <a:pt x="912709" y="822981"/>
                  </a:cubicBezTo>
                  <a:lnTo>
                    <a:pt x="115696" y="822981"/>
                  </a:lnTo>
                  <a:cubicBezTo>
                    <a:pt x="51799" y="822981"/>
                    <a:pt x="0" y="771180"/>
                    <a:pt x="0" y="707286"/>
                  </a:cubicBezTo>
                  <a:lnTo>
                    <a:pt x="0" y="115696"/>
                  </a:lnTo>
                  <a:cubicBezTo>
                    <a:pt x="0" y="51799"/>
                    <a:pt x="51799" y="0"/>
                    <a:pt x="115696" y="0"/>
                  </a:cubicBezTo>
                  <a:lnTo>
                    <a:pt x="912709" y="0"/>
                  </a:lnTo>
                  <a:close/>
                  <a:moveTo>
                    <a:pt x="912709" y="77130"/>
                  </a:moveTo>
                  <a:lnTo>
                    <a:pt x="115696" y="77130"/>
                  </a:lnTo>
                  <a:cubicBezTo>
                    <a:pt x="94397" y="77130"/>
                    <a:pt x="77130" y="94397"/>
                    <a:pt x="77130" y="115696"/>
                  </a:cubicBezTo>
                  <a:lnTo>
                    <a:pt x="77130" y="707286"/>
                  </a:lnTo>
                  <a:cubicBezTo>
                    <a:pt x="77130" y="728574"/>
                    <a:pt x="94408" y="745851"/>
                    <a:pt x="115696" y="745851"/>
                  </a:cubicBezTo>
                  <a:lnTo>
                    <a:pt x="912709" y="745851"/>
                  </a:lnTo>
                  <a:cubicBezTo>
                    <a:pt x="934008" y="745851"/>
                    <a:pt x="951275" y="728584"/>
                    <a:pt x="951275" y="707286"/>
                  </a:cubicBezTo>
                  <a:lnTo>
                    <a:pt x="951275" y="115696"/>
                  </a:lnTo>
                  <a:cubicBezTo>
                    <a:pt x="951275" y="94397"/>
                    <a:pt x="934008" y="77130"/>
                    <a:pt x="912709" y="77130"/>
                  </a:cubicBezTo>
                  <a:close/>
                  <a:moveTo>
                    <a:pt x="398507" y="437072"/>
                  </a:moveTo>
                  <a:cubicBezTo>
                    <a:pt x="419805" y="437072"/>
                    <a:pt x="437072" y="454339"/>
                    <a:pt x="437072" y="475637"/>
                  </a:cubicBezTo>
                  <a:lnTo>
                    <a:pt x="437072" y="500988"/>
                  </a:lnTo>
                  <a:lnTo>
                    <a:pt x="436661" y="506541"/>
                  </a:lnTo>
                  <a:cubicBezTo>
                    <a:pt x="428279" y="563772"/>
                    <a:pt x="380407" y="591384"/>
                    <a:pt x="308522" y="591384"/>
                  </a:cubicBezTo>
                  <a:cubicBezTo>
                    <a:pt x="236636" y="591384"/>
                    <a:pt x="188712" y="563772"/>
                    <a:pt x="180382" y="506541"/>
                  </a:cubicBezTo>
                  <a:lnTo>
                    <a:pt x="179971" y="500885"/>
                  </a:lnTo>
                  <a:lnTo>
                    <a:pt x="179971" y="475637"/>
                  </a:lnTo>
                  <a:cubicBezTo>
                    <a:pt x="179971" y="454339"/>
                    <a:pt x="197237" y="437072"/>
                    <a:pt x="218536" y="437072"/>
                  </a:cubicBezTo>
                  <a:lnTo>
                    <a:pt x="398507" y="437072"/>
                  </a:lnTo>
                  <a:close/>
                  <a:moveTo>
                    <a:pt x="578581" y="462577"/>
                  </a:moveTo>
                  <a:lnTo>
                    <a:pt x="809869" y="462577"/>
                  </a:lnTo>
                  <a:cubicBezTo>
                    <a:pt x="831167" y="462582"/>
                    <a:pt x="848429" y="479854"/>
                    <a:pt x="848424" y="501152"/>
                  </a:cubicBezTo>
                  <a:cubicBezTo>
                    <a:pt x="848419" y="520419"/>
                    <a:pt x="834196" y="536719"/>
                    <a:pt x="815114" y="539347"/>
                  </a:cubicBezTo>
                  <a:lnTo>
                    <a:pt x="809869" y="539707"/>
                  </a:lnTo>
                  <a:lnTo>
                    <a:pt x="578581" y="539707"/>
                  </a:lnTo>
                  <a:cubicBezTo>
                    <a:pt x="557282" y="539702"/>
                    <a:pt x="540021" y="522430"/>
                    <a:pt x="540026" y="501131"/>
                  </a:cubicBezTo>
                  <a:cubicBezTo>
                    <a:pt x="540031" y="481864"/>
                    <a:pt x="554254" y="465564"/>
                    <a:pt x="573336" y="462937"/>
                  </a:cubicBezTo>
                  <a:lnTo>
                    <a:pt x="578581" y="462577"/>
                  </a:lnTo>
                  <a:lnTo>
                    <a:pt x="809869" y="462577"/>
                  </a:lnTo>
                  <a:lnTo>
                    <a:pt x="578581" y="462577"/>
                  </a:lnTo>
                  <a:close/>
                  <a:moveTo>
                    <a:pt x="308522" y="231494"/>
                  </a:moveTo>
                  <a:cubicBezTo>
                    <a:pt x="351120" y="231494"/>
                    <a:pt x="385652" y="266026"/>
                    <a:pt x="385652" y="308624"/>
                  </a:cubicBezTo>
                  <a:cubicBezTo>
                    <a:pt x="385652" y="351221"/>
                    <a:pt x="351120" y="385755"/>
                    <a:pt x="308522" y="385755"/>
                  </a:cubicBezTo>
                  <a:cubicBezTo>
                    <a:pt x="265923" y="385755"/>
                    <a:pt x="231391" y="351221"/>
                    <a:pt x="231391" y="308624"/>
                  </a:cubicBezTo>
                  <a:cubicBezTo>
                    <a:pt x="231391" y="266026"/>
                    <a:pt x="265923" y="231494"/>
                    <a:pt x="308522" y="231494"/>
                  </a:cubicBezTo>
                  <a:close/>
                  <a:moveTo>
                    <a:pt x="578581" y="282811"/>
                  </a:moveTo>
                  <a:lnTo>
                    <a:pt x="809869" y="282811"/>
                  </a:lnTo>
                  <a:cubicBezTo>
                    <a:pt x="831167" y="282818"/>
                    <a:pt x="848429" y="300090"/>
                    <a:pt x="848424" y="321387"/>
                  </a:cubicBezTo>
                  <a:cubicBezTo>
                    <a:pt x="848419" y="340654"/>
                    <a:pt x="834196" y="356954"/>
                    <a:pt x="815114" y="359582"/>
                  </a:cubicBezTo>
                  <a:lnTo>
                    <a:pt x="809869" y="359942"/>
                  </a:lnTo>
                  <a:lnTo>
                    <a:pt x="578581" y="359942"/>
                  </a:lnTo>
                  <a:cubicBezTo>
                    <a:pt x="557282" y="359937"/>
                    <a:pt x="540021" y="342665"/>
                    <a:pt x="540026" y="321366"/>
                  </a:cubicBezTo>
                  <a:cubicBezTo>
                    <a:pt x="540031" y="302102"/>
                    <a:pt x="554254" y="285797"/>
                    <a:pt x="573336" y="283171"/>
                  </a:cubicBezTo>
                  <a:lnTo>
                    <a:pt x="578581" y="282811"/>
                  </a:lnTo>
                  <a:lnTo>
                    <a:pt x="809869" y="282811"/>
                  </a:lnTo>
                  <a:lnTo>
                    <a:pt x="578581" y="282811"/>
                  </a:lnTo>
                  <a:close/>
                </a:path>
              </a:pathLst>
            </a:custGeom>
            <a:solidFill>
              <a:schemeClr val="tx1"/>
            </a:solidFill>
            <a:ln w="54372"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0D3F9974-C38E-0F0F-653C-B765F02EBCC9}"/>
              </a:ext>
              <a:ext uri="{C183D7F6-B498-43B3-948B-1728B52AA6E4}">
                <adec:decorative xmlns:adec="http://schemas.microsoft.com/office/drawing/2017/decorative" val="1"/>
              </a:ext>
            </a:extLst>
          </p:cNvPr>
          <p:cNvGrpSpPr/>
          <p:nvPr/>
        </p:nvGrpSpPr>
        <p:grpSpPr>
          <a:xfrm>
            <a:off x="10128503" y="4457611"/>
            <a:ext cx="654710" cy="654710"/>
            <a:chOff x="10128503" y="4316018"/>
            <a:chExt cx="654710" cy="654710"/>
          </a:xfrm>
        </p:grpSpPr>
        <p:sp>
          <p:nvSpPr>
            <p:cNvPr id="170" name="Box">
              <a:extLst>
                <a:ext uri="{FF2B5EF4-FFF2-40B4-BE49-F238E27FC236}">
                  <a16:creationId xmlns:a16="http://schemas.microsoft.com/office/drawing/2014/main" id="{212363F5-BDEE-DDD8-0CBF-E56238437415}"/>
                </a:ext>
                <a:ext uri="{C183D7F6-B498-43B3-948B-1728B52AA6E4}">
                  <adec:decorative xmlns:adec="http://schemas.microsoft.com/office/drawing/2017/decorative" val="1"/>
                </a:ext>
              </a:extLst>
            </p:cNvPr>
            <p:cNvSpPr>
              <a:spLocks noChangeAspect="1"/>
            </p:cNvSpPr>
            <p:nvPr/>
          </p:nvSpPr>
          <p:spPr bwMode="auto">
            <a:xfrm>
              <a:off x="1012850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7" name="Graphic 140">
              <a:extLst>
                <a:ext uri="{FF2B5EF4-FFF2-40B4-BE49-F238E27FC236}">
                  <a16:creationId xmlns:a16="http://schemas.microsoft.com/office/drawing/2014/main" id="{2358E988-0760-4B70-9FCC-C0A8C3DDAF4B}"/>
                </a:ext>
              </a:extLst>
            </p:cNvPr>
            <p:cNvSpPr/>
            <p:nvPr/>
          </p:nvSpPr>
          <p:spPr>
            <a:xfrm>
              <a:off x="10312238" y="4483794"/>
              <a:ext cx="287240" cy="319158"/>
            </a:xfrm>
            <a:custGeom>
              <a:avLst/>
              <a:gdLst>
                <a:gd name="csX0" fmla="*/ 0 w 859618"/>
                <a:gd name="csY0" fmla="*/ 179087 h 955142"/>
                <a:gd name="csX1" fmla="*/ 35817 w 859618"/>
                <a:gd name="csY1" fmla="*/ 143270 h 955142"/>
                <a:gd name="csX2" fmla="*/ 408319 w 859618"/>
                <a:gd name="csY2" fmla="*/ 7163 h 955142"/>
                <a:gd name="csX3" fmla="*/ 451300 w 859618"/>
                <a:gd name="csY3" fmla="*/ 7163 h 955142"/>
                <a:gd name="csX4" fmla="*/ 823801 w 859618"/>
                <a:gd name="csY4" fmla="*/ 143270 h 955142"/>
                <a:gd name="csX5" fmla="*/ 859619 w 859618"/>
                <a:gd name="csY5" fmla="*/ 179087 h 955142"/>
                <a:gd name="csX6" fmla="*/ 859619 w 859618"/>
                <a:gd name="csY6" fmla="*/ 429809 h 955142"/>
                <a:gd name="csX7" fmla="*/ 442942 w 859618"/>
                <a:gd name="csY7" fmla="*/ 952648 h 955142"/>
                <a:gd name="csX8" fmla="*/ 416676 w 859618"/>
                <a:gd name="csY8" fmla="*/ 952648 h 955142"/>
                <a:gd name="csX9" fmla="*/ 0 w 859618"/>
                <a:gd name="csY9" fmla="*/ 429809 h 955142"/>
                <a:gd name="csX10" fmla="*/ 0 w 859618"/>
                <a:gd name="csY10" fmla="*/ 179087 h 955142"/>
                <a:gd name="csX11" fmla="*/ 71635 w 859618"/>
                <a:gd name="csY11" fmla="*/ 213854 h 955142"/>
                <a:gd name="csX12" fmla="*/ 71635 w 859618"/>
                <a:gd name="csY12" fmla="*/ 429809 h 955142"/>
                <a:gd name="csX13" fmla="*/ 429809 w 859618"/>
                <a:gd name="csY13" fmla="*/ 880727 h 955142"/>
                <a:gd name="csX14" fmla="*/ 787984 w 859618"/>
                <a:gd name="csY14" fmla="*/ 429809 h 955142"/>
                <a:gd name="csX15" fmla="*/ 787984 w 859618"/>
                <a:gd name="csY15" fmla="*/ 213854 h 955142"/>
                <a:gd name="csX16" fmla="*/ 429809 w 859618"/>
                <a:gd name="csY16" fmla="*/ 80136 h 955142"/>
                <a:gd name="csX17" fmla="*/ 71635 w 859618"/>
                <a:gd name="csY17" fmla="*/ 213854 h 95514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859618" h="955142">
                  <a:moveTo>
                    <a:pt x="0" y="179087"/>
                  </a:moveTo>
                  <a:cubicBezTo>
                    <a:pt x="0" y="159306"/>
                    <a:pt x="16036" y="143270"/>
                    <a:pt x="35817" y="143270"/>
                  </a:cubicBezTo>
                  <a:cubicBezTo>
                    <a:pt x="162993" y="143270"/>
                    <a:pt x="286922" y="98235"/>
                    <a:pt x="408319" y="7163"/>
                  </a:cubicBezTo>
                  <a:cubicBezTo>
                    <a:pt x="421054" y="-2388"/>
                    <a:pt x="438565" y="-2388"/>
                    <a:pt x="451300" y="7163"/>
                  </a:cubicBezTo>
                  <a:cubicBezTo>
                    <a:pt x="572697" y="98235"/>
                    <a:pt x="696625" y="143270"/>
                    <a:pt x="823801" y="143270"/>
                  </a:cubicBezTo>
                  <a:cubicBezTo>
                    <a:pt x="843583" y="143270"/>
                    <a:pt x="859619" y="159306"/>
                    <a:pt x="859619" y="179087"/>
                  </a:cubicBezTo>
                  <a:lnTo>
                    <a:pt x="859619" y="429809"/>
                  </a:lnTo>
                  <a:cubicBezTo>
                    <a:pt x="859619" y="668640"/>
                    <a:pt x="718355" y="844145"/>
                    <a:pt x="442942" y="952648"/>
                  </a:cubicBezTo>
                  <a:cubicBezTo>
                    <a:pt x="434503" y="955974"/>
                    <a:pt x="425116" y="955974"/>
                    <a:pt x="416676" y="952648"/>
                  </a:cubicBezTo>
                  <a:cubicBezTo>
                    <a:pt x="141264" y="844145"/>
                    <a:pt x="0" y="668592"/>
                    <a:pt x="0" y="429809"/>
                  </a:cubicBezTo>
                  <a:lnTo>
                    <a:pt x="0" y="179087"/>
                  </a:lnTo>
                  <a:close/>
                  <a:moveTo>
                    <a:pt x="71635" y="213854"/>
                  </a:moveTo>
                  <a:lnTo>
                    <a:pt x="71635" y="429809"/>
                  </a:lnTo>
                  <a:cubicBezTo>
                    <a:pt x="71635" y="633061"/>
                    <a:pt x="188782" y="782205"/>
                    <a:pt x="429809" y="880727"/>
                  </a:cubicBezTo>
                  <a:cubicBezTo>
                    <a:pt x="670837" y="782205"/>
                    <a:pt x="787984" y="633061"/>
                    <a:pt x="787984" y="429809"/>
                  </a:cubicBezTo>
                  <a:lnTo>
                    <a:pt x="787984" y="213854"/>
                  </a:lnTo>
                  <a:cubicBezTo>
                    <a:pt x="664915" y="206595"/>
                    <a:pt x="545380" y="161799"/>
                    <a:pt x="429809" y="80136"/>
                  </a:cubicBezTo>
                  <a:cubicBezTo>
                    <a:pt x="314238" y="161799"/>
                    <a:pt x="194704" y="206595"/>
                    <a:pt x="71635" y="213854"/>
                  </a:cubicBezTo>
                  <a:close/>
                </a:path>
              </a:pathLst>
            </a:custGeom>
            <a:solidFill>
              <a:schemeClr val="tx1"/>
            </a:solidFill>
            <a:ln w="54372"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23" name="TextBox 322">
            <a:extLst>
              <a:ext uri="{FF2B5EF4-FFF2-40B4-BE49-F238E27FC236}">
                <a16:creationId xmlns:a16="http://schemas.microsoft.com/office/drawing/2014/main" id="{71B05A22-6E34-EFE7-6430-0E38ACFFD780}"/>
              </a:ext>
            </a:extLst>
          </p:cNvPr>
          <p:cNvSpPr txBox="1"/>
          <p:nvPr/>
        </p:nvSpPr>
        <p:spPr>
          <a:xfrm>
            <a:off x="818342" y="5274294"/>
            <a:ext cx="1835592" cy="7443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a:ln>
                  <a:noFill/>
                </a:ln>
                <a:solidFill>
                  <a:srgbClr val="2A446F"/>
                </a:solidFill>
                <a:effectLst/>
                <a:uLnTx/>
                <a:uFillTx/>
                <a:latin typeface="Segoe UI Semibold"/>
                <a:cs typeface="Segoe UI" pitchFamily="34" charset="0"/>
              </a:rPr>
              <a:t>Registre</a:t>
            </a:r>
          </a:p>
        </p:txBody>
      </p:sp>
      <p:sp>
        <p:nvSpPr>
          <p:cNvPr id="324" name="TextBox 323">
            <a:extLst>
              <a:ext uri="{FF2B5EF4-FFF2-40B4-BE49-F238E27FC236}">
                <a16:creationId xmlns:a16="http://schemas.microsoft.com/office/drawing/2014/main" id="{AE1DE9BE-544C-DEC9-B896-B8E4C9B465C8}"/>
              </a:ext>
            </a:extLst>
          </p:cNvPr>
          <p:cNvSpPr txBox="1"/>
          <p:nvPr/>
        </p:nvSpPr>
        <p:spPr>
          <a:xfrm>
            <a:off x="2997096" y="5399802"/>
            <a:ext cx="1837944" cy="7443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a:ln>
                  <a:noFill/>
                </a:ln>
                <a:solidFill>
                  <a:srgbClr val="2A446F"/>
                </a:solidFill>
                <a:effectLst/>
                <a:uLnTx/>
                <a:uFillTx/>
                <a:latin typeface="Segoe UI Semibold"/>
                <a:cs typeface="Segoe UI" pitchFamily="34" charset="0"/>
              </a:rPr>
              <a:t>Contrôle </a:t>
            </a:r>
            <a:br>
              <a:rPr kumimoji="0" lang="fr-fr" sz="1800" b="0" i="0" u="none" strike="noStrike" kern="1200" cap="none" spc="0" normalizeH="0" baseline="0" noProof="0">
                <a:ln>
                  <a:noFill/>
                </a:ln>
                <a:solidFill>
                  <a:srgbClr val="2A446F"/>
                </a:solidFill>
                <a:effectLst/>
                <a:uLnTx/>
                <a:uFillTx/>
                <a:latin typeface="Segoe UI Semibold"/>
                <a:cs typeface="Segoe UI" pitchFamily="34" charset="0"/>
              </a:rPr>
            </a:br>
            <a:r>
              <a:rPr kumimoji="0" lang="fr-fr" sz="1800" b="0" i="0" u="none" strike="noStrike" kern="1200" cap="none" spc="0" normalizeH="0" baseline="0" noProof="0">
                <a:ln>
                  <a:noFill/>
                </a:ln>
                <a:solidFill>
                  <a:srgbClr val="2A446F"/>
                </a:solidFill>
                <a:effectLst/>
                <a:uLnTx/>
                <a:uFillTx/>
                <a:latin typeface="Segoe UI Semibold"/>
                <a:cs typeface="Segoe UI" pitchFamily="34" charset="0"/>
              </a:rPr>
              <a:t>des accès</a:t>
            </a:r>
          </a:p>
        </p:txBody>
      </p:sp>
      <p:sp>
        <p:nvSpPr>
          <p:cNvPr id="325" name="TextBox 324">
            <a:extLst>
              <a:ext uri="{FF2B5EF4-FFF2-40B4-BE49-F238E27FC236}">
                <a16:creationId xmlns:a16="http://schemas.microsoft.com/office/drawing/2014/main" id="{F00C1618-2CE9-BB7D-5B47-7028CA1D8421}"/>
              </a:ext>
            </a:extLst>
          </p:cNvPr>
          <p:cNvSpPr txBox="1"/>
          <p:nvPr/>
        </p:nvSpPr>
        <p:spPr>
          <a:xfrm>
            <a:off x="5177026" y="5274294"/>
            <a:ext cx="1837944" cy="7443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a:ln>
                  <a:noFill/>
                </a:ln>
                <a:solidFill>
                  <a:srgbClr val="2A446F"/>
                </a:solidFill>
                <a:effectLst/>
                <a:uLnTx/>
                <a:uFillTx/>
                <a:latin typeface="Segoe UI Semibold"/>
                <a:cs typeface="Segoe UI" pitchFamily="34" charset="0"/>
              </a:rPr>
              <a:t>Visualisation</a:t>
            </a:r>
          </a:p>
        </p:txBody>
      </p:sp>
      <p:sp>
        <p:nvSpPr>
          <p:cNvPr id="326" name="TextBox 325">
            <a:extLst>
              <a:ext uri="{FF2B5EF4-FFF2-40B4-BE49-F238E27FC236}">
                <a16:creationId xmlns:a16="http://schemas.microsoft.com/office/drawing/2014/main" id="{01001487-0FA2-1D2F-775F-EC7ABDE5C524}"/>
              </a:ext>
            </a:extLst>
          </p:cNvPr>
          <p:cNvSpPr txBox="1"/>
          <p:nvPr/>
        </p:nvSpPr>
        <p:spPr>
          <a:xfrm>
            <a:off x="7356956" y="5274294"/>
            <a:ext cx="1837944" cy="7443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a:ln>
                  <a:noFill/>
                </a:ln>
                <a:solidFill>
                  <a:srgbClr val="2A446F"/>
                </a:solidFill>
                <a:effectLst/>
                <a:uLnTx/>
                <a:uFillTx/>
                <a:latin typeface="Segoe UI Semibold"/>
                <a:cs typeface="Segoe UI" pitchFamily="34" charset="0"/>
              </a:rPr>
              <a:t>Interopérabilité</a:t>
            </a:r>
          </a:p>
        </p:txBody>
      </p:sp>
      <p:sp>
        <p:nvSpPr>
          <p:cNvPr id="327" name="TextBox 326">
            <a:extLst>
              <a:ext uri="{FF2B5EF4-FFF2-40B4-BE49-F238E27FC236}">
                <a16:creationId xmlns:a16="http://schemas.microsoft.com/office/drawing/2014/main" id="{5196DC7A-1590-B83B-0F9A-C3BDD1E4890A}"/>
              </a:ext>
            </a:extLst>
          </p:cNvPr>
          <p:cNvSpPr txBox="1"/>
          <p:nvPr/>
        </p:nvSpPr>
        <p:spPr>
          <a:xfrm>
            <a:off x="9536887" y="5274294"/>
            <a:ext cx="1837944" cy="7443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a:ln>
                  <a:noFill/>
                </a:ln>
                <a:solidFill>
                  <a:srgbClr val="2A446F"/>
                </a:solidFill>
                <a:effectLst/>
                <a:uLnTx/>
                <a:uFillTx/>
                <a:latin typeface="Segoe UI Semibold"/>
                <a:cs typeface="Segoe UI" pitchFamily="34" charset="0"/>
              </a:rPr>
              <a:t>Sécurité</a:t>
            </a:r>
          </a:p>
        </p:txBody>
      </p:sp>
      <p:sp>
        <p:nvSpPr>
          <p:cNvPr id="7" name="Rounded Rectangle 5">
            <a:extLst>
              <a:ext uri="{FF2B5EF4-FFF2-40B4-BE49-F238E27FC236}">
                <a16:creationId xmlns:a16="http://schemas.microsoft.com/office/drawing/2014/main" id="{349AF6D7-E1DB-5B57-76F3-844015F6ADFC}"/>
              </a:ext>
            </a:extLst>
          </p:cNvPr>
          <p:cNvSpPr txBox="1">
            <a:spLocks/>
          </p:cNvSpPr>
          <p:nvPr/>
        </p:nvSpPr>
        <p:spPr bwMode="auto">
          <a:xfrm>
            <a:off x="4381498" y="486496"/>
            <a:ext cx="3429004" cy="609682"/>
          </a:xfrm>
          <a:prstGeom prst="roundRect">
            <a:avLst>
              <a:gd name="adj" fmla="val 50000"/>
            </a:avLst>
          </a:prstGeom>
          <a:gradFill flip="none" rotWithShape="1">
            <a:gsLst>
              <a:gs pos="19000">
                <a:srgbClr val="C5B4E3"/>
              </a:gs>
              <a:gs pos="57000">
                <a:srgbClr val="8DC8E8"/>
              </a:gs>
              <a:gs pos="100000">
                <a:srgbClr val="B9DCD2"/>
              </a:gs>
            </a:gsLst>
            <a:path path="circle">
              <a:fillToRect l="100000" t="100000"/>
            </a:path>
            <a:tileRect r="-100000" b="-100000"/>
          </a:gradFill>
          <a:ln w="76200" cap="flat" cmpd="sng" algn="ctr">
            <a:noFill/>
            <a:prstDash val="solid"/>
            <a:headEnd type="none" w="med" len="med"/>
            <a:tailEnd type="none" w="med" len="med"/>
          </a:ln>
          <a:effectLst>
            <a:outerShdw blurRad="375109" dist="101600" dir="5400000" sx="105000" sy="105000" algn="t" rotWithShape="0">
              <a:prstClr val="black">
                <a:alpha val="2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400" b="0" i="0" u="none" strike="noStrike" kern="1200" cap="none" spc="0" normalizeH="0" baseline="0" noProof="0">
                <a:ln w="3175">
                  <a:noFill/>
                </a:ln>
                <a:solidFill>
                  <a:srgbClr val="002060"/>
                </a:solidFill>
                <a:effectLst/>
                <a:uLnTx/>
                <a:uFillTx/>
                <a:latin typeface="Segoe Sans Display Semibold"/>
                <a:ea typeface="+mn-ea"/>
                <a:cs typeface="Segoe Sans Display Semibold" pitchFamily="2" charset="0"/>
              </a:rPr>
              <a:t>Microsoft Agent 365</a:t>
            </a:r>
          </a:p>
        </p:txBody>
      </p:sp>
    </p:spTree>
    <p:custDataLst>
      <p:tags r:id="rId1"/>
    </p:custDataLst>
    <p:extLst>
      <p:ext uri="{BB962C8B-B14F-4D97-AF65-F5344CB8AC3E}">
        <p14:creationId xmlns:p14="http://schemas.microsoft.com/office/powerpoint/2010/main" val="28611187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1E87C5-DACF-FE78-8018-B984B1948AF9}"/>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CBBFC1C-E8D0-EDD0-89D5-4F941C67FD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0" progId="TCLayout.ActiveDocument.1">
                  <p:embed/>
                </p:oleObj>
              </mc:Choice>
              <mc:Fallback>
                <p:oleObj name="think-cell Slide" r:id="rId5" imgW="532" imgH="530" progId="TCLayout.ActiveDocument.1">
                  <p:embed/>
                  <p:pic>
                    <p:nvPicPr>
                      <p:cNvPr id="8" name="think-cell data - do not delete" hidden="1">
                        <a:extLst>
                          <a:ext uri="{FF2B5EF4-FFF2-40B4-BE49-F238E27FC236}">
                            <a16:creationId xmlns:a16="http://schemas.microsoft.com/office/drawing/2014/main" id="{ACBBFC1C-E8D0-EDD0-89D5-4F941C67FD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4" name="Rectangle: Rounded Corners 173">
            <a:extLst>
              <a:ext uri="{FF2B5EF4-FFF2-40B4-BE49-F238E27FC236}">
                <a16:creationId xmlns:a16="http://schemas.microsoft.com/office/drawing/2014/main" id="{D6C4E15F-A403-2E2C-8D2A-D131D99EC341}"/>
              </a:ext>
              <a:ext uri="{C183D7F6-B498-43B3-948B-1728B52AA6E4}">
                <adec:decorative xmlns:adec="http://schemas.microsoft.com/office/drawing/2017/decorative" val="1"/>
              </a:ext>
            </a:extLst>
          </p:cNvPr>
          <p:cNvSpPr>
            <a:spLocks/>
          </p:cNvSpPr>
          <p:nvPr/>
        </p:nvSpPr>
        <p:spPr bwMode="auto">
          <a:xfrm>
            <a:off x="571498" y="807678"/>
            <a:ext cx="11049001" cy="5555837"/>
          </a:xfrm>
          <a:prstGeom prst="roundRect">
            <a:avLst>
              <a:gd name="adj" fmla="val 4215"/>
            </a:avLst>
          </a:prstGeom>
          <a:gradFill>
            <a:gsLst>
              <a:gs pos="0">
                <a:srgbClr val="FECBE6"/>
              </a:gs>
              <a:gs pos="33000">
                <a:srgbClr val="BABAFF">
                  <a:alpha val="59000"/>
                </a:srgbClr>
              </a:gs>
              <a:gs pos="82000">
                <a:schemeClr val="accent6">
                  <a:lumMod val="25000"/>
                  <a:lumOff val="75000"/>
                  <a:alpha val="70000"/>
                </a:schemeClr>
              </a:gs>
              <a:gs pos="98165">
                <a:schemeClr val="bg1">
                  <a:alpha val="33000"/>
                </a:schemeClr>
              </a:gs>
            </a:gsLst>
            <a:lin ang="15600000" scaled="0"/>
          </a:gradFill>
          <a:ln w="6350">
            <a:solidFill>
              <a:schemeClr val="bg2">
                <a:lumMod val="90000"/>
              </a:schemeClr>
            </a:solidFill>
            <a:headEnd type="none" w="med" len="med"/>
            <a:tailEnd type="none" w="med" len="med"/>
          </a:ln>
          <a:effectLst>
            <a:outerShdw blurRad="152400" algn="ctr" rotWithShape="0">
              <a:schemeClr val="bg1">
                <a:alpha val="4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85" name="Freeform 170">
            <a:extLst>
              <a:ext uri="{FF2B5EF4-FFF2-40B4-BE49-F238E27FC236}">
                <a16:creationId xmlns:a16="http://schemas.microsoft.com/office/drawing/2014/main" id="{A2ABCF99-A3CB-081E-7E03-3C16FA91939A}"/>
              </a:ext>
              <a:ext uri="{C183D7F6-B498-43B3-948B-1728B52AA6E4}">
                <adec:decorative xmlns:adec="http://schemas.microsoft.com/office/drawing/2017/decorative" val="1"/>
              </a:ext>
            </a:extLst>
          </p:cNvPr>
          <p:cNvSpPr/>
          <p:nvPr/>
        </p:nvSpPr>
        <p:spPr bwMode="auto">
          <a:xfrm>
            <a:off x="8175209" y="3965305"/>
            <a:ext cx="657087" cy="798081"/>
          </a:xfrm>
          <a:custGeom>
            <a:avLst/>
            <a:gdLst>
              <a:gd name="connsiteX0" fmla="*/ 0 w 1306286"/>
              <a:gd name="connsiteY0" fmla="*/ 298580 h 1268963"/>
              <a:gd name="connsiteX1" fmla="*/ 1306286 w 1306286"/>
              <a:gd name="connsiteY1" fmla="*/ 0 h 1268963"/>
              <a:gd name="connsiteX2" fmla="*/ 765110 w 1306286"/>
              <a:gd name="connsiteY2" fmla="*/ 1268963 h 1268963"/>
            </a:gdLst>
            <a:ahLst/>
            <a:cxnLst>
              <a:cxn ang="0">
                <a:pos x="connsiteX0" y="connsiteY0"/>
              </a:cxn>
              <a:cxn ang="0">
                <a:pos x="connsiteX1" y="connsiteY1"/>
              </a:cxn>
              <a:cxn ang="0">
                <a:pos x="connsiteX2" y="connsiteY2"/>
              </a:cxn>
            </a:cxnLst>
            <a:rect l="l" t="t" r="r" b="b"/>
            <a:pathLst>
              <a:path w="1306286" h="1268963">
                <a:moveTo>
                  <a:pt x="0" y="298580"/>
                </a:moveTo>
                <a:lnTo>
                  <a:pt x="1306286" y="0"/>
                </a:lnTo>
                <a:lnTo>
                  <a:pt x="765110" y="126896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lt"/>
              <a:cs typeface="Segoe UI"/>
              <a:sym typeface="+mn-lt"/>
            </a:endParaRPr>
          </a:p>
        </p:txBody>
      </p:sp>
      <p:sp>
        <p:nvSpPr>
          <p:cNvPr id="286" name="Freeform 171">
            <a:extLst>
              <a:ext uri="{FF2B5EF4-FFF2-40B4-BE49-F238E27FC236}">
                <a16:creationId xmlns:a16="http://schemas.microsoft.com/office/drawing/2014/main" id="{5FC2408D-F0C1-5651-E9EF-61A24DF12E6F}"/>
              </a:ext>
              <a:ext uri="{C183D7F6-B498-43B3-948B-1728B52AA6E4}">
                <adec:decorative xmlns:adec="http://schemas.microsoft.com/office/drawing/2017/decorative" val="1"/>
              </a:ext>
            </a:extLst>
          </p:cNvPr>
          <p:cNvSpPr/>
          <p:nvPr/>
        </p:nvSpPr>
        <p:spPr bwMode="auto">
          <a:xfrm>
            <a:off x="576066" y="2803393"/>
            <a:ext cx="746664" cy="1631372"/>
          </a:xfrm>
          <a:custGeom>
            <a:avLst/>
            <a:gdLst>
              <a:gd name="connsiteX0" fmla="*/ 167951 w 1455575"/>
              <a:gd name="connsiteY0" fmla="*/ 0 h 2593910"/>
              <a:gd name="connsiteX1" fmla="*/ 1063690 w 1455575"/>
              <a:gd name="connsiteY1" fmla="*/ 167951 h 2593910"/>
              <a:gd name="connsiteX2" fmla="*/ 783771 w 1455575"/>
              <a:gd name="connsiteY2" fmla="*/ 895739 h 2593910"/>
              <a:gd name="connsiteX3" fmla="*/ 0 w 1455575"/>
              <a:gd name="connsiteY3" fmla="*/ 1063690 h 2593910"/>
              <a:gd name="connsiteX4" fmla="*/ 298579 w 1455575"/>
              <a:gd name="connsiteY4" fmla="*/ 2593910 h 2593910"/>
              <a:gd name="connsiteX5" fmla="*/ 1455575 w 1455575"/>
              <a:gd name="connsiteY5" fmla="*/ 2146041 h 2593910"/>
              <a:gd name="connsiteX0" fmla="*/ 0 w 1497801"/>
              <a:gd name="connsiteY0" fmla="*/ 0 h 2593910"/>
              <a:gd name="connsiteX1" fmla="*/ 1105916 w 1497801"/>
              <a:gd name="connsiteY1" fmla="*/ 167951 h 2593910"/>
              <a:gd name="connsiteX2" fmla="*/ 825997 w 1497801"/>
              <a:gd name="connsiteY2" fmla="*/ 895739 h 2593910"/>
              <a:gd name="connsiteX3" fmla="*/ 42226 w 1497801"/>
              <a:gd name="connsiteY3" fmla="*/ 1063690 h 2593910"/>
              <a:gd name="connsiteX4" fmla="*/ 340805 w 1497801"/>
              <a:gd name="connsiteY4" fmla="*/ 2593910 h 2593910"/>
              <a:gd name="connsiteX5" fmla="*/ 1497801 w 1497801"/>
              <a:gd name="connsiteY5" fmla="*/ 2146041 h 2593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7801" h="2593910">
                <a:moveTo>
                  <a:pt x="0" y="0"/>
                </a:moveTo>
                <a:lnTo>
                  <a:pt x="1105916" y="167951"/>
                </a:lnTo>
                <a:lnTo>
                  <a:pt x="825997" y="895739"/>
                </a:lnTo>
                <a:lnTo>
                  <a:pt x="42226" y="1063690"/>
                </a:lnTo>
                <a:lnTo>
                  <a:pt x="340805" y="2593910"/>
                </a:lnTo>
                <a:lnTo>
                  <a:pt x="1497801" y="2146041"/>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87" name="Freeform 176">
            <a:extLst>
              <a:ext uri="{FF2B5EF4-FFF2-40B4-BE49-F238E27FC236}">
                <a16:creationId xmlns:a16="http://schemas.microsoft.com/office/drawing/2014/main" id="{4C0F406C-FE1A-9F74-D4D9-C6B57AE82319}"/>
              </a:ext>
              <a:ext uri="{C183D7F6-B498-43B3-948B-1728B52AA6E4}">
                <adec:decorative xmlns:adec="http://schemas.microsoft.com/office/drawing/2017/decorative" val="1"/>
              </a:ext>
            </a:extLst>
          </p:cNvPr>
          <p:cNvSpPr/>
          <p:nvPr/>
        </p:nvSpPr>
        <p:spPr bwMode="auto">
          <a:xfrm>
            <a:off x="10568884" y="3249379"/>
            <a:ext cx="1047475" cy="1588110"/>
          </a:xfrm>
          <a:custGeom>
            <a:avLst/>
            <a:gdLst>
              <a:gd name="connsiteX0" fmla="*/ 2052735 w 2052735"/>
              <a:gd name="connsiteY0" fmla="*/ 0 h 2463282"/>
              <a:gd name="connsiteX1" fmla="*/ 877078 w 2052735"/>
              <a:gd name="connsiteY1" fmla="*/ 93306 h 2463282"/>
              <a:gd name="connsiteX2" fmla="*/ 0 w 2052735"/>
              <a:gd name="connsiteY2" fmla="*/ 2220686 h 2463282"/>
              <a:gd name="connsiteX3" fmla="*/ 1754156 w 2052735"/>
              <a:gd name="connsiteY3" fmla="*/ 2463282 h 2463282"/>
              <a:gd name="connsiteX0" fmla="*/ 2052735 w 2120245"/>
              <a:gd name="connsiteY0" fmla="*/ 0 h 2513765"/>
              <a:gd name="connsiteX1" fmla="*/ 877078 w 2120245"/>
              <a:gd name="connsiteY1" fmla="*/ 93306 h 2513765"/>
              <a:gd name="connsiteX2" fmla="*/ 0 w 2120245"/>
              <a:gd name="connsiteY2" fmla="*/ 2220686 h 2513765"/>
              <a:gd name="connsiteX3" fmla="*/ 2120245 w 2120245"/>
              <a:gd name="connsiteY3" fmla="*/ 2513765 h 2513765"/>
              <a:gd name="connsiteX0" fmla="*/ 2052735 w 2082374"/>
              <a:gd name="connsiteY0" fmla="*/ 0 h 2525124"/>
              <a:gd name="connsiteX1" fmla="*/ 877078 w 2082374"/>
              <a:gd name="connsiteY1" fmla="*/ 93306 h 2525124"/>
              <a:gd name="connsiteX2" fmla="*/ 0 w 2082374"/>
              <a:gd name="connsiteY2" fmla="*/ 2220686 h 2525124"/>
              <a:gd name="connsiteX3" fmla="*/ 2082374 w 2082374"/>
              <a:gd name="connsiteY3" fmla="*/ 2525124 h 2525124"/>
            </a:gdLst>
            <a:ahLst/>
            <a:cxnLst>
              <a:cxn ang="0">
                <a:pos x="connsiteX0" y="connsiteY0"/>
              </a:cxn>
              <a:cxn ang="0">
                <a:pos x="connsiteX1" y="connsiteY1"/>
              </a:cxn>
              <a:cxn ang="0">
                <a:pos x="connsiteX2" y="connsiteY2"/>
              </a:cxn>
              <a:cxn ang="0">
                <a:pos x="connsiteX3" y="connsiteY3"/>
              </a:cxn>
            </a:cxnLst>
            <a:rect l="l" t="t" r="r" b="b"/>
            <a:pathLst>
              <a:path w="2082374" h="2525124">
                <a:moveTo>
                  <a:pt x="2052735" y="0"/>
                </a:moveTo>
                <a:lnTo>
                  <a:pt x="877078" y="93306"/>
                </a:lnTo>
                <a:lnTo>
                  <a:pt x="0" y="2220686"/>
                </a:lnTo>
                <a:lnTo>
                  <a:pt x="2082374" y="2525124"/>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88" name="Freeform 177">
            <a:extLst>
              <a:ext uri="{FF2B5EF4-FFF2-40B4-BE49-F238E27FC236}">
                <a16:creationId xmlns:a16="http://schemas.microsoft.com/office/drawing/2014/main" id="{7061A46E-F23F-4FB9-BC63-974AE88B5DD9}"/>
              </a:ext>
              <a:ext uri="{C183D7F6-B498-43B3-948B-1728B52AA6E4}">
                <adec:decorative xmlns:adec="http://schemas.microsoft.com/office/drawing/2017/decorative" val="1"/>
              </a:ext>
            </a:extLst>
          </p:cNvPr>
          <p:cNvSpPr/>
          <p:nvPr/>
        </p:nvSpPr>
        <p:spPr bwMode="auto">
          <a:xfrm>
            <a:off x="4129429" y="1829264"/>
            <a:ext cx="1417431" cy="2323825"/>
          </a:xfrm>
          <a:custGeom>
            <a:avLst/>
            <a:gdLst>
              <a:gd name="connsiteX0" fmla="*/ 2817845 w 2817845"/>
              <a:gd name="connsiteY0" fmla="*/ 0 h 3694923"/>
              <a:gd name="connsiteX1" fmla="*/ 877078 w 2817845"/>
              <a:gd name="connsiteY1" fmla="*/ 1530221 h 3694923"/>
              <a:gd name="connsiteX2" fmla="*/ 2108719 w 2817845"/>
              <a:gd name="connsiteY2" fmla="*/ 1250302 h 3694923"/>
              <a:gd name="connsiteX3" fmla="*/ 0 w 2817845"/>
              <a:gd name="connsiteY3" fmla="*/ 2202025 h 3694923"/>
              <a:gd name="connsiteX4" fmla="*/ 2164702 w 2817845"/>
              <a:gd name="connsiteY4" fmla="*/ 2481943 h 3694923"/>
              <a:gd name="connsiteX5" fmla="*/ 1026368 w 2817845"/>
              <a:gd name="connsiteY5" fmla="*/ 3116425 h 3694923"/>
              <a:gd name="connsiteX6" fmla="*/ 503854 w 2817845"/>
              <a:gd name="connsiteY6" fmla="*/ 3694923 h 3694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7845" h="3694923">
                <a:moveTo>
                  <a:pt x="2817845" y="0"/>
                </a:moveTo>
                <a:lnTo>
                  <a:pt x="877078" y="1530221"/>
                </a:lnTo>
                <a:lnTo>
                  <a:pt x="2108719" y="1250302"/>
                </a:lnTo>
                <a:lnTo>
                  <a:pt x="0" y="2202025"/>
                </a:lnTo>
                <a:lnTo>
                  <a:pt x="2164702" y="2481943"/>
                </a:lnTo>
                <a:lnTo>
                  <a:pt x="1026368" y="3116425"/>
                </a:lnTo>
                <a:lnTo>
                  <a:pt x="503854" y="369492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89" name="Freeform 178">
            <a:extLst>
              <a:ext uri="{FF2B5EF4-FFF2-40B4-BE49-F238E27FC236}">
                <a16:creationId xmlns:a16="http://schemas.microsoft.com/office/drawing/2014/main" id="{851B9861-E659-605B-CBDC-4BC2DED2DD48}"/>
              </a:ext>
              <a:ext uri="{C183D7F6-B498-43B3-948B-1728B52AA6E4}">
                <adec:decorative xmlns:adec="http://schemas.microsoft.com/office/drawing/2017/decorative" val="1"/>
              </a:ext>
            </a:extLst>
          </p:cNvPr>
          <p:cNvSpPr/>
          <p:nvPr/>
        </p:nvSpPr>
        <p:spPr bwMode="auto">
          <a:xfrm>
            <a:off x="2589968" y="2803393"/>
            <a:ext cx="1539461" cy="2288615"/>
          </a:xfrm>
          <a:custGeom>
            <a:avLst/>
            <a:gdLst>
              <a:gd name="connsiteX0" fmla="*/ 317240 w 3060440"/>
              <a:gd name="connsiteY0" fmla="*/ 839755 h 3638939"/>
              <a:gd name="connsiteX1" fmla="*/ 1194318 w 3060440"/>
              <a:gd name="connsiteY1" fmla="*/ 298579 h 3638939"/>
              <a:gd name="connsiteX2" fmla="*/ 2444620 w 3060440"/>
              <a:gd name="connsiteY2" fmla="*/ 0 h 3638939"/>
              <a:gd name="connsiteX3" fmla="*/ 1343608 w 3060440"/>
              <a:gd name="connsiteY3" fmla="*/ 1810139 h 3638939"/>
              <a:gd name="connsiteX4" fmla="*/ 466530 w 3060440"/>
              <a:gd name="connsiteY4" fmla="*/ 877077 h 3638939"/>
              <a:gd name="connsiteX5" fmla="*/ 0 w 3060440"/>
              <a:gd name="connsiteY5" fmla="*/ 1623526 h 3638939"/>
              <a:gd name="connsiteX6" fmla="*/ 3060440 w 3060440"/>
              <a:gd name="connsiteY6" fmla="*/ 3638939 h 3638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0440" h="3638939">
                <a:moveTo>
                  <a:pt x="317240" y="839755"/>
                </a:moveTo>
                <a:lnTo>
                  <a:pt x="1194318" y="298579"/>
                </a:lnTo>
                <a:lnTo>
                  <a:pt x="2444620" y="0"/>
                </a:lnTo>
                <a:lnTo>
                  <a:pt x="1343608" y="1810139"/>
                </a:lnTo>
                <a:lnTo>
                  <a:pt x="466530" y="877077"/>
                </a:lnTo>
                <a:lnTo>
                  <a:pt x="0" y="1623526"/>
                </a:lnTo>
                <a:lnTo>
                  <a:pt x="3060440" y="3638939"/>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0" name="Freeform 179">
            <a:extLst>
              <a:ext uri="{FF2B5EF4-FFF2-40B4-BE49-F238E27FC236}">
                <a16:creationId xmlns:a16="http://schemas.microsoft.com/office/drawing/2014/main" id="{666CE51A-6169-59D3-5496-5BE12B5BAE3A}"/>
              </a:ext>
              <a:ext uri="{C183D7F6-B498-43B3-948B-1728B52AA6E4}">
                <adec:decorative xmlns:adec="http://schemas.microsoft.com/office/drawing/2017/decorative" val="1"/>
              </a:ext>
            </a:extLst>
          </p:cNvPr>
          <p:cNvSpPr/>
          <p:nvPr/>
        </p:nvSpPr>
        <p:spPr bwMode="auto">
          <a:xfrm>
            <a:off x="1557403" y="2181359"/>
            <a:ext cx="1163983" cy="845027"/>
          </a:xfrm>
          <a:custGeom>
            <a:avLst/>
            <a:gdLst>
              <a:gd name="connsiteX0" fmla="*/ 0 w 2313992"/>
              <a:gd name="connsiteY0" fmla="*/ 1007706 h 1343608"/>
              <a:gd name="connsiteX1" fmla="*/ 1045029 w 2313992"/>
              <a:gd name="connsiteY1" fmla="*/ 1343608 h 1343608"/>
              <a:gd name="connsiteX2" fmla="*/ 2108718 w 2313992"/>
              <a:gd name="connsiteY2" fmla="*/ 0 h 1343608"/>
              <a:gd name="connsiteX3" fmla="*/ 2108718 w 2313992"/>
              <a:gd name="connsiteY3" fmla="*/ 0 h 1343608"/>
              <a:gd name="connsiteX4" fmla="*/ 2313992 w 2313992"/>
              <a:gd name="connsiteY4" fmla="*/ 653143 h 1343608"/>
              <a:gd name="connsiteX5" fmla="*/ 1082351 w 2313992"/>
              <a:gd name="connsiteY5" fmla="*/ 1324947 h 134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3992" h="1343608">
                <a:moveTo>
                  <a:pt x="0" y="1007706"/>
                </a:moveTo>
                <a:lnTo>
                  <a:pt x="1045029" y="1343608"/>
                </a:lnTo>
                <a:lnTo>
                  <a:pt x="2108718" y="0"/>
                </a:lnTo>
                <a:lnTo>
                  <a:pt x="2108718" y="0"/>
                </a:lnTo>
                <a:lnTo>
                  <a:pt x="2313992" y="653143"/>
                </a:lnTo>
                <a:lnTo>
                  <a:pt x="1082351" y="1324947"/>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1" name="Freeform 180">
            <a:extLst>
              <a:ext uri="{FF2B5EF4-FFF2-40B4-BE49-F238E27FC236}">
                <a16:creationId xmlns:a16="http://schemas.microsoft.com/office/drawing/2014/main" id="{C70B2508-5BF6-DB8A-2020-EEB87FC245F0}"/>
              </a:ext>
              <a:ext uri="{C183D7F6-B498-43B3-948B-1728B52AA6E4}">
                <adec:decorative xmlns:adec="http://schemas.microsoft.com/office/drawing/2017/decorative" val="1"/>
              </a:ext>
            </a:extLst>
          </p:cNvPr>
          <p:cNvSpPr/>
          <p:nvPr/>
        </p:nvSpPr>
        <p:spPr bwMode="auto">
          <a:xfrm>
            <a:off x="1116215" y="2615609"/>
            <a:ext cx="3050762" cy="2441189"/>
          </a:xfrm>
          <a:custGeom>
            <a:avLst/>
            <a:gdLst>
              <a:gd name="connsiteX0" fmla="*/ 6064898 w 6064898"/>
              <a:gd name="connsiteY0" fmla="*/ 3881535 h 3881535"/>
              <a:gd name="connsiteX1" fmla="*/ 4348066 w 6064898"/>
              <a:gd name="connsiteY1" fmla="*/ 2164702 h 3881535"/>
              <a:gd name="connsiteX2" fmla="*/ 6027576 w 6064898"/>
              <a:gd name="connsiteY2" fmla="*/ 989045 h 3881535"/>
              <a:gd name="connsiteX3" fmla="*/ 6027576 w 6064898"/>
              <a:gd name="connsiteY3" fmla="*/ 186612 h 3881535"/>
              <a:gd name="connsiteX4" fmla="*/ 5299788 w 6064898"/>
              <a:gd name="connsiteY4" fmla="*/ 317241 h 3881535"/>
              <a:gd name="connsiteX5" fmla="*/ 3209731 w 6064898"/>
              <a:gd name="connsiteY5" fmla="*/ 0 h 3881535"/>
              <a:gd name="connsiteX6" fmla="*/ 3359021 w 6064898"/>
              <a:gd name="connsiteY6" fmla="*/ 1119674 h 3881535"/>
              <a:gd name="connsiteX7" fmla="*/ 317241 w 6064898"/>
              <a:gd name="connsiteY7" fmla="*/ 2463282 h 3881535"/>
              <a:gd name="connsiteX8" fmla="*/ 1306286 w 6064898"/>
              <a:gd name="connsiteY8" fmla="*/ 1287625 h 3881535"/>
              <a:gd name="connsiteX9" fmla="*/ 0 w 6064898"/>
              <a:gd name="connsiteY9" fmla="*/ 466531 h 3881535"/>
              <a:gd name="connsiteX10" fmla="*/ 858417 w 6064898"/>
              <a:gd name="connsiteY10" fmla="*/ 354563 h 3881535"/>
              <a:gd name="connsiteX11" fmla="*/ 1268964 w 6064898"/>
              <a:gd name="connsiteY11" fmla="*/ 1250302 h 3881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64898" h="3881535">
                <a:moveTo>
                  <a:pt x="6064898" y="3881535"/>
                </a:moveTo>
                <a:lnTo>
                  <a:pt x="4348066" y="2164702"/>
                </a:lnTo>
                <a:lnTo>
                  <a:pt x="6027576" y="989045"/>
                </a:lnTo>
                <a:lnTo>
                  <a:pt x="6027576" y="186612"/>
                </a:lnTo>
                <a:lnTo>
                  <a:pt x="5299788" y="317241"/>
                </a:lnTo>
                <a:lnTo>
                  <a:pt x="3209731" y="0"/>
                </a:lnTo>
                <a:lnTo>
                  <a:pt x="3359021" y="1119674"/>
                </a:lnTo>
                <a:lnTo>
                  <a:pt x="317241" y="2463282"/>
                </a:lnTo>
                <a:lnTo>
                  <a:pt x="1306286" y="1287625"/>
                </a:lnTo>
                <a:lnTo>
                  <a:pt x="0" y="466531"/>
                </a:lnTo>
                <a:lnTo>
                  <a:pt x="858417" y="354563"/>
                </a:lnTo>
                <a:lnTo>
                  <a:pt x="1268964" y="1250302"/>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2" name="Freeform 181">
            <a:extLst>
              <a:ext uri="{FF2B5EF4-FFF2-40B4-BE49-F238E27FC236}">
                <a16:creationId xmlns:a16="http://schemas.microsoft.com/office/drawing/2014/main" id="{2A9A3709-8E46-51DC-9FC1-D22784DDAB36}"/>
              </a:ext>
              <a:ext uri="{C183D7F6-B498-43B3-948B-1728B52AA6E4}">
                <adec:decorative xmlns:adec="http://schemas.microsoft.com/office/drawing/2017/decorative" val="1"/>
              </a:ext>
            </a:extLst>
          </p:cNvPr>
          <p:cNvSpPr/>
          <p:nvPr/>
        </p:nvSpPr>
        <p:spPr bwMode="auto">
          <a:xfrm>
            <a:off x="4176365" y="2709501"/>
            <a:ext cx="7425085" cy="2370770"/>
          </a:xfrm>
          <a:custGeom>
            <a:avLst/>
            <a:gdLst>
              <a:gd name="connsiteX0" fmla="*/ 14481110 w 14481110"/>
              <a:gd name="connsiteY0" fmla="*/ 0 h 3769567"/>
              <a:gd name="connsiteX1" fmla="*/ 11961844 w 14481110"/>
              <a:gd name="connsiteY1" fmla="*/ 895739 h 3769567"/>
              <a:gd name="connsiteX2" fmla="*/ 10599575 w 14481110"/>
              <a:gd name="connsiteY2" fmla="*/ 989045 h 3769567"/>
              <a:gd name="connsiteX3" fmla="*/ 9050693 w 14481110"/>
              <a:gd name="connsiteY3" fmla="*/ 914400 h 3769567"/>
              <a:gd name="connsiteX4" fmla="*/ 6699379 w 14481110"/>
              <a:gd name="connsiteY4" fmla="*/ 1212980 h 3769567"/>
              <a:gd name="connsiteX5" fmla="*/ 6736702 w 14481110"/>
              <a:gd name="connsiteY5" fmla="*/ 2052735 h 3769567"/>
              <a:gd name="connsiteX6" fmla="*/ 5710334 w 14481110"/>
              <a:gd name="connsiteY6" fmla="*/ 2799184 h 3769567"/>
              <a:gd name="connsiteX7" fmla="*/ 6736702 w 14481110"/>
              <a:gd name="connsiteY7" fmla="*/ 1212980 h 3769567"/>
              <a:gd name="connsiteX8" fmla="*/ 4348065 w 14481110"/>
              <a:gd name="connsiteY8" fmla="*/ 1660849 h 3769567"/>
              <a:gd name="connsiteX9" fmla="*/ 3750906 w 14481110"/>
              <a:gd name="connsiteY9" fmla="*/ 3321698 h 3769567"/>
              <a:gd name="connsiteX10" fmla="*/ 5710334 w 14481110"/>
              <a:gd name="connsiteY10" fmla="*/ 2761861 h 3769567"/>
              <a:gd name="connsiteX11" fmla="*/ 3097763 w 14481110"/>
              <a:gd name="connsiteY11" fmla="*/ 1474237 h 3769567"/>
              <a:gd name="connsiteX12" fmla="*/ 0 w 14481110"/>
              <a:gd name="connsiteY12" fmla="*/ 3769567 h 3769567"/>
              <a:gd name="connsiteX13" fmla="*/ 2575249 w 14481110"/>
              <a:gd name="connsiteY13" fmla="*/ 2313992 h 3769567"/>
              <a:gd name="connsiteX14" fmla="*/ 3676261 w 14481110"/>
              <a:gd name="connsiteY14" fmla="*/ 3247053 h 3769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81110" h="3769567">
                <a:moveTo>
                  <a:pt x="14481110" y="0"/>
                </a:moveTo>
                <a:lnTo>
                  <a:pt x="11961844" y="895739"/>
                </a:lnTo>
                <a:lnTo>
                  <a:pt x="10599575" y="989045"/>
                </a:lnTo>
                <a:lnTo>
                  <a:pt x="9050693" y="914400"/>
                </a:lnTo>
                <a:lnTo>
                  <a:pt x="6699379" y="1212980"/>
                </a:lnTo>
                <a:lnTo>
                  <a:pt x="6736702" y="2052735"/>
                </a:lnTo>
                <a:lnTo>
                  <a:pt x="5710334" y="2799184"/>
                </a:lnTo>
                <a:lnTo>
                  <a:pt x="6736702" y="1212980"/>
                </a:lnTo>
                <a:lnTo>
                  <a:pt x="4348065" y="1660849"/>
                </a:lnTo>
                <a:lnTo>
                  <a:pt x="3750906" y="3321698"/>
                </a:lnTo>
                <a:lnTo>
                  <a:pt x="5710334" y="2761861"/>
                </a:lnTo>
                <a:lnTo>
                  <a:pt x="3097763" y="1474237"/>
                </a:lnTo>
                <a:lnTo>
                  <a:pt x="0" y="3769567"/>
                </a:lnTo>
                <a:lnTo>
                  <a:pt x="2575249" y="2313992"/>
                </a:lnTo>
                <a:lnTo>
                  <a:pt x="3676261" y="324705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3" name="Freeform 182">
            <a:extLst>
              <a:ext uri="{FF2B5EF4-FFF2-40B4-BE49-F238E27FC236}">
                <a16:creationId xmlns:a16="http://schemas.microsoft.com/office/drawing/2014/main" id="{37BDA572-2D5F-F813-AE57-C68525D1A13E}"/>
              </a:ext>
              <a:ext uri="{C183D7F6-B498-43B3-948B-1728B52AA6E4}">
                <adec:decorative xmlns:adec="http://schemas.microsoft.com/office/drawing/2017/decorative" val="1"/>
              </a:ext>
            </a:extLst>
          </p:cNvPr>
          <p:cNvSpPr/>
          <p:nvPr/>
        </p:nvSpPr>
        <p:spPr bwMode="auto">
          <a:xfrm>
            <a:off x="590546" y="1817528"/>
            <a:ext cx="10400751" cy="3251007"/>
          </a:xfrm>
          <a:custGeom>
            <a:avLst/>
            <a:gdLst>
              <a:gd name="connsiteX0" fmla="*/ 0 w 20266090"/>
              <a:gd name="connsiteY0" fmla="*/ 1101012 h 5169159"/>
              <a:gd name="connsiteX1" fmla="*/ 1511559 w 20266090"/>
              <a:gd name="connsiteY1" fmla="*/ 1642188 h 5169159"/>
              <a:gd name="connsiteX2" fmla="*/ 3732245 w 20266090"/>
              <a:gd name="connsiteY2" fmla="*/ 522514 h 5169159"/>
              <a:gd name="connsiteX3" fmla="*/ 5952930 w 20266090"/>
              <a:gd name="connsiteY3" fmla="*/ 1604865 h 5169159"/>
              <a:gd name="connsiteX4" fmla="*/ 6643396 w 20266090"/>
              <a:gd name="connsiteY4" fmla="*/ 2220686 h 5169159"/>
              <a:gd name="connsiteX5" fmla="*/ 6400800 w 20266090"/>
              <a:gd name="connsiteY5" fmla="*/ 3452326 h 5169159"/>
              <a:gd name="connsiteX6" fmla="*/ 5001208 w 20266090"/>
              <a:gd name="connsiteY6" fmla="*/ 3433665 h 5169159"/>
              <a:gd name="connsiteX7" fmla="*/ 3564294 w 20266090"/>
              <a:gd name="connsiteY7" fmla="*/ 3228392 h 5169159"/>
              <a:gd name="connsiteX8" fmla="*/ 1007706 w 20266090"/>
              <a:gd name="connsiteY8" fmla="*/ 3732245 h 5169159"/>
              <a:gd name="connsiteX9" fmla="*/ 391885 w 20266090"/>
              <a:gd name="connsiteY9" fmla="*/ 2444620 h 5169159"/>
              <a:gd name="connsiteX10" fmla="*/ 1884783 w 20266090"/>
              <a:gd name="connsiteY10" fmla="*/ 2593910 h 5169159"/>
              <a:gd name="connsiteX11" fmla="*/ 2500604 w 20266090"/>
              <a:gd name="connsiteY11" fmla="*/ 1922106 h 5169159"/>
              <a:gd name="connsiteX12" fmla="*/ 3993502 w 20266090"/>
              <a:gd name="connsiteY12" fmla="*/ 2425959 h 5169159"/>
              <a:gd name="connsiteX13" fmla="*/ 6662057 w 20266090"/>
              <a:gd name="connsiteY13" fmla="*/ 2239347 h 5169159"/>
              <a:gd name="connsiteX14" fmla="*/ 7613779 w 20266090"/>
              <a:gd name="connsiteY14" fmla="*/ 1530220 h 5169159"/>
              <a:gd name="connsiteX15" fmla="*/ 6662057 w 20266090"/>
              <a:gd name="connsiteY15" fmla="*/ 1455575 h 5169159"/>
              <a:gd name="connsiteX16" fmla="*/ 9386596 w 20266090"/>
              <a:gd name="connsiteY16" fmla="*/ 18661 h 5169159"/>
              <a:gd name="connsiteX17" fmla="*/ 8714792 w 20266090"/>
              <a:gd name="connsiteY17" fmla="*/ 1287624 h 5169159"/>
              <a:gd name="connsiteX18" fmla="*/ 7651102 w 20266090"/>
              <a:gd name="connsiteY18" fmla="*/ 3135086 h 5169159"/>
              <a:gd name="connsiteX19" fmla="*/ 6680718 w 20266090"/>
              <a:gd name="connsiteY19" fmla="*/ 2239347 h 5169159"/>
              <a:gd name="connsiteX20" fmla="*/ 7109926 w 20266090"/>
              <a:gd name="connsiteY20" fmla="*/ 3769567 h 5169159"/>
              <a:gd name="connsiteX21" fmla="*/ 6680718 w 20266090"/>
              <a:gd name="connsiteY21" fmla="*/ 5169159 h 5169159"/>
              <a:gd name="connsiteX22" fmla="*/ 6400800 w 20266090"/>
              <a:gd name="connsiteY22" fmla="*/ 3452326 h 5169159"/>
              <a:gd name="connsiteX23" fmla="*/ 7091265 w 20266090"/>
              <a:gd name="connsiteY23" fmla="*/ 3769567 h 5169159"/>
              <a:gd name="connsiteX24" fmla="*/ 9797143 w 20266090"/>
              <a:gd name="connsiteY24" fmla="*/ 2873828 h 5169159"/>
              <a:gd name="connsiteX25" fmla="*/ 9274628 w 20266090"/>
              <a:gd name="connsiteY25" fmla="*/ 3732245 h 5169159"/>
              <a:gd name="connsiteX26" fmla="*/ 12465698 w 20266090"/>
              <a:gd name="connsiteY26" fmla="*/ 4217437 h 5169159"/>
              <a:gd name="connsiteX27" fmla="*/ 11122090 w 20266090"/>
              <a:gd name="connsiteY27" fmla="*/ 3041779 h 5169159"/>
              <a:gd name="connsiteX28" fmla="*/ 9815804 w 20266090"/>
              <a:gd name="connsiteY28" fmla="*/ 2911151 h 5169159"/>
              <a:gd name="connsiteX29" fmla="*/ 12092473 w 20266090"/>
              <a:gd name="connsiteY29" fmla="*/ 2444620 h 5169159"/>
              <a:gd name="connsiteX30" fmla="*/ 13566710 w 20266090"/>
              <a:gd name="connsiteY30" fmla="*/ 1810139 h 5169159"/>
              <a:gd name="connsiteX31" fmla="*/ 16272588 w 20266090"/>
              <a:gd name="connsiteY31" fmla="*/ 895739 h 5169159"/>
              <a:gd name="connsiteX32" fmla="*/ 18773192 w 20266090"/>
              <a:gd name="connsiteY32" fmla="*/ 2276669 h 5169159"/>
              <a:gd name="connsiteX33" fmla="*/ 19127755 w 20266090"/>
              <a:gd name="connsiteY33" fmla="*/ 2967135 h 5169159"/>
              <a:gd name="connsiteX34" fmla="*/ 19426334 w 20266090"/>
              <a:gd name="connsiteY34" fmla="*/ 4478694 h 5169159"/>
              <a:gd name="connsiteX35" fmla="*/ 18325322 w 20266090"/>
              <a:gd name="connsiteY35" fmla="*/ 3228392 h 5169159"/>
              <a:gd name="connsiteX36" fmla="*/ 19146416 w 20266090"/>
              <a:gd name="connsiteY36" fmla="*/ 3004457 h 5169159"/>
              <a:gd name="connsiteX37" fmla="*/ 20266090 w 20266090"/>
              <a:gd name="connsiteY37" fmla="*/ 2369975 h 5169159"/>
              <a:gd name="connsiteX38" fmla="*/ 18717208 w 20266090"/>
              <a:gd name="connsiteY38" fmla="*/ 2220686 h 5169159"/>
              <a:gd name="connsiteX39" fmla="*/ 18306661 w 20266090"/>
              <a:gd name="connsiteY39" fmla="*/ 3172408 h 5169159"/>
              <a:gd name="connsiteX40" fmla="*/ 17354939 w 20266090"/>
              <a:gd name="connsiteY40" fmla="*/ 2425959 h 5169159"/>
              <a:gd name="connsiteX41" fmla="*/ 16272588 w 20266090"/>
              <a:gd name="connsiteY41" fmla="*/ 858416 h 5169159"/>
              <a:gd name="connsiteX42" fmla="*/ 15787396 w 20266090"/>
              <a:gd name="connsiteY42" fmla="*/ 2276669 h 5169159"/>
              <a:gd name="connsiteX43" fmla="*/ 14518432 w 20266090"/>
              <a:gd name="connsiteY43" fmla="*/ 2220686 h 5169159"/>
              <a:gd name="connsiteX44" fmla="*/ 13604032 w 20266090"/>
              <a:gd name="connsiteY44" fmla="*/ 1772816 h 5169159"/>
              <a:gd name="connsiteX45" fmla="*/ 13417420 w 20266090"/>
              <a:gd name="connsiteY45" fmla="*/ 2687216 h 5169159"/>
              <a:gd name="connsiteX46" fmla="*/ 12185779 w 20266090"/>
              <a:gd name="connsiteY46" fmla="*/ 2407298 h 5169159"/>
              <a:gd name="connsiteX47" fmla="*/ 10767526 w 20266090"/>
              <a:gd name="connsiteY47" fmla="*/ 1660849 h 5169159"/>
              <a:gd name="connsiteX48" fmla="*/ 9778481 w 20266090"/>
              <a:gd name="connsiteY48" fmla="*/ 2873828 h 5169159"/>
              <a:gd name="connsiteX49" fmla="*/ 8733453 w 20266090"/>
              <a:gd name="connsiteY49" fmla="*/ 2481943 h 5169159"/>
              <a:gd name="connsiteX50" fmla="*/ 8733453 w 20266090"/>
              <a:gd name="connsiteY50" fmla="*/ 1250302 h 5169159"/>
              <a:gd name="connsiteX51" fmla="*/ 9815804 w 20266090"/>
              <a:gd name="connsiteY51" fmla="*/ 2873828 h 5169159"/>
              <a:gd name="connsiteX52" fmla="*/ 9367934 w 20266090"/>
              <a:gd name="connsiteY52" fmla="*/ 0 h 5169159"/>
              <a:gd name="connsiteX53" fmla="*/ 10804849 w 20266090"/>
              <a:gd name="connsiteY53" fmla="*/ 1660849 h 5169159"/>
              <a:gd name="connsiteX54" fmla="*/ 13585371 w 20266090"/>
              <a:gd name="connsiteY54" fmla="*/ 1791477 h 5169159"/>
              <a:gd name="connsiteX55" fmla="*/ 11532636 w 20266090"/>
              <a:gd name="connsiteY55" fmla="*/ 1399592 h 5169159"/>
              <a:gd name="connsiteX56" fmla="*/ 9367934 w 20266090"/>
              <a:gd name="connsiteY56" fmla="*/ 18661 h 5169159"/>
              <a:gd name="connsiteX57" fmla="*/ 13604032 w 20266090"/>
              <a:gd name="connsiteY57" fmla="*/ 1810139 h 516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0266090" h="5169159">
                <a:moveTo>
                  <a:pt x="0" y="1101012"/>
                </a:moveTo>
                <a:lnTo>
                  <a:pt x="1511559" y="1642188"/>
                </a:lnTo>
                <a:lnTo>
                  <a:pt x="3732245" y="522514"/>
                </a:lnTo>
                <a:lnTo>
                  <a:pt x="5952930" y="1604865"/>
                </a:lnTo>
                <a:lnTo>
                  <a:pt x="6643396" y="2220686"/>
                </a:lnTo>
                <a:lnTo>
                  <a:pt x="6400800" y="3452326"/>
                </a:lnTo>
                <a:lnTo>
                  <a:pt x="5001208" y="3433665"/>
                </a:lnTo>
                <a:lnTo>
                  <a:pt x="3564294" y="3228392"/>
                </a:lnTo>
                <a:lnTo>
                  <a:pt x="1007706" y="3732245"/>
                </a:lnTo>
                <a:lnTo>
                  <a:pt x="391885" y="2444620"/>
                </a:lnTo>
                <a:lnTo>
                  <a:pt x="1884783" y="2593910"/>
                </a:lnTo>
                <a:lnTo>
                  <a:pt x="2500604" y="1922106"/>
                </a:lnTo>
                <a:lnTo>
                  <a:pt x="3993502" y="2425959"/>
                </a:lnTo>
                <a:lnTo>
                  <a:pt x="6662057" y="2239347"/>
                </a:lnTo>
                <a:lnTo>
                  <a:pt x="7613779" y="1530220"/>
                </a:lnTo>
                <a:lnTo>
                  <a:pt x="6662057" y="1455575"/>
                </a:lnTo>
                <a:lnTo>
                  <a:pt x="9386596" y="18661"/>
                </a:lnTo>
                <a:lnTo>
                  <a:pt x="8714792" y="1287624"/>
                </a:lnTo>
                <a:lnTo>
                  <a:pt x="7651102" y="3135086"/>
                </a:lnTo>
                <a:lnTo>
                  <a:pt x="6680718" y="2239347"/>
                </a:lnTo>
                <a:lnTo>
                  <a:pt x="7109926" y="3769567"/>
                </a:lnTo>
                <a:lnTo>
                  <a:pt x="6680718" y="5169159"/>
                </a:lnTo>
                <a:lnTo>
                  <a:pt x="6400800" y="3452326"/>
                </a:lnTo>
                <a:lnTo>
                  <a:pt x="7091265" y="3769567"/>
                </a:lnTo>
                <a:lnTo>
                  <a:pt x="9797143" y="2873828"/>
                </a:lnTo>
                <a:lnTo>
                  <a:pt x="9274628" y="3732245"/>
                </a:lnTo>
                <a:lnTo>
                  <a:pt x="12465698" y="4217437"/>
                </a:lnTo>
                <a:lnTo>
                  <a:pt x="11122090" y="3041779"/>
                </a:lnTo>
                <a:lnTo>
                  <a:pt x="9815804" y="2911151"/>
                </a:lnTo>
                <a:lnTo>
                  <a:pt x="12092473" y="2444620"/>
                </a:lnTo>
                <a:lnTo>
                  <a:pt x="13566710" y="1810139"/>
                </a:lnTo>
                <a:lnTo>
                  <a:pt x="16272588" y="895739"/>
                </a:lnTo>
                <a:lnTo>
                  <a:pt x="18773192" y="2276669"/>
                </a:lnTo>
                <a:lnTo>
                  <a:pt x="19127755" y="2967135"/>
                </a:lnTo>
                <a:lnTo>
                  <a:pt x="19426334" y="4478694"/>
                </a:lnTo>
                <a:lnTo>
                  <a:pt x="18325322" y="3228392"/>
                </a:lnTo>
                <a:lnTo>
                  <a:pt x="19146416" y="3004457"/>
                </a:lnTo>
                <a:lnTo>
                  <a:pt x="20266090" y="2369975"/>
                </a:lnTo>
                <a:lnTo>
                  <a:pt x="18717208" y="2220686"/>
                </a:lnTo>
                <a:lnTo>
                  <a:pt x="18306661" y="3172408"/>
                </a:lnTo>
                <a:lnTo>
                  <a:pt x="17354939" y="2425959"/>
                </a:lnTo>
                <a:lnTo>
                  <a:pt x="16272588" y="858416"/>
                </a:lnTo>
                <a:lnTo>
                  <a:pt x="15787396" y="2276669"/>
                </a:lnTo>
                <a:lnTo>
                  <a:pt x="14518432" y="2220686"/>
                </a:lnTo>
                <a:lnTo>
                  <a:pt x="13604032" y="1772816"/>
                </a:lnTo>
                <a:lnTo>
                  <a:pt x="13417420" y="2687216"/>
                </a:lnTo>
                <a:lnTo>
                  <a:pt x="12185779" y="2407298"/>
                </a:lnTo>
                <a:lnTo>
                  <a:pt x="10767526" y="1660849"/>
                </a:lnTo>
                <a:lnTo>
                  <a:pt x="9778481" y="2873828"/>
                </a:lnTo>
                <a:lnTo>
                  <a:pt x="8733453" y="2481943"/>
                </a:lnTo>
                <a:lnTo>
                  <a:pt x="8733453" y="1250302"/>
                </a:lnTo>
                <a:lnTo>
                  <a:pt x="9815804" y="2873828"/>
                </a:lnTo>
                <a:lnTo>
                  <a:pt x="9367934" y="0"/>
                </a:lnTo>
                <a:lnTo>
                  <a:pt x="10804849" y="1660849"/>
                </a:lnTo>
                <a:lnTo>
                  <a:pt x="13585371" y="1791477"/>
                </a:lnTo>
                <a:lnTo>
                  <a:pt x="11532636" y="1399592"/>
                </a:lnTo>
                <a:lnTo>
                  <a:pt x="9367934" y="18661"/>
                </a:lnTo>
                <a:lnTo>
                  <a:pt x="13604032" y="1810139"/>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4" name="Freeform 183">
            <a:extLst>
              <a:ext uri="{FF2B5EF4-FFF2-40B4-BE49-F238E27FC236}">
                <a16:creationId xmlns:a16="http://schemas.microsoft.com/office/drawing/2014/main" id="{A7409BE4-5E13-5814-6C28-C047B2BEEB61}"/>
              </a:ext>
              <a:ext uri="{C183D7F6-B498-43B3-948B-1728B52AA6E4}">
                <adec:decorative xmlns:adec="http://schemas.microsoft.com/office/drawing/2017/decorative" val="1"/>
              </a:ext>
            </a:extLst>
          </p:cNvPr>
          <p:cNvSpPr/>
          <p:nvPr/>
        </p:nvSpPr>
        <p:spPr bwMode="auto">
          <a:xfrm>
            <a:off x="7546282" y="2380879"/>
            <a:ext cx="3031988" cy="2359034"/>
          </a:xfrm>
          <a:custGeom>
            <a:avLst/>
            <a:gdLst>
              <a:gd name="connsiteX0" fmla="*/ 6027576 w 6027576"/>
              <a:gd name="connsiteY0" fmla="*/ 3526971 h 3750906"/>
              <a:gd name="connsiteX1" fmla="*/ 3862874 w 6027576"/>
              <a:gd name="connsiteY1" fmla="*/ 2463281 h 3750906"/>
              <a:gd name="connsiteX2" fmla="*/ 2556588 w 6027576"/>
              <a:gd name="connsiteY2" fmla="*/ 2519265 h 3750906"/>
              <a:gd name="connsiteX3" fmla="*/ 2369976 w 6027576"/>
              <a:gd name="connsiteY3" fmla="*/ 1380930 h 3750906"/>
              <a:gd name="connsiteX4" fmla="*/ 3918857 w 6027576"/>
              <a:gd name="connsiteY4" fmla="*/ 2444620 h 3750906"/>
              <a:gd name="connsiteX5" fmla="*/ 4870580 w 6027576"/>
              <a:gd name="connsiteY5" fmla="*/ 2388636 h 3750906"/>
              <a:gd name="connsiteX6" fmla="*/ 2369976 w 6027576"/>
              <a:gd name="connsiteY6" fmla="*/ 1380930 h 3750906"/>
              <a:gd name="connsiteX7" fmla="*/ 1250302 w 6027576"/>
              <a:gd name="connsiteY7" fmla="*/ 2799183 h 3750906"/>
              <a:gd name="connsiteX8" fmla="*/ 2071396 w 6027576"/>
              <a:gd name="connsiteY8" fmla="*/ 3750906 h 3750906"/>
              <a:gd name="connsiteX9" fmla="*/ 0 w 6027576"/>
              <a:gd name="connsiteY9" fmla="*/ 2575249 h 3750906"/>
              <a:gd name="connsiteX10" fmla="*/ 1250302 w 6027576"/>
              <a:gd name="connsiteY10" fmla="*/ 2836506 h 3750906"/>
              <a:gd name="connsiteX11" fmla="*/ 74645 w 6027576"/>
              <a:gd name="connsiteY11" fmla="*/ 1791477 h 3750906"/>
              <a:gd name="connsiteX12" fmla="*/ 1101012 w 6027576"/>
              <a:gd name="connsiteY12" fmla="*/ 1343608 h 3750906"/>
              <a:gd name="connsiteX13" fmla="*/ 2892490 w 6027576"/>
              <a:gd name="connsiteY13" fmla="*/ 0 h 375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27576" h="3750906">
                <a:moveTo>
                  <a:pt x="6027576" y="3526971"/>
                </a:moveTo>
                <a:lnTo>
                  <a:pt x="3862874" y="2463281"/>
                </a:lnTo>
                <a:lnTo>
                  <a:pt x="2556588" y="2519265"/>
                </a:lnTo>
                <a:lnTo>
                  <a:pt x="2369976" y="1380930"/>
                </a:lnTo>
                <a:lnTo>
                  <a:pt x="3918857" y="2444620"/>
                </a:lnTo>
                <a:lnTo>
                  <a:pt x="4870580" y="2388636"/>
                </a:lnTo>
                <a:lnTo>
                  <a:pt x="2369976" y="1380930"/>
                </a:lnTo>
                <a:lnTo>
                  <a:pt x="1250302" y="2799183"/>
                </a:lnTo>
                <a:lnTo>
                  <a:pt x="2071396" y="3750906"/>
                </a:lnTo>
                <a:lnTo>
                  <a:pt x="0" y="2575249"/>
                </a:lnTo>
                <a:lnTo>
                  <a:pt x="1250302" y="2836506"/>
                </a:lnTo>
                <a:lnTo>
                  <a:pt x="74645" y="1791477"/>
                </a:lnTo>
                <a:lnTo>
                  <a:pt x="1101012" y="1343608"/>
                </a:lnTo>
                <a:lnTo>
                  <a:pt x="2892490" y="0"/>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37" name="Freeform 122">
            <a:extLst>
              <a:ext uri="{FF2B5EF4-FFF2-40B4-BE49-F238E27FC236}">
                <a16:creationId xmlns:a16="http://schemas.microsoft.com/office/drawing/2014/main" id="{148807AD-1B6E-D3AF-0A34-2FCD83D32704}"/>
              </a:ext>
              <a:ext uri="{C183D7F6-B498-43B3-948B-1728B52AA6E4}">
                <adec:decorative xmlns:adec="http://schemas.microsoft.com/office/drawing/2017/decorative" val="1"/>
              </a:ext>
            </a:extLst>
          </p:cNvPr>
          <p:cNvSpPr/>
          <p:nvPr/>
        </p:nvSpPr>
        <p:spPr>
          <a:xfrm>
            <a:off x="7955528" y="310186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a:ea typeface="+mn-lt"/>
              <a:cs typeface="Segoe UI"/>
              <a:sym typeface="+mn-lt"/>
            </a:endParaRPr>
          </a:p>
        </p:txBody>
      </p:sp>
      <p:sp>
        <p:nvSpPr>
          <p:cNvPr id="238" name="Freeform 123">
            <a:extLst>
              <a:ext uri="{FF2B5EF4-FFF2-40B4-BE49-F238E27FC236}">
                <a16:creationId xmlns:a16="http://schemas.microsoft.com/office/drawing/2014/main" id="{2EFB2A63-E277-3D11-FFCF-71684D2C9FFB}"/>
              </a:ext>
              <a:ext uri="{C183D7F6-B498-43B3-948B-1728B52AA6E4}">
                <adec:decorative xmlns:adec="http://schemas.microsoft.com/office/drawing/2017/decorative" val="1"/>
              </a:ext>
            </a:extLst>
          </p:cNvPr>
          <p:cNvSpPr/>
          <p:nvPr/>
        </p:nvSpPr>
        <p:spPr>
          <a:xfrm>
            <a:off x="6055006" y="2769220"/>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7000">
                <a:srgbClr val="7A46B2"/>
              </a:gs>
              <a:gs pos="91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39" name="Freeform 124">
            <a:extLst>
              <a:ext uri="{FF2B5EF4-FFF2-40B4-BE49-F238E27FC236}">
                <a16:creationId xmlns:a16="http://schemas.microsoft.com/office/drawing/2014/main" id="{0D126D72-EA1E-2CF7-C81A-B308CAD0FD4A}"/>
              </a:ext>
              <a:ext uri="{C183D7F6-B498-43B3-948B-1728B52AA6E4}">
                <adec:decorative xmlns:adec="http://schemas.microsoft.com/office/drawing/2017/decorative" val="1"/>
              </a:ext>
            </a:extLst>
          </p:cNvPr>
          <p:cNvSpPr/>
          <p:nvPr/>
        </p:nvSpPr>
        <p:spPr>
          <a:xfrm>
            <a:off x="2475527" y="3657136"/>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0" name="Freeform 125">
            <a:extLst>
              <a:ext uri="{FF2B5EF4-FFF2-40B4-BE49-F238E27FC236}">
                <a16:creationId xmlns:a16="http://schemas.microsoft.com/office/drawing/2014/main" id="{E9984B45-B80B-A6EA-D7AB-9B2ECDD98D92}"/>
              </a:ext>
              <a:ext uri="{C183D7F6-B498-43B3-948B-1728B52AA6E4}">
                <adec:decorative xmlns:adec="http://schemas.microsoft.com/office/drawing/2017/decorative" val="1"/>
              </a:ext>
            </a:extLst>
          </p:cNvPr>
          <p:cNvSpPr/>
          <p:nvPr/>
        </p:nvSpPr>
        <p:spPr>
          <a:xfrm>
            <a:off x="1623143" y="3298238"/>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1" name="Freeform 126">
            <a:extLst>
              <a:ext uri="{FF2B5EF4-FFF2-40B4-BE49-F238E27FC236}">
                <a16:creationId xmlns:a16="http://schemas.microsoft.com/office/drawing/2014/main" id="{42B2D2CD-0425-95A2-80CC-3D5D60D5CA81}"/>
              </a:ext>
              <a:ext uri="{C183D7F6-B498-43B3-948B-1728B52AA6E4}">
                <adec:decorative xmlns:adec="http://schemas.microsoft.com/office/drawing/2017/decorative" val="1"/>
              </a:ext>
            </a:extLst>
          </p:cNvPr>
          <p:cNvSpPr/>
          <p:nvPr/>
        </p:nvSpPr>
        <p:spPr>
          <a:xfrm>
            <a:off x="4094400" y="2597386"/>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2" name="Freeform 127">
            <a:extLst>
              <a:ext uri="{FF2B5EF4-FFF2-40B4-BE49-F238E27FC236}">
                <a16:creationId xmlns:a16="http://schemas.microsoft.com/office/drawing/2014/main" id="{0343D2ED-54C4-D68C-1D2D-83216BF750FC}"/>
              </a:ext>
              <a:ext uri="{C183D7F6-B498-43B3-948B-1728B52AA6E4}">
                <adec:decorative xmlns:adec="http://schemas.microsoft.com/office/drawing/2017/decorative" val="1"/>
              </a:ext>
            </a:extLst>
          </p:cNvPr>
          <p:cNvSpPr/>
          <p:nvPr/>
        </p:nvSpPr>
        <p:spPr>
          <a:xfrm>
            <a:off x="4269673" y="4059567"/>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4" name="Freeform 129">
            <a:extLst>
              <a:ext uri="{FF2B5EF4-FFF2-40B4-BE49-F238E27FC236}">
                <a16:creationId xmlns:a16="http://schemas.microsoft.com/office/drawing/2014/main" id="{09B11043-6C24-0953-F940-C29E1BFE0E65}"/>
              </a:ext>
              <a:ext uri="{C183D7F6-B498-43B3-948B-1728B52AA6E4}">
                <adec:decorative xmlns:adec="http://schemas.microsoft.com/office/drawing/2017/decorative" val="1"/>
              </a:ext>
            </a:extLst>
          </p:cNvPr>
          <p:cNvSpPr/>
          <p:nvPr/>
        </p:nvSpPr>
        <p:spPr>
          <a:xfrm>
            <a:off x="6268992" y="3619079"/>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5" name="Freeform 130">
            <a:extLst>
              <a:ext uri="{FF2B5EF4-FFF2-40B4-BE49-F238E27FC236}">
                <a16:creationId xmlns:a16="http://schemas.microsoft.com/office/drawing/2014/main" id="{4BA0CFB8-442B-1116-03E8-926BA8A2CC43}"/>
              </a:ext>
              <a:ext uri="{C183D7F6-B498-43B3-948B-1728B52AA6E4}">
                <adec:decorative xmlns:adec="http://schemas.microsoft.com/office/drawing/2017/decorative" val="1"/>
              </a:ext>
            </a:extLst>
          </p:cNvPr>
          <p:cNvSpPr/>
          <p:nvPr/>
        </p:nvSpPr>
        <p:spPr>
          <a:xfrm>
            <a:off x="3461701" y="3135252"/>
            <a:ext cx="288287" cy="2882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6" name="Freeform 131">
            <a:extLst>
              <a:ext uri="{FF2B5EF4-FFF2-40B4-BE49-F238E27FC236}">
                <a16:creationId xmlns:a16="http://schemas.microsoft.com/office/drawing/2014/main" id="{728E0E2C-55A1-DF8B-7876-B45C1FEF6006}"/>
              </a:ext>
              <a:ext uri="{C183D7F6-B498-43B3-948B-1728B52AA6E4}">
                <adec:decorative xmlns:adec="http://schemas.microsoft.com/office/drawing/2017/decorative" val="1"/>
              </a:ext>
            </a:extLst>
          </p:cNvPr>
          <p:cNvSpPr/>
          <p:nvPr/>
        </p:nvSpPr>
        <p:spPr>
          <a:xfrm>
            <a:off x="2653935" y="2552445"/>
            <a:ext cx="143410" cy="1433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7" name="Freeform 132">
            <a:extLst>
              <a:ext uri="{FF2B5EF4-FFF2-40B4-BE49-F238E27FC236}">
                <a16:creationId xmlns:a16="http://schemas.microsoft.com/office/drawing/2014/main" id="{2038F1B3-65F9-A0B9-91C3-5297CB03D921}"/>
              </a:ext>
              <a:ext uri="{C183D7F6-B498-43B3-948B-1728B52AA6E4}">
                <adec:decorative xmlns:adec="http://schemas.microsoft.com/office/drawing/2017/decorative" val="1"/>
              </a:ext>
            </a:extLst>
          </p:cNvPr>
          <p:cNvSpPr/>
          <p:nvPr/>
        </p:nvSpPr>
        <p:spPr>
          <a:xfrm>
            <a:off x="2714272" y="3227520"/>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8" name="Freeform 133">
            <a:extLst>
              <a:ext uri="{FF2B5EF4-FFF2-40B4-BE49-F238E27FC236}">
                <a16:creationId xmlns:a16="http://schemas.microsoft.com/office/drawing/2014/main" id="{C0C25E6A-717D-9304-C584-A1375AEE55FB}"/>
              </a:ext>
              <a:ext uri="{C183D7F6-B498-43B3-948B-1728B52AA6E4}">
                <adec:decorative xmlns:adec="http://schemas.microsoft.com/office/drawing/2017/decorative" val="1"/>
              </a:ext>
            </a:extLst>
          </p:cNvPr>
          <p:cNvSpPr/>
          <p:nvPr/>
        </p:nvSpPr>
        <p:spPr>
          <a:xfrm>
            <a:off x="905306" y="326872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9" name="Freeform 134">
            <a:extLst>
              <a:ext uri="{FF2B5EF4-FFF2-40B4-BE49-F238E27FC236}">
                <a16:creationId xmlns:a16="http://schemas.microsoft.com/office/drawing/2014/main" id="{5EDF6713-694A-AD92-C5C6-7087A72FFC0C}"/>
              </a:ext>
              <a:ext uri="{C183D7F6-B498-43B3-948B-1728B52AA6E4}">
                <adec:decorative xmlns:adec="http://schemas.microsoft.com/office/drawing/2017/decorative" val="1"/>
              </a:ext>
            </a:extLst>
          </p:cNvPr>
          <p:cNvSpPr/>
          <p:nvPr/>
        </p:nvSpPr>
        <p:spPr>
          <a:xfrm>
            <a:off x="3722628" y="2735383"/>
            <a:ext cx="180961" cy="18091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0" name="Freeform 135">
            <a:extLst>
              <a:ext uri="{FF2B5EF4-FFF2-40B4-BE49-F238E27FC236}">
                <a16:creationId xmlns:a16="http://schemas.microsoft.com/office/drawing/2014/main" id="{32CB5F3C-C1A0-49FA-F312-8E60E273CC26}"/>
              </a:ext>
              <a:ext uri="{C183D7F6-B498-43B3-948B-1728B52AA6E4}">
                <adec:decorative xmlns:adec="http://schemas.microsoft.com/office/drawing/2017/decorative" val="1"/>
              </a:ext>
            </a:extLst>
          </p:cNvPr>
          <p:cNvSpPr/>
          <p:nvPr/>
        </p:nvSpPr>
        <p:spPr>
          <a:xfrm>
            <a:off x="6475640" y="2608750"/>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7000">
                <a:srgbClr val="7A46B2"/>
              </a:gs>
              <a:gs pos="91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1" name="Freeform 136">
            <a:extLst>
              <a:ext uri="{FF2B5EF4-FFF2-40B4-BE49-F238E27FC236}">
                <a16:creationId xmlns:a16="http://schemas.microsoft.com/office/drawing/2014/main" id="{AC65B2A0-739C-2F03-6FED-FD54BC122D2C}"/>
              </a:ext>
              <a:ext uri="{C183D7F6-B498-43B3-948B-1728B52AA6E4}">
                <adec:decorative xmlns:adec="http://schemas.microsoft.com/office/drawing/2017/decorative" val="1"/>
              </a:ext>
            </a:extLst>
          </p:cNvPr>
          <p:cNvSpPr/>
          <p:nvPr/>
        </p:nvSpPr>
        <p:spPr>
          <a:xfrm>
            <a:off x="4078048" y="3141518"/>
            <a:ext cx="181970" cy="18191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2" name="Freeform 137">
            <a:extLst>
              <a:ext uri="{FF2B5EF4-FFF2-40B4-BE49-F238E27FC236}">
                <a16:creationId xmlns:a16="http://schemas.microsoft.com/office/drawing/2014/main" id="{534FBD99-BEB6-8BC1-A36D-F0794141F5F3}"/>
              </a:ext>
              <a:ext uri="{C183D7F6-B498-43B3-948B-1728B52AA6E4}">
                <adec:decorative xmlns:adec="http://schemas.microsoft.com/office/drawing/2017/decorative" val="1"/>
              </a:ext>
            </a:extLst>
          </p:cNvPr>
          <p:cNvSpPr/>
          <p:nvPr/>
        </p:nvSpPr>
        <p:spPr>
          <a:xfrm>
            <a:off x="8641112" y="3779222"/>
            <a:ext cx="372271" cy="37216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4" name="Freeform 139">
            <a:extLst>
              <a:ext uri="{FF2B5EF4-FFF2-40B4-BE49-F238E27FC236}">
                <a16:creationId xmlns:a16="http://schemas.microsoft.com/office/drawing/2014/main" id="{CD72CF52-1141-05A3-7C96-4CD10690656E}"/>
              </a:ext>
              <a:ext uri="{C183D7F6-B498-43B3-948B-1728B52AA6E4}">
                <adec:decorative xmlns:adec="http://schemas.microsoft.com/office/drawing/2017/decorative" val="1"/>
              </a:ext>
            </a:extLst>
          </p:cNvPr>
          <p:cNvSpPr/>
          <p:nvPr/>
        </p:nvSpPr>
        <p:spPr>
          <a:xfrm>
            <a:off x="6829081" y="3201011"/>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5" name="Freeform 140">
            <a:extLst>
              <a:ext uri="{FF2B5EF4-FFF2-40B4-BE49-F238E27FC236}">
                <a16:creationId xmlns:a16="http://schemas.microsoft.com/office/drawing/2014/main" id="{98D0D26C-C3A2-E693-9695-AB9478A99732}"/>
              </a:ext>
              <a:ext uri="{C183D7F6-B498-43B3-948B-1728B52AA6E4}">
                <adec:decorative xmlns:adec="http://schemas.microsoft.com/office/drawing/2017/decorative" val="1"/>
              </a:ext>
            </a:extLst>
          </p:cNvPr>
          <p:cNvSpPr/>
          <p:nvPr/>
        </p:nvSpPr>
        <p:spPr>
          <a:xfrm>
            <a:off x="7459231" y="3937024"/>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6" name="Freeform 141">
            <a:extLst>
              <a:ext uri="{FF2B5EF4-FFF2-40B4-BE49-F238E27FC236}">
                <a16:creationId xmlns:a16="http://schemas.microsoft.com/office/drawing/2014/main" id="{BA608656-DB8B-CA42-1BD7-BB64678D6622}"/>
              </a:ext>
              <a:ext uri="{C183D7F6-B498-43B3-948B-1728B52AA6E4}">
                <adec:decorative xmlns:adec="http://schemas.microsoft.com/office/drawing/2017/decorative" val="1"/>
              </a:ext>
            </a:extLst>
          </p:cNvPr>
          <p:cNvSpPr/>
          <p:nvPr/>
        </p:nvSpPr>
        <p:spPr>
          <a:xfrm>
            <a:off x="9880877" y="3668144"/>
            <a:ext cx="298434" cy="29835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E14C7B"/>
              </a:gs>
              <a:gs pos="20000">
                <a:srgbClr val="B5429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7" name="Freeform 142">
            <a:extLst>
              <a:ext uri="{FF2B5EF4-FFF2-40B4-BE49-F238E27FC236}">
                <a16:creationId xmlns:a16="http://schemas.microsoft.com/office/drawing/2014/main" id="{80AF89C5-F6FD-9488-B308-C9DDA4FBFB3A}"/>
              </a:ext>
              <a:ext uri="{C183D7F6-B498-43B3-948B-1728B52AA6E4}">
                <adec:decorative xmlns:adec="http://schemas.microsoft.com/office/drawing/2017/decorative" val="1"/>
              </a:ext>
            </a:extLst>
          </p:cNvPr>
          <p:cNvSpPr/>
          <p:nvPr/>
        </p:nvSpPr>
        <p:spPr>
          <a:xfrm>
            <a:off x="3107756" y="2877703"/>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8" name="Freeform 143">
            <a:extLst>
              <a:ext uri="{FF2B5EF4-FFF2-40B4-BE49-F238E27FC236}">
                <a16:creationId xmlns:a16="http://schemas.microsoft.com/office/drawing/2014/main" id="{73E09ADC-BF2A-4F12-1BD2-271F158DF115}"/>
              </a:ext>
              <a:ext uri="{C183D7F6-B498-43B3-948B-1728B52AA6E4}">
                <adec:decorative xmlns:adec="http://schemas.microsoft.com/office/drawing/2017/decorative" val="1"/>
              </a:ext>
            </a:extLst>
          </p:cNvPr>
          <p:cNvSpPr/>
          <p:nvPr/>
        </p:nvSpPr>
        <p:spPr>
          <a:xfrm>
            <a:off x="5310103" y="1765570"/>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9" name="Freeform 144">
            <a:extLst>
              <a:ext uri="{FF2B5EF4-FFF2-40B4-BE49-F238E27FC236}">
                <a16:creationId xmlns:a16="http://schemas.microsoft.com/office/drawing/2014/main" id="{D73E7D57-B1D7-B4D1-A829-C071D81F116F}"/>
              </a:ext>
              <a:ext uri="{C183D7F6-B498-43B3-948B-1728B52AA6E4}">
                <adec:decorative xmlns:adec="http://schemas.microsoft.com/office/drawing/2017/decorative" val="1"/>
              </a:ext>
            </a:extLst>
          </p:cNvPr>
          <p:cNvSpPr/>
          <p:nvPr/>
        </p:nvSpPr>
        <p:spPr>
          <a:xfrm>
            <a:off x="1417675" y="2689997"/>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0" name="Freeform 145">
            <a:extLst>
              <a:ext uri="{FF2B5EF4-FFF2-40B4-BE49-F238E27FC236}">
                <a16:creationId xmlns:a16="http://schemas.microsoft.com/office/drawing/2014/main" id="{846541E2-5772-538E-55B3-DCA9E161C523}"/>
              </a:ext>
              <a:ext uri="{C183D7F6-B498-43B3-948B-1728B52AA6E4}">
                <adec:decorative xmlns:adec="http://schemas.microsoft.com/office/drawing/2017/decorative" val="1"/>
              </a:ext>
            </a:extLst>
          </p:cNvPr>
          <p:cNvSpPr/>
          <p:nvPr/>
        </p:nvSpPr>
        <p:spPr>
          <a:xfrm>
            <a:off x="1015943" y="2844081"/>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1" name="Freeform 146">
            <a:extLst>
              <a:ext uri="{FF2B5EF4-FFF2-40B4-BE49-F238E27FC236}">
                <a16:creationId xmlns:a16="http://schemas.microsoft.com/office/drawing/2014/main" id="{C82FB6AC-92E9-9619-92DC-3A10B5A5895E}"/>
              </a:ext>
              <a:ext uri="{C183D7F6-B498-43B3-948B-1728B52AA6E4}">
                <adec:decorative xmlns:adec="http://schemas.microsoft.com/office/drawing/2017/decorative" val="1"/>
              </a:ext>
            </a:extLst>
          </p:cNvPr>
          <p:cNvSpPr/>
          <p:nvPr/>
        </p:nvSpPr>
        <p:spPr>
          <a:xfrm>
            <a:off x="2486912" y="2075375"/>
            <a:ext cx="282465" cy="28238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2" name="Freeform 147">
            <a:extLst>
              <a:ext uri="{FF2B5EF4-FFF2-40B4-BE49-F238E27FC236}">
                <a16:creationId xmlns:a16="http://schemas.microsoft.com/office/drawing/2014/main" id="{0FB85ECF-C0C8-FA8A-5BE9-5B568E18C9D7}"/>
              </a:ext>
              <a:ext uri="{C183D7F6-B498-43B3-948B-1728B52AA6E4}">
                <adec:decorative xmlns:adec="http://schemas.microsoft.com/office/drawing/2017/decorative" val="1"/>
              </a:ext>
            </a:extLst>
          </p:cNvPr>
          <p:cNvSpPr/>
          <p:nvPr/>
        </p:nvSpPr>
        <p:spPr>
          <a:xfrm>
            <a:off x="9311846" y="3149193"/>
            <a:ext cx="372271" cy="37216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3" name="Freeform 148">
            <a:extLst>
              <a:ext uri="{FF2B5EF4-FFF2-40B4-BE49-F238E27FC236}">
                <a16:creationId xmlns:a16="http://schemas.microsoft.com/office/drawing/2014/main" id="{C91C0C33-5D01-EAE9-8552-D91C21B43676}"/>
              </a:ext>
              <a:ext uri="{C183D7F6-B498-43B3-948B-1728B52AA6E4}">
                <adec:decorative xmlns:adec="http://schemas.microsoft.com/office/drawing/2017/decorative" val="1"/>
              </a:ext>
            </a:extLst>
          </p:cNvPr>
          <p:cNvSpPr/>
          <p:nvPr/>
        </p:nvSpPr>
        <p:spPr>
          <a:xfrm>
            <a:off x="8602398" y="3161303"/>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4" name="Freeform 149">
            <a:extLst>
              <a:ext uri="{FF2B5EF4-FFF2-40B4-BE49-F238E27FC236}">
                <a16:creationId xmlns:a16="http://schemas.microsoft.com/office/drawing/2014/main" id="{8F82EFC4-844F-931F-5055-FDFFE4098C16}"/>
              </a:ext>
              <a:ext uri="{C183D7F6-B498-43B3-948B-1728B52AA6E4}">
                <adec:decorative xmlns:adec="http://schemas.microsoft.com/office/drawing/2017/decorative" val="1"/>
              </a:ext>
            </a:extLst>
          </p:cNvPr>
          <p:cNvSpPr/>
          <p:nvPr/>
        </p:nvSpPr>
        <p:spPr>
          <a:xfrm>
            <a:off x="8845615" y="227744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5" name="Freeform 150">
            <a:extLst>
              <a:ext uri="{FF2B5EF4-FFF2-40B4-BE49-F238E27FC236}">
                <a16:creationId xmlns:a16="http://schemas.microsoft.com/office/drawing/2014/main" id="{9A5A136E-D5BB-D8AD-1836-29611D37279C}"/>
              </a:ext>
              <a:ext uri="{C183D7F6-B498-43B3-948B-1728B52AA6E4}">
                <adec:decorative xmlns:adec="http://schemas.microsoft.com/office/drawing/2017/decorative" val="1"/>
              </a:ext>
            </a:extLst>
          </p:cNvPr>
          <p:cNvSpPr/>
          <p:nvPr/>
        </p:nvSpPr>
        <p:spPr>
          <a:xfrm>
            <a:off x="7499348" y="2821096"/>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6" name="Freeform 151">
            <a:extLst>
              <a:ext uri="{FF2B5EF4-FFF2-40B4-BE49-F238E27FC236}">
                <a16:creationId xmlns:a16="http://schemas.microsoft.com/office/drawing/2014/main" id="{3EFF771C-2C32-961F-2870-AF4DFB3CC2EE}"/>
              </a:ext>
              <a:ext uri="{C183D7F6-B498-43B3-948B-1728B52AA6E4}">
                <adec:decorative xmlns:adec="http://schemas.microsoft.com/office/drawing/2017/decorative" val="1"/>
              </a:ext>
            </a:extLst>
          </p:cNvPr>
          <p:cNvSpPr/>
          <p:nvPr/>
        </p:nvSpPr>
        <p:spPr>
          <a:xfrm>
            <a:off x="9353513" y="3822045"/>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32000">
                <a:srgbClr val="CA429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7" name="Freeform 152">
            <a:extLst>
              <a:ext uri="{FF2B5EF4-FFF2-40B4-BE49-F238E27FC236}">
                <a16:creationId xmlns:a16="http://schemas.microsoft.com/office/drawing/2014/main" id="{DDBE47CC-9BE3-1A2B-A789-8AB396E68D61}"/>
              </a:ext>
              <a:ext uri="{C183D7F6-B498-43B3-948B-1728B52AA6E4}">
                <adec:decorative xmlns:adec="http://schemas.microsoft.com/office/drawing/2017/decorative" val="1"/>
              </a:ext>
            </a:extLst>
          </p:cNvPr>
          <p:cNvSpPr/>
          <p:nvPr/>
        </p:nvSpPr>
        <p:spPr>
          <a:xfrm>
            <a:off x="5617276" y="351276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67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8" name="Freeform 153">
            <a:extLst>
              <a:ext uri="{FF2B5EF4-FFF2-40B4-BE49-F238E27FC236}">
                <a16:creationId xmlns:a16="http://schemas.microsoft.com/office/drawing/2014/main" id="{A986F479-3F93-8132-19CC-A13CF837B2E7}"/>
              </a:ext>
              <a:ext uri="{C183D7F6-B498-43B3-948B-1728B52AA6E4}">
                <adec:decorative xmlns:adec="http://schemas.microsoft.com/office/drawing/2017/decorative" val="1"/>
              </a:ext>
            </a:extLst>
          </p:cNvPr>
          <p:cNvSpPr/>
          <p:nvPr/>
        </p:nvSpPr>
        <p:spPr>
          <a:xfrm>
            <a:off x="5065466" y="3262225"/>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67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9" name="Freeform 154">
            <a:extLst>
              <a:ext uri="{FF2B5EF4-FFF2-40B4-BE49-F238E27FC236}">
                <a16:creationId xmlns:a16="http://schemas.microsoft.com/office/drawing/2014/main" id="{50470145-7CA9-8321-0428-E9ADE889FEC2}"/>
              </a:ext>
              <a:ext uri="{C183D7F6-B498-43B3-948B-1728B52AA6E4}">
                <adec:decorative xmlns:adec="http://schemas.microsoft.com/office/drawing/2017/decorative" val="1"/>
              </a:ext>
            </a:extLst>
          </p:cNvPr>
          <p:cNvSpPr/>
          <p:nvPr/>
        </p:nvSpPr>
        <p:spPr>
          <a:xfrm>
            <a:off x="3935940" y="3885741"/>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0" name="Freeform 155">
            <a:extLst>
              <a:ext uri="{FF2B5EF4-FFF2-40B4-BE49-F238E27FC236}">
                <a16:creationId xmlns:a16="http://schemas.microsoft.com/office/drawing/2014/main" id="{CFDD26EC-B1E5-55C9-407C-7B40F663C02D}"/>
              </a:ext>
              <a:ext uri="{C183D7F6-B498-43B3-948B-1728B52AA6E4}">
                <adec:decorative xmlns:adec="http://schemas.microsoft.com/office/drawing/2017/decorative" val="1"/>
              </a:ext>
            </a:extLst>
          </p:cNvPr>
          <p:cNvSpPr/>
          <p:nvPr/>
        </p:nvSpPr>
        <p:spPr>
          <a:xfrm>
            <a:off x="1205886" y="404363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2" name="Freeform 157">
            <a:extLst>
              <a:ext uri="{FF2B5EF4-FFF2-40B4-BE49-F238E27FC236}">
                <a16:creationId xmlns:a16="http://schemas.microsoft.com/office/drawing/2014/main" id="{77699779-B048-1A19-9D96-9477B340196B}"/>
              </a:ext>
              <a:ext uri="{C183D7F6-B498-43B3-948B-1728B52AA6E4}">
                <adec:decorative xmlns:adec="http://schemas.microsoft.com/office/drawing/2017/decorative" val="1"/>
              </a:ext>
            </a:extLst>
          </p:cNvPr>
          <p:cNvSpPr/>
          <p:nvPr/>
        </p:nvSpPr>
        <p:spPr>
          <a:xfrm>
            <a:off x="7423815" y="3374095"/>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5" name="Freeform 160">
            <a:extLst>
              <a:ext uri="{FF2B5EF4-FFF2-40B4-BE49-F238E27FC236}">
                <a16:creationId xmlns:a16="http://schemas.microsoft.com/office/drawing/2014/main" id="{D7275DC6-4642-1AAF-2536-8F963FBD8413}"/>
              </a:ext>
              <a:ext uri="{C183D7F6-B498-43B3-948B-1728B52AA6E4}">
                <adec:decorative xmlns:adec="http://schemas.microsoft.com/office/drawing/2017/decorative" val="1"/>
              </a:ext>
            </a:extLst>
          </p:cNvPr>
          <p:cNvSpPr/>
          <p:nvPr/>
        </p:nvSpPr>
        <p:spPr>
          <a:xfrm>
            <a:off x="10127694" y="3159108"/>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500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6" name="Freeform 161">
            <a:extLst>
              <a:ext uri="{FF2B5EF4-FFF2-40B4-BE49-F238E27FC236}">
                <a16:creationId xmlns:a16="http://schemas.microsoft.com/office/drawing/2014/main" id="{5E305CB5-0097-D7C0-8F4A-7B74412491AE}"/>
              </a:ext>
              <a:ext uri="{C183D7F6-B498-43B3-948B-1728B52AA6E4}">
                <adec:decorative xmlns:adec="http://schemas.microsoft.com/office/drawing/2017/decorative" val="1"/>
              </a:ext>
            </a:extLst>
          </p:cNvPr>
          <p:cNvSpPr/>
          <p:nvPr/>
        </p:nvSpPr>
        <p:spPr>
          <a:xfrm>
            <a:off x="8032947" y="4037776"/>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7" name="Freeform 162">
            <a:extLst>
              <a:ext uri="{FF2B5EF4-FFF2-40B4-BE49-F238E27FC236}">
                <a16:creationId xmlns:a16="http://schemas.microsoft.com/office/drawing/2014/main" id="{1A193805-03C8-A48A-76C0-89112C42B07D}"/>
              </a:ext>
              <a:ext uri="{C183D7F6-B498-43B3-948B-1728B52AA6E4}">
                <adec:decorative xmlns:adec="http://schemas.microsoft.com/office/drawing/2017/decorative" val="1"/>
              </a:ext>
            </a:extLst>
          </p:cNvPr>
          <p:cNvSpPr/>
          <p:nvPr/>
        </p:nvSpPr>
        <p:spPr>
          <a:xfrm>
            <a:off x="3141150" y="3820875"/>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8" name="Freeform 163">
            <a:extLst>
              <a:ext uri="{FF2B5EF4-FFF2-40B4-BE49-F238E27FC236}">
                <a16:creationId xmlns:a16="http://schemas.microsoft.com/office/drawing/2014/main" id="{A0C1CE7A-037C-D716-4423-1F07AC294A2A}"/>
              </a:ext>
              <a:ext uri="{C183D7F6-B498-43B3-948B-1728B52AA6E4}">
                <adec:decorative xmlns:adec="http://schemas.microsoft.com/office/drawing/2017/decorative" val="1"/>
              </a:ext>
            </a:extLst>
          </p:cNvPr>
          <p:cNvSpPr/>
          <p:nvPr/>
        </p:nvSpPr>
        <p:spPr>
          <a:xfrm>
            <a:off x="10306093" y="3579197"/>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E14C7B"/>
              </a:gs>
              <a:gs pos="20000">
                <a:srgbClr val="B5429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9" name="Freeform 164">
            <a:extLst>
              <a:ext uri="{FF2B5EF4-FFF2-40B4-BE49-F238E27FC236}">
                <a16:creationId xmlns:a16="http://schemas.microsoft.com/office/drawing/2014/main" id="{711B4B78-F52B-DDD1-63F4-6499C621DA87}"/>
              </a:ext>
              <a:ext uri="{C183D7F6-B498-43B3-948B-1728B52AA6E4}">
                <adec:decorative xmlns:adec="http://schemas.microsoft.com/office/drawing/2017/decorative" val="1"/>
              </a:ext>
            </a:extLst>
          </p:cNvPr>
          <p:cNvSpPr/>
          <p:nvPr/>
        </p:nvSpPr>
        <p:spPr>
          <a:xfrm>
            <a:off x="4481993" y="270078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0" name="Freeform 165">
            <a:extLst>
              <a:ext uri="{FF2B5EF4-FFF2-40B4-BE49-F238E27FC236}">
                <a16:creationId xmlns:a16="http://schemas.microsoft.com/office/drawing/2014/main" id="{0587E195-AD90-5EF0-6AEC-B4495381A71F}"/>
              </a:ext>
              <a:ext uri="{C183D7F6-B498-43B3-948B-1728B52AA6E4}">
                <adec:decorative xmlns:adec="http://schemas.microsoft.com/office/drawing/2017/decorative" val="1"/>
              </a:ext>
            </a:extLst>
          </p:cNvPr>
          <p:cNvSpPr/>
          <p:nvPr/>
        </p:nvSpPr>
        <p:spPr>
          <a:xfrm>
            <a:off x="4512249" y="3619079"/>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1" name="Freeform 166">
            <a:extLst>
              <a:ext uri="{FF2B5EF4-FFF2-40B4-BE49-F238E27FC236}">
                <a16:creationId xmlns:a16="http://schemas.microsoft.com/office/drawing/2014/main" id="{AD941B36-357B-A4EB-76C3-0BFCC61F4873}"/>
              </a:ext>
              <a:ext uri="{C183D7F6-B498-43B3-948B-1728B52AA6E4}">
                <adec:decorative xmlns:adec="http://schemas.microsoft.com/office/drawing/2017/decorative" val="1"/>
              </a:ext>
            </a:extLst>
          </p:cNvPr>
          <p:cNvSpPr/>
          <p:nvPr/>
        </p:nvSpPr>
        <p:spPr>
          <a:xfrm>
            <a:off x="5077047" y="253698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2" name="Freeform 167">
            <a:extLst>
              <a:ext uri="{FF2B5EF4-FFF2-40B4-BE49-F238E27FC236}">
                <a16:creationId xmlns:a16="http://schemas.microsoft.com/office/drawing/2014/main" id="{ECEAA7D5-724C-BF33-BFEF-EA09CFDDA32A}"/>
              </a:ext>
              <a:ext uri="{C183D7F6-B498-43B3-948B-1728B52AA6E4}">
                <adec:decorative xmlns:adec="http://schemas.microsoft.com/office/drawing/2017/decorative" val="1"/>
              </a:ext>
            </a:extLst>
          </p:cNvPr>
          <p:cNvSpPr/>
          <p:nvPr/>
        </p:nvSpPr>
        <p:spPr>
          <a:xfrm>
            <a:off x="5355677" y="405450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67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4" name="Freeform 169">
            <a:extLst>
              <a:ext uri="{FF2B5EF4-FFF2-40B4-BE49-F238E27FC236}">
                <a16:creationId xmlns:a16="http://schemas.microsoft.com/office/drawing/2014/main" id="{910AE3DE-4FC4-2193-A25E-BB4877B929BB}"/>
              </a:ext>
              <a:ext uri="{C183D7F6-B498-43B3-948B-1728B52AA6E4}">
                <adec:decorative xmlns:adec="http://schemas.microsoft.com/office/drawing/2017/decorative" val="1"/>
              </a:ext>
            </a:extLst>
          </p:cNvPr>
          <p:cNvSpPr/>
          <p:nvPr/>
        </p:nvSpPr>
        <p:spPr>
          <a:xfrm>
            <a:off x="1986071" y="2930368"/>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73" name="TextBox 172">
            <a:extLst>
              <a:ext uri="{FF2B5EF4-FFF2-40B4-BE49-F238E27FC236}">
                <a16:creationId xmlns:a16="http://schemas.microsoft.com/office/drawing/2014/main" id="{7518F6FB-D11D-FD98-453B-0F0A274D1505}"/>
              </a:ext>
            </a:extLst>
          </p:cNvPr>
          <p:cNvSpPr txBox="1"/>
          <p:nvPr/>
        </p:nvSpPr>
        <p:spPr>
          <a:xfrm>
            <a:off x="3912554" y="1257050"/>
            <a:ext cx="4271619" cy="271613"/>
          </a:xfrm>
          <a:prstGeom prst="rect">
            <a:avLst/>
          </a:prstGeom>
          <a:noFill/>
        </p:spPr>
        <p:txBody>
          <a:bodyPr wrap="square" lIns="0" tIns="0" rIns="0" bIns="0" rtlCol="0" anchor="t">
            <a:spAutoFit/>
          </a:bodyPr>
          <a:lstStyle/>
          <a:p>
            <a:pPr marL="0" marR="0" lvl="0" indent="0" algn="ctr" defTabSz="750265" rtl="0" eaLnBrk="1" fontAlgn="auto" latinLnBrk="0" hangingPunct="1">
              <a:lnSpc>
                <a:spcPct val="100000"/>
              </a:lnSpc>
              <a:spcBef>
                <a:spcPts val="0"/>
              </a:spcBef>
              <a:spcAft>
                <a:spcPts val="0"/>
              </a:spcAft>
              <a:buClrTx/>
              <a:buSzTx/>
              <a:buFontTx/>
              <a:buNone/>
              <a:tabLst/>
              <a:defRPr/>
            </a:pPr>
            <a:r>
              <a:rPr kumimoji="0" lang="fr-fr" sz="1765" b="0" i="0" u="none" strike="noStrike" kern="1200" cap="none" spc="0" normalizeH="0" baseline="0" noProof="0">
                <a:ln>
                  <a:noFill/>
                </a:ln>
                <a:solidFill>
                  <a:srgbClr val="2A446F"/>
                </a:solidFill>
                <a:effectLst/>
                <a:uLnTx/>
                <a:uFillTx/>
                <a:latin typeface="Segoe UI Semibold"/>
                <a:ea typeface="+mn-ea"/>
                <a:cs typeface="Segoe UI Semibold" panose="020B0702040204020203" pitchFamily="34" charset="0"/>
              </a:rPr>
              <a:t>La plateforme de contrôle pour les agents</a:t>
            </a:r>
          </a:p>
        </p:txBody>
      </p:sp>
      <p:sp>
        <p:nvSpPr>
          <p:cNvPr id="243" name="Freeform 128">
            <a:extLst>
              <a:ext uri="{FF2B5EF4-FFF2-40B4-BE49-F238E27FC236}">
                <a16:creationId xmlns:a16="http://schemas.microsoft.com/office/drawing/2014/main" id="{F9EA6DAB-C9A5-1C2B-5DC0-A8A65926350E}"/>
              </a:ext>
              <a:ext uri="{C183D7F6-B498-43B3-948B-1728B52AA6E4}">
                <adec:decorative xmlns:adec="http://schemas.microsoft.com/office/drawing/2017/decorative" val="1"/>
              </a:ext>
            </a:extLst>
          </p:cNvPr>
          <p:cNvSpPr/>
          <p:nvPr/>
        </p:nvSpPr>
        <p:spPr>
          <a:xfrm>
            <a:off x="10486879" y="4652348"/>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E14C7B"/>
              </a:gs>
              <a:gs pos="17000">
                <a:srgbClr val="B54292">
                  <a:lumMod val="83000"/>
                </a:srgbClr>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3" name="Freeform 138">
            <a:extLst>
              <a:ext uri="{FF2B5EF4-FFF2-40B4-BE49-F238E27FC236}">
                <a16:creationId xmlns:a16="http://schemas.microsoft.com/office/drawing/2014/main" id="{DFA1C2D6-3EEE-246D-E76B-D05F64983CB9}"/>
              </a:ext>
              <a:ext uri="{C183D7F6-B498-43B3-948B-1728B52AA6E4}">
                <adec:decorative xmlns:adec="http://schemas.microsoft.com/office/drawing/2017/decorative" val="1"/>
              </a:ext>
            </a:extLst>
          </p:cNvPr>
          <p:cNvSpPr/>
          <p:nvPr/>
        </p:nvSpPr>
        <p:spPr>
          <a:xfrm>
            <a:off x="8463962" y="4625283"/>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1" name="Freeform 156">
            <a:extLst>
              <a:ext uri="{FF2B5EF4-FFF2-40B4-BE49-F238E27FC236}">
                <a16:creationId xmlns:a16="http://schemas.microsoft.com/office/drawing/2014/main" id="{DE803220-4523-ED39-FBC8-24197A535190}"/>
              </a:ext>
              <a:ext uri="{C183D7F6-B498-43B3-948B-1728B52AA6E4}">
                <adec:decorative xmlns:adec="http://schemas.microsoft.com/office/drawing/2017/decorative" val="1"/>
              </a:ext>
            </a:extLst>
          </p:cNvPr>
          <p:cNvSpPr/>
          <p:nvPr/>
        </p:nvSpPr>
        <p:spPr>
          <a:xfrm>
            <a:off x="6071522" y="4307976"/>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4" name="Freeform 159">
            <a:extLst>
              <a:ext uri="{FF2B5EF4-FFF2-40B4-BE49-F238E27FC236}">
                <a16:creationId xmlns:a16="http://schemas.microsoft.com/office/drawing/2014/main" id="{CA6F3E5D-024D-7A9D-DB3F-C23E45CEC1DE}"/>
              </a:ext>
              <a:ext uri="{C183D7F6-B498-43B3-948B-1728B52AA6E4}">
                <adec:decorative xmlns:adec="http://schemas.microsoft.com/office/drawing/2017/decorative" val="1"/>
              </a:ext>
            </a:extLst>
          </p:cNvPr>
          <p:cNvSpPr/>
          <p:nvPr/>
        </p:nvSpPr>
        <p:spPr>
          <a:xfrm>
            <a:off x="6916737" y="4332559"/>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3" name="Freeform 168">
            <a:extLst>
              <a:ext uri="{FF2B5EF4-FFF2-40B4-BE49-F238E27FC236}">
                <a16:creationId xmlns:a16="http://schemas.microsoft.com/office/drawing/2014/main" id="{CBCE9BC2-D2B4-0833-AAA4-CAC3F5D9A5B0}"/>
              </a:ext>
              <a:ext uri="{C183D7F6-B498-43B3-948B-1728B52AA6E4}">
                <adec:decorative xmlns:adec="http://schemas.microsoft.com/office/drawing/2017/decorative" val="1"/>
              </a:ext>
            </a:extLst>
          </p:cNvPr>
          <p:cNvSpPr/>
          <p:nvPr/>
        </p:nvSpPr>
        <p:spPr>
          <a:xfrm>
            <a:off x="5903564" y="4732120"/>
            <a:ext cx="344060" cy="34396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alpha val="65000"/>
                </a:srgbClr>
              </a:gs>
              <a:gs pos="12000">
                <a:srgbClr val="AC35AF">
                  <a:alpha val="58000"/>
                </a:srgbClr>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308" name="Rectangle: Rounded Corners 307">
            <a:extLst>
              <a:ext uri="{FF2B5EF4-FFF2-40B4-BE49-F238E27FC236}">
                <a16:creationId xmlns:a16="http://schemas.microsoft.com/office/drawing/2014/main" id="{0B4EAE5E-D19B-92F1-B064-332A91EECCAB}"/>
              </a:ext>
              <a:ext uri="{C183D7F6-B498-43B3-948B-1728B52AA6E4}">
                <adec:decorative xmlns:adec="http://schemas.microsoft.com/office/drawing/2017/decorative" val="1"/>
              </a:ext>
            </a:extLst>
          </p:cNvPr>
          <p:cNvSpPr>
            <a:spLocks/>
          </p:cNvSpPr>
          <p:nvPr/>
        </p:nvSpPr>
        <p:spPr bwMode="auto">
          <a:xfrm>
            <a:off x="723897" y="4151388"/>
            <a:ext cx="2024482" cy="2036051"/>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09" name="Rectangle: Rounded Corners 308">
            <a:extLst>
              <a:ext uri="{FF2B5EF4-FFF2-40B4-BE49-F238E27FC236}">
                <a16:creationId xmlns:a16="http://schemas.microsoft.com/office/drawing/2014/main" id="{F1127F1D-92B5-084E-0FCF-2254A520D190}"/>
              </a:ext>
              <a:ext uri="{C183D7F6-B498-43B3-948B-1728B52AA6E4}">
                <adec:decorative xmlns:adec="http://schemas.microsoft.com/office/drawing/2017/decorative" val="1"/>
              </a:ext>
            </a:extLst>
          </p:cNvPr>
          <p:cNvSpPr>
            <a:spLocks/>
          </p:cNvSpPr>
          <p:nvPr/>
        </p:nvSpPr>
        <p:spPr bwMode="auto">
          <a:xfrm>
            <a:off x="2903827" y="4769972"/>
            <a:ext cx="2024482" cy="1417467"/>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10" name="Rectangle: Rounded Corners 309">
            <a:extLst>
              <a:ext uri="{FF2B5EF4-FFF2-40B4-BE49-F238E27FC236}">
                <a16:creationId xmlns:a16="http://schemas.microsoft.com/office/drawing/2014/main" id="{C9161E3A-17D8-775A-7384-3E313FCBFC99}"/>
              </a:ext>
              <a:ext uri="{C183D7F6-B498-43B3-948B-1728B52AA6E4}">
                <adec:decorative xmlns:adec="http://schemas.microsoft.com/office/drawing/2017/decorative" val="1"/>
              </a:ext>
            </a:extLst>
          </p:cNvPr>
          <p:cNvSpPr>
            <a:spLocks/>
          </p:cNvSpPr>
          <p:nvPr/>
        </p:nvSpPr>
        <p:spPr bwMode="auto">
          <a:xfrm>
            <a:off x="5083757" y="4769972"/>
            <a:ext cx="2024482" cy="1417467"/>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11" name="Rectangle: Rounded Corners 310">
            <a:extLst>
              <a:ext uri="{FF2B5EF4-FFF2-40B4-BE49-F238E27FC236}">
                <a16:creationId xmlns:a16="http://schemas.microsoft.com/office/drawing/2014/main" id="{31920D39-44E1-52CC-E34F-1F574DF1AB4C}"/>
              </a:ext>
              <a:ext uri="{C183D7F6-B498-43B3-948B-1728B52AA6E4}">
                <adec:decorative xmlns:adec="http://schemas.microsoft.com/office/drawing/2017/decorative" val="1"/>
              </a:ext>
            </a:extLst>
          </p:cNvPr>
          <p:cNvSpPr>
            <a:spLocks/>
          </p:cNvSpPr>
          <p:nvPr/>
        </p:nvSpPr>
        <p:spPr bwMode="auto">
          <a:xfrm>
            <a:off x="7263687" y="4769972"/>
            <a:ext cx="2024482" cy="1417467"/>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12" name="Rectangle: Rounded Corners 311">
            <a:extLst>
              <a:ext uri="{FF2B5EF4-FFF2-40B4-BE49-F238E27FC236}">
                <a16:creationId xmlns:a16="http://schemas.microsoft.com/office/drawing/2014/main" id="{94470CEA-178B-9A54-8E85-2B344F0B1582}"/>
              </a:ext>
              <a:ext uri="{C183D7F6-B498-43B3-948B-1728B52AA6E4}">
                <adec:decorative xmlns:adec="http://schemas.microsoft.com/office/drawing/2017/decorative" val="1"/>
              </a:ext>
            </a:extLst>
          </p:cNvPr>
          <p:cNvSpPr>
            <a:spLocks/>
          </p:cNvSpPr>
          <p:nvPr/>
        </p:nvSpPr>
        <p:spPr bwMode="auto">
          <a:xfrm>
            <a:off x="9443617" y="4769972"/>
            <a:ext cx="2024482" cy="1417467"/>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grpSp>
        <p:nvGrpSpPr>
          <p:cNvPr id="6" name="Group 5">
            <a:extLst>
              <a:ext uri="{FF2B5EF4-FFF2-40B4-BE49-F238E27FC236}">
                <a16:creationId xmlns:a16="http://schemas.microsoft.com/office/drawing/2014/main" id="{62E25532-25F0-B017-FB51-0F1F971567C8}"/>
              </a:ext>
              <a:ext uri="{C183D7F6-B498-43B3-948B-1728B52AA6E4}">
                <adec:decorative xmlns:adec="http://schemas.microsoft.com/office/drawing/2017/decorative" val="1"/>
              </a:ext>
            </a:extLst>
          </p:cNvPr>
          <p:cNvGrpSpPr/>
          <p:nvPr/>
        </p:nvGrpSpPr>
        <p:grpSpPr>
          <a:xfrm>
            <a:off x="1408783" y="3779056"/>
            <a:ext cx="654710" cy="654710"/>
            <a:chOff x="1408783" y="4316018"/>
            <a:chExt cx="654710" cy="654710"/>
          </a:xfrm>
        </p:grpSpPr>
        <p:sp>
          <p:nvSpPr>
            <p:cNvPr id="166" name="Box">
              <a:extLst>
                <a:ext uri="{FF2B5EF4-FFF2-40B4-BE49-F238E27FC236}">
                  <a16:creationId xmlns:a16="http://schemas.microsoft.com/office/drawing/2014/main" id="{B2D590CF-7DE9-2EA3-AD25-1473162CDD42}"/>
                </a:ext>
                <a:ext uri="{C183D7F6-B498-43B3-948B-1728B52AA6E4}">
                  <adec:decorative xmlns:adec="http://schemas.microsoft.com/office/drawing/2017/decorative" val="1"/>
                </a:ext>
              </a:extLst>
            </p:cNvPr>
            <p:cNvSpPr>
              <a:spLocks noChangeAspect="1"/>
            </p:cNvSpPr>
            <p:nvPr/>
          </p:nvSpPr>
          <p:spPr bwMode="auto">
            <a:xfrm>
              <a:off x="140878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3" name="Graphic 119">
              <a:extLst>
                <a:ext uri="{FF2B5EF4-FFF2-40B4-BE49-F238E27FC236}">
                  <a16:creationId xmlns:a16="http://schemas.microsoft.com/office/drawing/2014/main" id="{6254F55A-1B23-655C-537C-DD6948D34827}"/>
                </a:ext>
              </a:extLst>
            </p:cNvPr>
            <p:cNvSpPr/>
            <p:nvPr/>
          </p:nvSpPr>
          <p:spPr>
            <a:xfrm>
              <a:off x="1566340" y="4473576"/>
              <a:ext cx="339598" cy="339596"/>
            </a:xfrm>
            <a:custGeom>
              <a:avLst/>
              <a:gdLst>
                <a:gd name="csX0" fmla="*/ 802316 w 979097"/>
                <a:gd name="csY0" fmla="*/ 0 h 979097"/>
                <a:gd name="csX1" fmla="*/ 979097 w 979097"/>
                <a:gd name="csY1" fmla="*/ 176781 h 979097"/>
                <a:gd name="csX2" fmla="*/ 979097 w 979097"/>
                <a:gd name="csY2" fmla="*/ 802316 h 979097"/>
                <a:gd name="csX3" fmla="*/ 802316 w 979097"/>
                <a:gd name="csY3" fmla="*/ 979097 h 979097"/>
                <a:gd name="csX4" fmla="*/ 176781 w 979097"/>
                <a:gd name="csY4" fmla="*/ 979097 h 979097"/>
                <a:gd name="csX5" fmla="*/ 0 w 979097"/>
                <a:gd name="csY5" fmla="*/ 802316 h 979097"/>
                <a:gd name="csX6" fmla="*/ 0 w 979097"/>
                <a:gd name="csY6" fmla="*/ 176781 h 979097"/>
                <a:gd name="csX7" fmla="*/ 176781 w 979097"/>
                <a:gd name="csY7" fmla="*/ 0 h 979097"/>
                <a:gd name="csX8" fmla="*/ 802316 w 979097"/>
                <a:gd name="csY8" fmla="*/ 0 h 979097"/>
                <a:gd name="csX9" fmla="*/ 802316 w 979097"/>
                <a:gd name="csY9" fmla="*/ 81591 h 979097"/>
                <a:gd name="csX10" fmla="*/ 176781 w 979097"/>
                <a:gd name="csY10" fmla="*/ 81591 h 979097"/>
                <a:gd name="csX11" fmla="*/ 81591 w 979097"/>
                <a:gd name="csY11" fmla="*/ 176781 h 979097"/>
                <a:gd name="csX12" fmla="*/ 81591 w 979097"/>
                <a:gd name="csY12" fmla="*/ 802316 h 979097"/>
                <a:gd name="csX13" fmla="*/ 176781 w 979097"/>
                <a:gd name="csY13" fmla="*/ 897506 h 979097"/>
                <a:gd name="csX14" fmla="*/ 802316 w 979097"/>
                <a:gd name="csY14" fmla="*/ 897506 h 979097"/>
                <a:gd name="csX15" fmla="*/ 897506 w 979097"/>
                <a:gd name="csY15" fmla="*/ 802316 h 979097"/>
                <a:gd name="csX16" fmla="*/ 897506 w 979097"/>
                <a:gd name="csY16" fmla="*/ 176781 h 979097"/>
                <a:gd name="csX17" fmla="*/ 802316 w 979097"/>
                <a:gd name="csY17" fmla="*/ 81591 h 979097"/>
                <a:gd name="csX18" fmla="*/ 258373 w 979097"/>
                <a:gd name="csY18" fmla="*/ 217577 h 979097"/>
                <a:gd name="csX19" fmla="*/ 298796 w 979097"/>
                <a:gd name="csY19" fmla="*/ 252837 h 979097"/>
                <a:gd name="csX20" fmla="*/ 299169 w 979097"/>
                <a:gd name="csY20" fmla="*/ 258373 h 979097"/>
                <a:gd name="csX21" fmla="*/ 299169 w 979097"/>
                <a:gd name="csY21" fmla="*/ 312767 h 979097"/>
                <a:gd name="csX22" fmla="*/ 258373 w 979097"/>
                <a:gd name="csY22" fmla="*/ 353563 h 979097"/>
                <a:gd name="csX23" fmla="*/ 217950 w 979097"/>
                <a:gd name="csY23" fmla="*/ 318303 h 979097"/>
                <a:gd name="csX24" fmla="*/ 217577 w 979097"/>
                <a:gd name="csY24" fmla="*/ 312767 h 979097"/>
                <a:gd name="csX25" fmla="*/ 217577 w 979097"/>
                <a:gd name="csY25" fmla="*/ 258373 h 979097"/>
                <a:gd name="csX26" fmla="*/ 258373 w 979097"/>
                <a:gd name="csY26" fmla="*/ 217577 h 979097"/>
                <a:gd name="csX27" fmla="*/ 298796 w 979097"/>
                <a:gd name="csY27" fmla="*/ 660793 h 979097"/>
                <a:gd name="csX28" fmla="*/ 258373 w 979097"/>
                <a:gd name="csY28" fmla="*/ 625534 h 979097"/>
                <a:gd name="csX29" fmla="*/ 217577 w 979097"/>
                <a:gd name="csY29" fmla="*/ 666330 h 979097"/>
                <a:gd name="csX30" fmla="*/ 217577 w 979097"/>
                <a:gd name="csY30" fmla="*/ 720724 h 979097"/>
                <a:gd name="csX31" fmla="*/ 217950 w 979097"/>
                <a:gd name="csY31" fmla="*/ 726262 h 979097"/>
                <a:gd name="csX32" fmla="*/ 258373 w 979097"/>
                <a:gd name="csY32" fmla="*/ 761520 h 979097"/>
                <a:gd name="csX33" fmla="*/ 299169 w 979097"/>
                <a:gd name="csY33" fmla="*/ 720724 h 979097"/>
                <a:gd name="csX34" fmla="*/ 299169 w 979097"/>
                <a:gd name="csY34" fmla="*/ 666330 h 979097"/>
                <a:gd name="csX35" fmla="*/ 298796 w 979097"/>
                <a:gd name="csY35" fmla="*/ 660793 h 979097"/>
                <a:gd name="csX36" fmla="*/ 299169 w 979097"/>
                <a:gd name="csY36" fmla="*/ 452626 h 979097"/>
                <a:gd name="csX37" fmla="*/ 258745 w 979097"/>
                <a:gd name="csY37" fmla="*/ 417362 h 979097"/>
                <a:gd name="csX38" fmla="*/ 217950 w 979097"/>
                <a:gd name="csY38" fmla="*/ 458158 h 979097"/>
                <a:gd name="csX39" fmla="*/ 217577 w 979097"/>
                <a:gd name="csY39" fmla="*/ 520619 h 979097"/>
                <a:gd name="csX40" fmla="*/ 217950 w 979097"/>
                <a:gd name="csY40" fmla="*/ 526151 h 979097"/>
                <a:gd name="csX41" fmla="*/ 258373 w 979097"/>
                <a:gd name="csY41" fmla="*/ 561414 h 979097"/>
                <a:gd name="csX42" fmla="*/ 299169 w 979097"/>
                <a:gd name="csY42" fmla="*/ 520619 h 979097"/>
                <a:gd name="csX43" fmla="*/ 299541 w 979097"/>
                <a:gd name="csY43" fmla="*/ 458158 h 979097"/>
                <a:gd name="csX44" fmla="*/ 299169 w 979097"/>
                <a:gd name="csY44" fmla="*/ 452626 h 97909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Lst>
              <a:rect l="l" t="t" r="r" b="b"/>
              <a:pathLst>
                <a:path w="979097" h="979097">
                  <a:moveTo>
                    <a:pt x="802316" y="0"/>
                  </a:moveTo>
                  <a:cubicBezTo>
                    <a:pt x="899948" y="0"/>
                    <a:pt x="979097" y="79148"/>
                    <a:pt x="979097" y="176781"/>
                  </a:cubicBezTo>
                  <a:lnTo>
                    <a:pt x="979097" y="802316"/>
                  </a:lnTo>
                  <a:cubicBezTo>
                    <a:pt x="979097" y="899948"/>
                    <a:pt x="899948" y="979097"/>
                    <a:pt x="802316" y="979097"/>
                  </a:cubicBezTo>
                  <a:lnTo>
                    <a:pt x="176781" y="979097"/>
                  </a:lnTo>
                  <a:cubicBezTo>
                    <a:pt x="79148" y="979097"/>
                    <a:pt x="0" y="899948"/>
                    <a:pt x="0" y="802316"/>
                  </a:cubicBezTo>
                  <a:lnTo>
                    <a:pt x="0" y="176781"/>
                  </a:lnTo>
                  <a:cubicBezTo>
                    <a:pt x="0" y="79148"/>
                    <a:pt x="79148" y="0"/>
                    <a:pt x="176781" y="0"/>
                  </a:cubicBezTo>
                  <a:lnTo>
                    <a:pt x="802316" y="0"/>
                  </a:lnTo>
                  <a:close/>
                  <a:moveTo>
                    <a:pt x="802316" y="81591"/>
                  </a:moveTo>
                  <a:lnTo>
                    <a:pt x="176781" y="81591"/>
                  </a:lnTo>
                  <a:cubicBezTo>
                    <a:pt x="124209" y="81591"/>
                    <a:pt x="81591" y="124209"/>
                    <a:pt x="81591" y="176781"/>
                  </a:cubicBezTo>
                  <a:lnTo>
                    <a:pt x="81591" y="802316"/>
                  </a:lnTo>
                  <a:cubicBezTo>
                    <a:pt x="81591" y="854888"/>
                    <a:pt x="124209" y="897506"/>
                    <a:pt x="176781" y="897506"/>
                  </a:cubicBezTo>
                  <a:lnTo>
                    <a:pt x="802316" y="897506"/>
                  </a:lnTo>
                  <a:cubicBezTo>
                    <a:pt x="854888" y="897506"/>
                    <a:pt x="897506" y="854888"/>
                    <a:pt x="897506" y="802316"/>
                  </a:cubicBezTo>
                  <a:lnTo>
                    <a:pt x="897506" y="176781"/>
                  </a:lnTo>
                  <a:cubicBezTo>
                    <a:pt x="897506" y="124209"/>
                    <a:pt x="854888" y="81591"/>
                    <a:pt x="802316" y="81591"/>
                  </a:cubicBezTo>
                  <a:close/>
                  <a:moveTo>
                    <a:pt x="258373" y="217577"/>
                  </a:moveTo>
                  <a:cubicBezTo>
                    <a:pt x="279026" y="217577"/>
                    <a:pt x="296095" y="232925"/>
                    <a:pt x="298796" y="252837"/>
                  </a:cubicBezTo>
                  <a:lnTo>
                    <a:pt x="299169" y="258373"/>
                  </a:lnTo>
                  <a:lnTo>
                    <a:pt x="299169" y="312767"/>
                  </a:lnTo>
                  <a:cubicBezTo>
                    <a:pt x="299169" y="335298"/>
                    <a:pt x="280904" y="353563"/>
                    <a:pt x="258373" y="353563"/>
                  </a:cubicBezTo>
                  <a:cubicBezTo>
                    <a:pt x="237719" y="353563"/>
                    <a:pt x="220651" y="338216"/>
                    <a:pt x="217950" y="318303"/>
                  </a:cubicBezTo>
                  <a:lnTo>
                    <a:pt x="217577" y="312767"/>
                  </a:lnTo>
                  <a:lnTo>
                    <a:pt x="217577" y="258373"/>
                  </a:lnTo>
                  <a:cubicBezTo>
                    <a:pt x="217577" y="235842"/>
                    <a:pt x="235842" y="217577"/>
                    <a:pt x="258373" y="217577"/>
                  </a:cubicBezTo>
                  <a:close/>
                  <a:moveTo>
                    <a:pt x="298796" y="660793"/>
                  </a:moveTo>
                  <a:cubicBezTo>
                    <a:pt x="296095" y="640884"/>
                    <a:pt x="279026" y="625534"/>
                    <a:pt x="258373" y="625534"/>
                  </a:cubicBezTo>
                  <a:cubicBezTo>
                    <a:pt x="235842" y="625534"/>
                    <a:pt x="217577" y="643800"/>
                    <a:pt x="217577" y="666330"/>
                  </a:cubicBezTo>
                  <a:lnTo>
                    <a:pt x="217577" y="720724"/>
                  </a:lnTo>
                  <a:lnTo>
                    <a:pt x="217950" y="726262"/>
                  </a:lnTo>
                  <a:cubicBezTo>
                    <a:pt x="220651" y="746170"/>
                    <a:pt x="237719" y="761520"/>
                    <a:pt x="258373" y="761520"/>
                  </a:cubicBezTo>
                  <a:cubicBezTo>
                    <a:pt x="280904" y="761520"/>
                    <a:pt x="299169" y="743255"/>
                    <a:pt x="299169" y="720724"/>
                  </a:cubicBezTo>
                  <a:lnTo>
                    <a:pt x="299169" y="666330"/>
                  </a:lnTo>
                  <a:lnTo>
                    <a:pt x="298796" y="660793"/>
                  </a:lnTo>
                  <a:close/>
                  <a:moveTo>
                    <a:pt x="299169" y="452626"/>
                  </a:moveTo>
                  <a:cubicBezTo>
                    <a:pt x="296467" y="432712"/>
                    <a:pt x="279398" y="417362"/>
                    <a:pt x="258745" y="417362"/>
                  </a:cubicBezTo>
                  <a:cubicBezTo>
                    <a:pt x="236214" y="417362"/>
                    <a:pt x="217950" y="435628"/>
                    <a:pt x="217950" y="458158"/>
                  </a:cubicBezTo>
                  <a:lnTo>
                    <a:pt x="217577" y="520619"/>
                  </a:lnTo>
                  <a:lnTo>
                    <a:pt x="217950" y="526151"/>
                  </a:lnTo>
                  <a:cubicBezTo>
                    <a:pt x="220651" y="546064"/>
                    <a:pt x="237719" y="561414"/>
                    <a:pt x="258373" y="561414"/>
                  </a:cubicBezTo>
                  <a:cubicBezTo>
                    <a:pt x="280904" y="561414"/>
                    <a:pt x="299169" y="543149"/>
                    <a:pt x="299169" y="520619"/>
                  </a:cubicBezTo>
                  <a:lnTo>
                    <a:pt x="299541" y="458158"/>
                  </a:lnTo>
                  <a:lnTo>
                    <a:pt x="299169" y="452626"/>
                  </a:lnTo>
                  <a:close/>
                </a:path>
              </a:pathLst>
            </a:custGeom>
            <a:solidFill>
              <a:schemeClr val="tx1"/>
            </a:solidFill>
            <a:ln w="54372" cap="flat">
              <a:noFill/>
              <a:prstDash val="solid"/>
              <a:miter/>
            </a:ln>
          </p:spPr>
          <p:txBody>
            <a:bodyPr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CD9A3543-9C47-CABD-D205-8F7717118AB0}"/>
              </a:ext>
              <a:ext uri="{C183D7F6-B498-43B3-948B-1728B52AA6E4}">
                <adec:decorative xmlns:adec="http://schemas.microsoft.com/office/drawing/2017/decorative" val="1"/>
              </a:ext>
            </a:extLst>
          </p:cNvPr>
          <p:cNvGrpSpPr/>
          <p:nvPr/>
        </p:nvGrpSpPr>
        <p:grpSpPr>
          <a:xfrm>
            <a:off x="7948573" y="4457611"/>
            <a:ext cx="654710" cy="654710"/>
            <a:chOff x="7948573" y="4316018"/>
            <a:chExt cx="654710" cy="654710"/>
          </a:xfrm>
        </p:grpSpPr>
        <p:sp>
          <p:nvSpPr>
            <p:cNvPr id="169" name="Box">
              <a:extLst>
                <a:ext uri="{FF2B5EF4-FFF2-40B4-BE49-F238E27FC236}">
                  <a16:creationId xmlns:a16="http://schemas.microsoft.com/office/drawing/2014/main" id="{C98D7839-138B-1817-7C0E-ECDB8C1AF881}"/>
                </a:ext>
                <a:ext uri="{C183D7F6-B498-43B3-948B-1728B52AA6E4}">
                  <adec:decorative xmlns:adec="http://schemas.microsoft.com/office/drawing/2017/decorative" val="1"/>
                </a:ext>
              </a:extLst>
            </p:cNvPr>
            <p:cNvSpPr>
              <a:spLocks noChangeAspect="1"/>
            </p:cNvSpPr>
            <p:nvPr/>
          </p:nvSpPr>
          <p:spPr bwMode="auto">
            <a:xfrm>
              <a:off x="794857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4" name="Graphic 16">
              <a:extLst>
                <a:ext uri="{FF2B5EF4-FFF2-40B4-BE49-F238E27FC236}">
                  <a16:creationId xmlns:a16="http://schemas.microsoft.com/office/drawing/2014/main" id="{9C26C62C-FD0C-6FFB-9466-0613DFAE5D7A}"/>
                </a:ext>
              </a:extLst>
            </p:cNvPr>
            <p:cNvSpPr/>
            <p:nvPr/>
          </p:nvSpPr>
          <p:spPr>
            <a:xfrm>
              <a:off x="8111874" y="4479321"/>
              <a:ext cx="328108" cy="328106"/>
            </a:xfrm>
            <a:custGeom>
              <a:avLst/>
              <a:gdLst>
                <a:gd name="csX0" fmla="*/ 179785 w 1118663"/>
                <a:gd name="csY0" fmla="*/ 79905 h 1118663"/>
                <a:gd name="csX1" fmla="*/ 79905 w 1118663"/>
                <a:gd name="csY1" fmla="*/ 179785 h 1118663"/>
                <a:gd name="csX2" fmla="*/ 179785 w 1118663"/>
                <a:gd name="csY2" fmla="*/ 279666 h 1118663"/>
                <a:gd name="csX3" fmla="*/ 279666 w 1118663"/>
                <a:gd name="csY3" fmla="*/ 179785 h 1118663"/>
                <a:gd name="csX4" fmla="*/ 179785 w 1118663"/>
                <a:gd name="csY4" fmla="*/ 79905 h 1118663"/>
                <a:gd name="csX5" fmla="*/ 0 w 1118663"/>
                <a:gd name="csY5" fmla="*/ 179785 h 1118663"/>
                <a:gd name="csX6" fmla="*/ 179785 w 1118663"/>
                <a:gd name="csY6" fmla="*/ 0 h 1118663"/>
                <a:gd name="csX7" fmla="*/ 359571 w 1118663"/>
                <a:gd name="csY7" fmla="*/ 179785 h 1118663"/>
                <a:gd name="csX8" fmla="*/ 332003 w 1118663"/>
                <a:gd name="csY8" fmla="*/ 275501 h 1118663"/>
                <a:gd name="csX9" fmla="*/ 463618 w 1118663"/>
                <a:gd name="csY9" fmla="*/ 407114 h 1118663"/>
                <a:gd name="csX10" fmla="*/ 559332 w 1118663"/>
                <a:gd name="csY10" fmla="*/ 379547 h 1118663"/>
                <a:gd name="csX11" fmla="*/ 655046 w 1118663"/>
                <a:gd name="csY11" fmla="*/ 407114 h 1118663"/>
                <a:gd name="csX12" fmla="*/ 786660 w 1118663"/>
                <a:gd name="csY12" fmla="*/ 275501 h 1118663"/>
                <a:gd name="csX13" fmla="*/ 759093 w 1118663"/>
                <a:gd name="csY13" fmla="*/ 179785 h 1118663"/>
                <a:gd name="csX14" fmla="*/ 938879 w 1118663"/>
                <a:gd name="csY14" fmla="*/ 0 h 1118663"/>
                <a:gd name="csX15" fmla="*/ 1118664 w 1118663"/>
                <a:gd name="csY15" fmla="*/ 179785 h 1118663"/>
                <a:gd name="csX16" fmla="*/ 938879 w 1118663"/>
                <a:gd name="csY16" fmla="*/ 359571 h 1118663"/>
                <a:gd name="csX17" fmla="*/ 843165 w 1118663"/>
                <a:gd name="csY17" fmla="*/ 332003 h 1118663"/>
                <a:gd name="csX18" fmla="*/ 711550 w 1118663"/>
                <a:gd name="csY18" fmla="*/ 463618 h 1118663"/>
                <a:gd name="csX19" fmla="*/ 739117 w 1118663"/>
                <a:gd name="csY19" fmla="*/ 559332 h 1118663"/>
                <a:gd name="csX20" fmla="*/ 711550 w 1118663"/>
                <a:gd name="csY20" fmla="*/ 655046 h 1118663"/>
                <a:gd name="csX21" fmla="*/ 843165 w 1118663"/>
                <a:gd name="csY21" fmla="*/ 786660 h 1118663"/>
                <a:gd name="csX22" fmla="*/ 938879 w 1118663"/>
                <a:gd name="csY22" fmla="*/ 759093 h 1118663"/>
                <a:gd name="csX23" fmla="*/ 1118664 w 1118663"/>
                <a:gd name="csY23" fmla="*/ 938879 h 1118663"/>
                <a:gd name="csX24" fmla="*/ 938879 w 1118663"/>
                <a:gd name="csY24" fmla="*/ 1118664 h 1118663"/>
                <a:gd name="csX25" fmla="*/ 759093 w 1118663"/>
                <a:gd name="csY25" fmla="*/ 938879 h 1118663"/>
                <a:gd name="csX26" fmla="*/ 786660 w 1118663"/>
                <a:gd name="csY26" fmla="*/ 843165 h 1118663"/>
                <a:gd name="csX27" fmla="*/ 655046 w 1118663"/>
                <a:gd name="csY27" fmla="*/ 711550 h 1118663"/>
                <a:gd name="csX28" fmla="*/ 559332 w 1118663"/>
                <a:gd name="csY28" fmla="*/ 739117 h 1118663"/>
                <a:gd name="csX29" fmla="*/ 463618 w 1118663"/>
                <a:gd name="csY29" fmla="*/ 711550 h 1118663"/>
                <a:gd name="csX30" fmla="*/ 332003 w 1118663"/>
                <a:gd name="csY30" fmla="*/ 843165 h 1118663"/>
                <a:gd name="csX31" fmla="*/ 359571 w 1118663"/>
                <a:gd name="csY31" fmla="*/ 938879 h 1118663"/>
                <a:gd name="csX32" fmla="*/ 179785 w 1118663"/>
                <a:gd name="csY32" fmla="*/ 1118664 h 1118663"/>
                <a:gd name="csX33" fmla="*/ 0 w 1118663"/>
                <a:gd name="csY33" fmla="*/ 938879 h 1118663"/>
                <a:gd name="csX34" fmla="*/ 179785 w 1118663"/>
                <a:gd name="csY34" fmla="*/ 759093 h 1118663"/>
                <a:gd name="csX35" fmla="*/ 275501 w 1118663"/>
                <a:gd name="csY35" fmla="*/ 786660 h 1118663"/>
                <a:gd name="csX36" fmla="*/ 407114 w 1118663"/>
                <a:gd name="csY36" fmla="*/ 655046 h 1118663"/>
                <a:gd name="csX37" fmla="*/ 379547 w 1118663"/>
                <a:gd name="csY37" fmla="*/ 559332 h 1118663"/>
                <a:gd name="csX38" fmla="*/ 407114 w 1118663"/>
                <a:gd name="csY38" fmla="*/ 463618 h 1118663"/>
                <a:gd name="csX39" fmla="*/ 275501 w 1118663"/>
                <a:gd name="csY39" fmla="*/ 332003 h 1118663"/>
                <a:gd name="csX40" fmla="*/ 179785 w 1118663"/>
                <a:gd name="csY40" fmla="*/ 359571 h 1118663"/>
                <a:gd name="csX41" fmla="*/ 0 w 1118663"/>
                <a:gd name="csY41" fmla="*/ 179785 h 1118663"/>
                <a:gd name="csX42" fmla="*/ 938879 w 1118663"/>
                <a:gd name="csY42" fmla="*/ 79905 h 1118663"/>
                <a:gd name="csX43" fmla="*/ 838998 w 1118663"/>
                <a:gd name="csY43" fmla="*/ 179785 h 1118663"/>
                <a:gd name="csX44" fmla="*/ 938879 w 1118663"/>
                <a:gd name="csY44" fmla="*/ 279666 h 1118663"/>
                <a:gd name="csX45" fmla="*/ 1038759 w 1118663"/>
                <a:gd name="csY45" fmla="*/ 179785 h 1118663"/>
                <a:gd name="csX46" fmla="*/ 938879 w 1118663"/>
                <a:gd name="csY46" fmla="*/ 79905 h 1118663"/>
                <a:gd name="csX47" fmla="*/ 79905 w 1118663"/>
                <a:gd name="csY47" fmla="*/ 938879 h 1118663"/>
                <a:gd name="csX48" fmla="*/ 179785 w 1118663"/>
                <a:gd name="csY48" fmla="*/ 1038759 h 1118663"/>
                <a:gd name="csX49" fmla="*/ 279666 w 1118663"/>
                <a:gd name="csY49" fmla="*/ 938879 h 1118663"/>
                <a:gd name="csX50" fmla="*/ 179785 w 1118663"/>
                <a:gd name="csY50" fmla="*/ 838998 h 1118663"/>
                <a:gd name="csX51" fmla="*/ 79905 w 1118663"/>
                <a:gd name="csY51" fmla="*/ 938879 h 1118663"/>
                <a:gd name="csX52" fmla="*/ 559332 w 1118663"/>
                <a:gd name="csY52" fmla="*/ 459451 h 1118663"/>
                <a:gd name="csX53" fmla="*/ 459451 w 1118663"/>
                <a:gd name="csY53" fmla="*/ 559332 h 1118663"/>
                <a:gd name="csX54" fmla="*/ 559332 w 1118663"/>
                <a:gd name="csY54" fmla="*/ 659213 h 1118663"/>
                <a:gd name="csX55" fmla="*/ 659213 w 1118663"/>
                <a:gd name="csY55" fmla="*/ 559332 h 1118663"/>
                <a:gd name="csX56" fmla="*/ 559332 w 1118663"/>
                <a:gd name="csY56" fmla="*/ 459451 h 1118663"/>
                <a:gd name="csX57" fmla="*/ 838998 w 1118663"/>
                <a:gd name="csY57" fmla="*/ 938879 h 1118663"/>
                <a:gd name="csX58" fmla="*/ 938879 w 1118663"/>
                <a:gd name="csY58" fmla="*/ 1038759 h 1118663"/>
                <a:gd name="csX59" fmla="*/ 1038759 w 1118663"/>
                <a:gd name="csY59" fmla="*/ 938879 h 1118663"/>
                <a:gd name="csX60" fmla="*/ 938879 w 1118663"/>
                <a:gd name="csY60" fmla="*/ 838998 h 1118663"/>
                <a:gd name="csX61" fmla="*/ 838998 w 1118663"/>
                <a:gd name="csY61" fmla="*/ 938879 h 111866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Lst>
              <a:rect l="l" t="t" r="r" b="b"/>
              <a:pathLst>
                <a:path w="1118663" h="1118663">
                  <a:moveTo>
                    <a:pt x="179785" y="79905"/>
                  </a:moveTo>
                  <a:cubicBezTo>
                    <a:pt x="124623" y="79905"/>
                    <a:pt x="79905" y="124623"/>
                    <a:pt x="79905" y="179785"/>
                  </a:cubicBezTo>
                  <a:cubicBezTo>
                    <a:pt x="79905" y="234948"/>
                    <a:pt x="124623" y="279666"/>
                    <a:pt x="179785" y="279666"/>
                  </a:cubicBezTo>
                  <a:cubicBezTo>
                    <a:pt x="234948" y="279666"/>
                    <a:pt x="279666" y="234948"/>
                    <a:pt x="279666" y="179785"/>
                  </a:cubicBezTo>
                  <a:cubicBezTo>
                    <a:pt x="279666" y="124623"/>
                    <a:pt x="234948" y="79905"/>
                    <a:pt x="179785" y="79905"/>
                  </a:cubicBezTo>
                  <a:close/>
                  <a:moveTo>
                    <a:pt x="0" y="179785"/>
                  </a:moveTo>
                  <a:cubicBezTo>
                    <a:pt x="0" y="80493"/>
                    <a:pt x="80493" y="0"/>
                    <a:pt x="179785" y="0"/>
                  </a:cubicBezTo>
                  <a:cubicBezTo>
                    <a:pt x="279078" y="0"/>
                    <a:pt x="359571" y="80493"/>
                    <a:pt x="359571" y="179785"/>
                  </a:cubicBezTo>
                  <a:cubicBezTo>
                    <a:pt x="359571" y="214965"/>
                    <a:pt x="349467" y="247784"/>
                    <a:pt x="332003" y="275501"/>
                  </a:cubicBezTo>
                  <a:lnTo>
                    <a:pt x="463618" y="407114"/>
                  </a:lnTo>
                  <a:cubicBezTo>
                    <a:pt x="491333" y="389651"/>
                    <a:pt x="524154" y="379547"/>
                    <a:pt x="559332" y="379547"/>
                  </a:cubicBezTo>
                  <a:cubicBezTo>
                    <a:pt x="594510" y="379547"/>
                    <a:pt x="627331" y="389651"/>
                    <a:pt x="655046" y="407114"/>
                  </a:cubicBezTo>
                  <a:lnTo>
                    <a:pt x="786660" y="275501"/>
                  </a:lnTo>
                  <a:cubicBezTo>
                    <a:pt x="769197" y="247784"/>
                    <a:pt x="759093" y="214965"/>
                    <a:pt x="759093" y="179785"/>
                  </a:cubicBezTo>
                  <a:cubicBezTo>
                    <a:pt x="759093" y="80493"/>
                    <a:pt x="839585" y="0"/>
                    <a:pt x="938879" y="0"/>
                  </a:cubicBezTo>
                  <a:cubicBezTo>
                    <a:pt x="1038172" y="0"/>
                    <a:pt x="1118664" y="80493"/>
                    <a:pt x="1118664" y="179785"/>
                  </a:cubicBezTo>
                  <a:cubicBezTo>
                    <a:pt x="1118664" y="279078"/>
                    <a:pt x="1038172" y="359571"/>
                    <a:pt x="938879" y="359571"/>
                  </a:cubicBezTo>
                  <a:cubicBezTo>
                    <a:pt x="903701" y="359571"/>
                    <a:pt x="870880" y="349467"/>
                    <a:pt x="843165" y="332003"/>
                  </a:cubicBezTo>
                  <a:lnTo>
                    <a:pt x="711550" y="463618"/>
                  </a:lnTo>
                  <a:cubicBezTo>
                    <a:pt x="729013" y="491333"/>
                    <a:pt x="739117" y="524154"/>
                    <a:pt x="739117" y="559332"/>
                  </a:cubicBezTo>
                  <a:cubicBezTo>
                    <a:pt x="739117" y="594510"/>
                    <a:pt x="729013" y="627331"/>
                    <a:pt x="711550" y="655046"/>
                  </a:cubicBezTo>
                  <a:lnTo>
                    <a:pt x="843165" y="786660"/>
                  </a:lnTo>
                  <a:cubicBezTo>
                    <a:pt x="870880" y="769197"/>
                    <a:pt x="903701" y="759093"/>
                    <a:pt x="938879" y="759093"/>
                  </a:cubicBezTo>
                  <a:cubicBezTo>
                    <a:pt x="1038172" y="759093"/>
                    <a:pt x="1118664" y="839585"/>
                    <a:pt x="1118664" y="938879"/>
                  </a:cubicBezTo>
                  <a:cubicBezTo>
                    <a:pt x="1118664" y="1038172"/>
                    <a:pt x="1038172" y="1118664"/>
                    <a:pt x="938879" y="1118664"/>
                  </a:cubicBezTo>
                  <a:cubicBezTo>
                    <a:pt x="839585" y="1118664"/>
                    <a:pt x="759093" y="1038172"/>
                    <a:pt x="759093" y="938879"/>
                  </a:cubicBezTo>
                  <a:cubicBezTo>
                    <a:pt x="759093" y="903701"/>
                    <a:pt x="769197" y="870880"/>
                    <a:pt x="786660" y="843165"/>
                  </a:cubicBezTo>
                  <a:lnTo>
                    <a:pt x="655046" y="711550"/>
                  </a:lnTo>
                  <a:cubicBezTo>
                    <a:pt x="627331" y="729013"/>
                    <a:pt x="594510" y="739117"/>
                    <a:pt x="559332" y="739117"/>
                  </a:cubicBezTo>
                  <a:cubicBezTo>
                    <a:pt x="524154" y="739117"/>
                    <a:pt x="491333" y="729013"/>
                    <a:pt x="463618" y="711550"/>
                  </a:cubicBezTo>
                  <a:lnTo>
                    <a:pt x="332003" y="843165"/>
                  </a:lnTo>
                  <a:cubicBezTo>
                    <a:pt x="349467" y="870880"/>
                    <a:pt x="359571" y="903701"/>
                    <a:pt x="359571" y="938879"/>
                  </a:cubicBezTo>
                  <a:cubicBezTo>
                    <a:pt x="359571" y="1038172"/>
                    <a:pt x="279078" y="1118664"/>
                    <a:pt x="179785" y="1118664"/>
                  </a:cubicBezTo>
                  <a:cubicBezTo>
                    <a:pt x="80493" y="1118664"/>
                    <a:pt x="0" y="1038172"/>
                    <a:pt x="0" y="938879"/>
                  </a:cubicBezTo>
                  <a:cubicBezTo>
                    <a:pt x="0" y="839585"/>
                    <a:pt x="80493" y="759093"/>
                    <a:pt x="179785" y="759093"/>
                  </a:cubicBezTo>
                  <a:cubicBezTo>
                    <a:pt x="214965" y="759093"/>
                    <a:pt x="247784" y="769197"/>
                    <a:pt x="275501" y="786660"/>
                  </a:cubicBezTo>
                  <a:lnTo>
                    <a:pt x="407114" y="655046"/>
                  </a:lnTo>
                  <a:cubicBezTo>
                    <a:pt x="389651" y="627331"/>
                    <a:pt x="379547" y="594510"/>
                    <a:pt x="379547" y="559332"/>
                  </a:cubicBezTo>
                  <a:cubicBezTo>
                    <a:pt x="379547" y="524154"/>
                    <a:pt x="389651" y="491333"/>
                    <a:pt x="407114" y="463618"/>
                  </a:cubicBezTo>
                  <a:lnTo>
                    <a:pt x="275501" y="332003"/>
                  </a:lnTo>
                  <a:cubicBezTo>
                    <a:pt x="247784" y="349467"/>
                    <a:pt x="214965" y="359571"/>
                    <a:pt x="179785" y="359571"/>
                  </a:cubicBezTo>
                  <a:cubicBezTo>
                    <a:pt x="80493" y="359571"/>
                    <a:pt x="0" y="279078"/>
                    <a:pt x="0" y="179785"/>
                  </a:cubicBezTo>
                  <a:close/>
                  <a:moveTo>
                    <a:pt x="938879" y="79905"/>
                  </a:moveTo>
                  <a:cubicBezTo>
                    <a:pt x="883717" y="79905"/>
                    <a:pt x="838998" y="124623"/>
                    <a:pt x="838998" y="179785"/>
                  </a:cubicBezTo>
                  <a:cubicBezTo>
                    <a:pt x="838998" y="234948"/>
                    <a:pt x="883717" y="279666"/>
                    <a:pt x="938879" y="279666"/>
                  </a:cubicBezTo>
                  <a:cubicBezTo>
                    <a:pt x="994041" y="279666"/>
                    <a:pt x="1038759" y="234948"/>
                    <a:pt x="1038759" y="179785"/>
                  </a:cubicBezTo>
                  <a:cubicBezTo>
                    <a:pt x="1038759" y="124623"/>
                    <a:pt x="994041" y="79905"/>
                    <a:pt x="938879" y="79905"/>
                  </a:cubicBezTo>
                  <a:close/>
                  <a:moveTo>
                    <a:pt x="79905" y="938879"/>
                  </a:moveTo>
                  <a:cubicBezTo>
                    <a:pt x="79905" y="994041"/>
                    <a:pt x="124623" y="1038759"/>
                    <a:pt x="179785" y="1038759"/>
                  </a:cubicBezTo>
                  <a:cubicBezTo>
                    <a:pt x="234948" y="1038759"/>
                    <a:pt x="279666" y="994041"/>
                    <a:pt x="279666" y="938879"/>
                  </a:cubicBezTo>
                  <a:cubicBezTo>
                    <a:pt x="279666" y="883717"/>
                    <a:pt x="234948" y="838998"/>
                    <a:pt x="179785" y="838998"/>
                  </a:cubicBezTo>
                  <a:cubicBezTo>
                    <a:pt x="124623" y="838998"/>
                    <a:pt x="79905" y="883717"/>
                    <a:pt x="79905" y="938879"/>
                  </a:cubicBezTo>
                  <a:close/>
                  <a:moveTo>
                    <a:pt x="559332" y="459451"/>
                  </a:moveTo>
                  <a:cubicBezTo>
                    <a:pt x="504170" y="459451"/>
                    <a:pt x="459451" y="504170"/>
                    <a:pt x="459451" y="559332"/>
                  </a:cubicBezTo>
                  <a:cubicBezTo>
                    <a:pt x="459451" y="614494"/>
                    <a:pt x="504170" y="659213"/>
                    <a:pt x="559332" y="659213"/>
                  </a:cubicBezTo>
                  <a:cubicBezTo>
                    <a:pt x="614494" y="659213"/>
                    <a:pt x="659213" y="614494"/>
                    <a:pt x="659213" y="559332"/>
                  </a:cubicBezTo>
                  <a:cubicBezTo>
                    <a:pt x="659213" y="504170"/>
                    <a:pt x="614494" y="459451"/>
                    <a:pt x="559332" y="459451"/>
                  </a:cubicBezTo>
                  <a:close/>
                  <a:moveTo>
                    <a:pt x="838998" y="938879"/>
                  </a:moveTo>
                  <a:cubicBezTo>
                    <a:pt x="838998" y="994041"/>
                    <a:pt x="883717" y="1038759"/>
                    <a:pt x="938879" y="1038759"/>
                  </a:cubicBezTo>
                  <a:cubicBezTo>
                    <a:pt x="994041" y="1038759"/>
                    <a:pt x="1038759" y="994041"/>
                    <a:pt x="1038759" y="938879"/>
                  </a:cubicBezTo>
                  <a:cubicBezTo>
                    <a:pt x="1038759" y="883717"/>
                    <a:pt x="994041" y="838998"/>
                    <a:pt x="938879" y="838998"/>
                  </a:cubicBezTo>
                  <a:cubicBezTo>
                    <a:pt x="883717" y="838998"/>
                    <a:pt x="838998" y="883717"/>
                    <a:pt x="838998" y="938879"/>
                  </a:cubicBezTo>
                  <a:close/>
                </a:path>
              </a:pathLst>
            </a:custGeom>
            <a:solidFill>
              <a:schemeClr val="tx1"/>
            </a:solidFill>
            <a:ln w="39886"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A0F6FD0D-604D-1E1D-FB65-07A49508632F}"/>
              </a:ext>
              <a:ext uri="{C183D7F6-B498-43B3-948B-1728B52AA6E4}">
                <adec:decorative xmlns:adec="http://schemas.microsoft.com/office/drawing/2017/decorative" val="1"/>
              </a:ext>
            </a:extLst>
          </p:cNvPr>
          <p:cNvGrpSpPr/>
          <p:nvPr/>
        </p:nvGrpSpPr>
        <p:grpSpPr>
          <a:xfrm>
            <a:off x="5768643" y="4457611"/>
            <a:ext cx="654710" cy="654710"/>
            <a:chOff x="5768643" y="4316018"/>
            <a:chExt cx="654710" cy="654710"/>
          </a:xfrm>
        </p:grpSpPr>
        <p:sp>
          <p:nvSpPr>
            <p:cNvPr id="168" name="Box">
              <a:extLst>
                <a:ext uri="{FF2B5EF4-FFF2-40B4-BE49-F238E27FC236}">
                  <a16:creationId xmlns:a16="http://schemas.microsoft.com/office/drawing/2014/main" id="{22B8D63E-1EB0-D221-6BBE-A3CB909ADE5C}"/>
                </a:ext>
                <a:ext uri="{C183D7F6-B498-43B3-948B-1728B52AA6E4}">
                  <adec:decorative xmlns:adec="http://schemas.microsoft.com/office/drawing/2017/decorative" val="1"/>
                </a:ext>
              </a:extLst>
            </p:cNvPr>
            <p:cNvSpPr>
              <a:spLocks noChangeAspect="1"/>
            </p:cNvSpPr>
            <p:nvPr/>
          </p:nvSpPr>
          <p:spPr bwMode="auto">
            <a:xfrm>
              <a:off x="576864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5" name="Graphic 23">
              <a:extLst>
                <a:ext uri="{FF2B5EF4-FFF2-40B4-BE49-F238E27FC236}">
                  <a16:creationId xmlns:a16="http://schemas.microsoft.com/office/drawing/2014/main" id="{CE46DB52-9570-9C2C-D377-30F2A6893A41}"/>
                </a:ext>
              </a:extLst>
            </p:cNvPr>
            <p:cNvSpPr/>
            <p:nvPr/>
          </p:nvSpPr>
          <p:spPr>
            <a:xfrm>
              <a:off x="5918190" y="4456447"/>
              <a:ext cx="355616" cy="373852"/>
            </a:xfrm>
            <a:custGeom>
              <a:avLst/>
              <a:gdLst>
                <a:gd name="csX0" fmla="*/ 656957 w 1075017"/>
                <a:gd name="csY0" fmla="*/ 333865 h 1130146"/>
                <a:gd name="csX1" fmla="*/ 644752 w 1075017"/>
                <a:gd name="csY1" fmla="*/ 319983 h 1130146"/>
                <a:gd name="csX2" fmla="*/ 586808 w 1075017"/>
                <a:gd name="csY2" fmla="*/ 284119 h 1130146"/>
                <a:gd name="csX3" fmla="*/ 515071 w 1075017"/>
                <a:gd name="csY3" fmla="*/ 260821 h 1130146"/>
                <a:gd name="csX4" fmla="*/ 501366 w 1075017"/>
                <a:gd name="csY4" fmla="*/ 250474 h 1130146"/>
                <a:gd name="csX5" fmla="*/ 496162 w 1075017"/>
                <a:gd name="csY5" fmla="*/ 234120 h 1130146"/>
                <a:gd name="csX6" fmla="*/ 501366 w 1075017"/>
                <a:gd name="csY6" fmla="*/ 217764 h 1130146"/>
                <a:gd name="csX7" fmla="*/ 515071 w 1075017"/>
                <a:gd name="csY7" fmla="*/ 207418 h 1130146"/>
                <a:gd name="csX8" fmla="*/ 586808 w 1075017"/>
                <a:gd name="csY8" fmla="*/ 184121 h 1130146"/>
                <a:gd name="csX9" fmla="*/ 643875 w 1075017"/>
                <a:gd name="csY9" fmla="*/ 148148 h 1130146"/>
                <a:gd name="csX10" fmla="*/ 678394 w 1075017"/>
                <a:gd name="csY10" fmla="*/ 92351 h 1130146"/>
                <a:gd name="csX11" fmla="*/ 678990 w 1075017"/>
                <a:gd name="csY11" fmla="*/ 90577 h 1130146"/>
                <a:gd name="csX12" fmla="*/ 702304 w 1075017"/>
                <a:gd name="csY12" fmla="*/ 18895 h 1130146"/>
                <a:gd name="csX13" fmla="*/ 712660 w 1075017"/>
                <a:gd name="csY13" fmla="*/ 5201 h 1130146"/>
                <a:gd name="csX14" fmla="*/ 729028 w 1075017"/>
                <a:gd name="csY14" fmla="*/ 0 h 1130146"/>
                <a:gd name="csX15" fmla="*/ 745393 w 1075017"/>
                <a:gd name="csY15" fmla="*/ 5201 h 1130146"/>
                <a:gd name="csX16" fmla="*/ 755749 w 1075017"/>
                <a:gd name="csY16" fmla="*/ 18895 h 1130146"/>
                <a:gd name="csX17" fmla="*/ 779063 w 1075017"/>
                <a:gd name="csY17" fmla="*/ 90577 h 1130146"/>
                <a:gd name="csX18" fmla="*/ 814800 w 1075017"/>
                <a:gd name="csY18" fmla="*/ 148411 h 1130146"/>
                <a:gd name="csX19" fmla="*/ 872680 w 1075017"/>
                <a:gd name="csY19" fmla="*/ 184121 h 1130146"/>
                <a:gd name="csX20" fmla="*/ 944417 w 1075017"/>
                <a:gd name="csY20" fmla="*/ 207418 h 1130146"/>
                <a:gd name="csX21" fmla="*/ 945850 w 1075017"/>
                <a:gd name="csY21" fmla="*/ 207776 h 1130146"/>
                <a:gd name="csX22" fmla="*/ 959556 w 1075017"/>
                <a:gd name="csY22" fmla="*/ 218123 h 1130146"/>
                <a:gd name="csX23" fmla="*/ 964760 w 1075017"/>
                <a:gd name="csY23" fmla="*/ 234478 h 1130146"/>
                <a:gd name="csX24" fmla="*/ 959556 w 1075017"/>
                <a:gd name="csY24" fmla="*/ 250832 h 1130146"/>
                <a:gd name="csX25" fmla="*/ 945850 w 1075017"/>
                <a:gd name="csY25" fmla="*/ 261180 h 1130146"/>
                <a:gd name="csX26" fmla="*/ 874114 w 1075017"/>
                <a:gd name="csY26" fmla="*/ 284477 h 1130146"/>
                <a:gd name="csX27" fmla="*/ 816236 w 1075017"/>
                <a:gd name="csY27" fmla="*/ 320187 h 1130146"/>
                <a:gd name="csX28" fmla="*/ 780496 w 1075017"/>
                <a:gd name="csY28" fmla="*/ 378020 h 1130146"/>
                <a:gd name="csX29" fmla="*/ 757182 w 1075017"/>
                <a:gd name="csY29" fmla="*/ 449702 h 1130146"/>
                <a:gd name="csX30" fmla="*/ 756493 w 1075017"/>
                <a:gd name="csY30" fmla="*/ 451463 h 1130146"/>
                <a:gd name="csX31" fmla="*/ 746829 w 1075017"/>
                <a:gd name="csY31" fmla="*/ 463396 h 1130146"/>
                <a:gd name="csX32" fmla="*/ 730461 w 1075017"/>
                <a:gd name="csY32" fmla="*/ 468598 h 1130146"/>
                <a:gd name="csX33" fmla="*/ 714093 w 1075017"/>
                <a:gd name="csY33" fmla="*/ 463396 h 1130146"/>
                <a:gd name="csX34" fmla="*/ 703740 w 1075017"/>
                <a:gd name="csY34" fmla="*/ 449702 h 1130146"/>
                <a:gd name="csX35" fmla="*/ 680426 w 1075017"/>
                <a:gd name="csY35" fmla="*/ 378020 h 1130146"/>
                <a:gd name="csX36" fmla="*/ 656957 w 1075017"/>
                <a:gd name="csY36" fmla="*/ 333865 h 1130146"/>
                <a:gd name="csX37" fmla="*/ 1064248 w 1075017"/>
                <a:gd name="csY37" fmla="*/ 523277 h 1130146"/>
                <a:gd name="csX38" fmla="*/ 1026270 w 1075017"/>
                <a:gd name="csY38" fmla="*/ 510945 h 1130146"/>
                <a:gd name="csX39" fmla="*/ 995629 w 1075017"/>
                <a:gd name="csY39" fmla="*/ 492039 h 1130146"/>
                <a:gd name="csX40" fmla="*/ 976709 w 1075017"/>
                <a:gd name="csY40" fmla="*/ 461420 h 1130146"/>
                <a:gd name="csX41" fmla="*/ 964366 w 1075017"/>
                <a:gd name="csY41" fmla="*/ 423472 h 1130146"/>
                <a:gd name="csX42" fmla="*/ 958883 w 1075017"/>
                <a:gd name="csY42" fmla="*/ 416222 h 1130146"/>
                <a:gd name="csX43" fmla="*/ 950217 w 1075017"/>
                <a:gd name="csY43" fmla="*/ 413468 h 1130146"/>
                <a:gd name="csX44" fmla="*/ 941553 w 1075017"/>
                <a:gd name="csY44" fmla="*/ 416222 h 1130146"/>
                <a:gd name="csX45" fmla="*/ 936071 w 1075017"/>
                <a:gd name="csY45" fmla="*/ 423472 h 1130146"/>
                <a:gd name="csX46" fmla="*/ 923727 w 1075017"/>
                <a:gd name="csY46" fmla="*/ 461420 h 1130146"/>
                <a:gd name="csX47" fmla="*/ 905138 w 1075017"/>
                <a:gd name="csY47" fmla="*/ 491901 h 1130146"/>
                <a:gd name="csX48" fmla="*/ 874927 w 1075017"/>
                <a:gd name="csY48" fmla="*/ 510945 h 1130146"/>
                <a:gd name="csX49" fmla="*/ 836948 w 1075017"/>
                <a:gd name="csY49" fmla="*/ 523277 h 1130146"/>
                <a:gd name="csX50" fmla="*/ 829693 w 1075017"/>
                <a:gd name="csY50" fmla="*/ 528754 h 1130146"/>
                <a:gd name="csX51" fmla="*/ 826937 w 1075017"/>
                <a:gd name="csY51" fmla="*/ 537415 h 1130146"/>
                <a:gd name="csX52" fmla="*/ 829693 w 1075017"/>
                <a:gd name="csY52" fmla="*/ 546073 h 1130146"/>
                <a:gd name="csX53" fmla="*/ 836948 w 1075017"/>
                <a:gd name="csY53" fmla="*/ 551550 h 1130146"/>
                <a:gd name="csX54" fmla="*/ 874927 w 1075017"/>
                <a:gd name="csY54" fmla="*/ 563883 h 1130146"/>
                <a:gd name="csX55" fmla="*/ 886992 w 1075017"/>
                <a:gd name="csY55" fmla="*/ 569065 h 1130146"/>
                <a:gd name="csX56" fmla="*/ 887072 w 1075017"/>
                <a:gd name="csY56" fmla="*/ 569484 h 1130146"/>
                <a:gd name="csX57" fmla="*/ 905551 w 1075017"/>
                <a:gd name="csY57" fmla="*/ 583181 h 1130146"/>
                <a:gd name="csX58" fmla="*/ 924482 w 1075017"/>
                <a:gd name="csY58" fmla="*/ 613863 h 1130146"/>
                <a:gd name="csX59" fmla="*/ 936831 w 1075017"/>
                <a:gd name="csY59" fmla="*/ 651819 h 1130146"/>
                <a:gd name="csX60" fmla="*/ 942311 w 1075017"/>
                <a:gd name="csY60" fmla="*/ 659072 h 1130146"/>
                <a:gd name="csX61" fmla="*/ 950972 w 1075017"/>
                <a:gd name="csY61" fmla="*/ 661825 h 1130146"/>
                <a:gd name="csX62" fmla="*/ 959635 w 1075017"/>
                <a:gd name="csY62" fmla="*/ 659072 h 1130146"/>
                <a:gd name="csX63" fmla="*/ 964694 w 1075017"/>
                <a:gd name="csY63" fmla="*/ 652880 h 1130146"/>
                <a:gd name="csX64" fmla="*/ 964688 w 1075017"/>
                <a:gd name="csY64" fmla="*/ 652641 h 1130146"/>
                <a:gd name="csX65" fmla="*/ 965124 w 1075017"/>
                <a:gd name="csY65" fmla="*/ 651546 h 1130146"/>
                <a:gd name="csX66" fmla="*/ 977467 w 1075017"/>
                <a:gd name="csY66" fmla="*/ 613598 h 1130146"/>
                <a:gd name="csX67" fmla="*/ 996387 w 1075017"/>
                <a:gd name="csY67" fmla="*/ 582979 h 1130146"/>
                <a:gd name="csX68" fmla="*/ 1027028 w 1075017"/>
                <a:gd name="csY68" fmla="*/ 564073 h 1130146"/>
                <a:gd name="csX69" fmla="*/ 1065007 w 1075017"/>
                <a:gd name="csY69" fmla="*/ 551741 h 1130146"/>
                <a:gd name="csX70" fmla="*/ 1072262 w 1075017"/>
                <a:gd name="csY70" fmla="*/ 546264 h 1130146"/>
                <a:gd name="csX71" fmla="*/ 1075018 w 1075017"/>
                <a:gd name="csY71" fmla="*/ 537603 h 1130146"/>
                <a:gd name="csX72" fmla="*/ 1072262 w 1075017"/>
                <a:gd name="csY72" fmla="*/ 528945 h 1130146"/>
                <a:gd name="csX73" fmla="*/ 1065007 w 1075017"/>
                <a:gd name="csY73" fmla="*/ 523468 h 1130146"/>
                <a:gd name="csX74" fmla="*/ 1064248 w 1075017"/>
                <a:gd name="csY74" fmla="*/ 523277 h 1130146"/>
                <a:gd name="csX75" fmla="*/ 385904 w 1075017"/>
                <a:gd name="csY75" fmla="*/ 137823 h 1130146"/>
                <a:gd name="csX76" fmla="*/ 500316 w 1075017"/>
                <a:gd name="csY76" fmla="*/ 155066 h 1130146"/>
                <a:gd name="csX77" fmla="*/ 498188 w 1075017"/>
                <a:gd name="csY77" fmla="*/ 155752 h 1130146"/>
                <a:gd name="csX78" fmla="*/ 456566 w 1075017"/>
                <a:gd name="csY78" fmla="*/ 186625 h 1130146"/>
                <a:gd name="csX79" fmla="*/ 444233 w 1075017"/>
                <a:gd name="csY79" fmla="*/ 212089 h 1130146"/>
                <a:gd name="csX80" fmla="*/ 385904 w 1075017"/>
                <a:gd name="csY80" fmla="*/ 206734 h 1130146"/>
                <a:gd name="csX81" fmla="*/ 68911 w 1075017"/>
                <a:gd name="csY81" fmla="*/ 523727 h 1130146"/>
                <a:gd name="csX82" fmla="*/ 385904 w 1075017"/>
                <a:gd name="csY82" fmla="*/ 840719 h 1130146"/>
                <a:gd name="csX83" fmla="*/ 702896 w 1075017"/>
                <a:gd name="csY83" fmla="*/ 523727 h 1130146"/>
                <a:gd name="csX84" fmla="*/ 702847 w 1075017"/>
                <a:gd name="csY84" fmla="*/ 518054 h 1130146"/>
                <a:gd name="csX85" fmla="*/ 730971 w 1075017"/>
                <a:gd name="csY85" fmla="*/ 522985 h 1130146"/>
                <a:gd name="csX86" fmla="*/ 771642 w 1075017"/>
                <a:gd name="csY86" fmla="*/ 512293 h 1130146"/>
                <a:gd name="csX87" fmla="*/ 771808 w 1075017"/>
                <a:gd name="csY87" fmla="*/ 523727 h 1130146"/>
                <a:gd name="csX88" fmla="*/ 682060 w 1075017"/>
                <a:gd name="csY88" fmla="*/ 771154 h 1130146"/>
                <a:gd name="csX89" fmla="*/ 982233 w 1075017"/>
                <a:gd name="csY89" fmla="*/ 1071327 h 1130146"/>
                <a:gd name="csX90" fmla="*/ 982233 w 1075017"/>
                <a:gd name="csY90" fmla="*/ 1120056 h 1130146"/>
                <a:gd name="csX91" fmla="*/ 933507 w 1075017"/>
                <a:gd name="csY91" fmla="*/ 1120056 h 1130146"/>
                <a:gd name="csX92" fmla="*/ 633332 w 1075017"/>
                <a:gd name="csY92" fmla="*/ 819883 h 1130146"/>
                <a:gd name="csX93" fmla="*/ 385904 w 1075017"/>
                <a:gd name="csY93" fmla="*/ 909631 h 1130146"/>
                <a:gd name="csX94" fmla="*/ 0 w 1075017"/>
                <a:gd name="csY94" fmla="*/ 523727 h 1130146"/>
                <a:gd name="csX95" fmla="*/ 385904 w 1075017"/>
                <a:gd name="csY95" fmla="*/ 137823 h 113014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Lst>
              <a:rect l="l" t="t" r="r" b="b"/>
              <a:pathLst>
                <a:path w="1075017" h="1130146">
                  <a:moveTo>
                    <a:pt x="656957" y="333865"/>
                  </a:moveTo>
                  <a:cubicBezTo>
                    <a:pt x="653192" y="329000"/>
                    <a:pt x="649118" y="324363"/>
                    <a:pt x="644752" y="319983"/>
                  </a:cubicBezTo>
                  <a:cubicBezTo>
                    <a:pt x="628500" y="303679"/>
                    <a:pt x="608656" y="291399"/>
                    <a:pt x="586808" y="284119"/>
                  </a:cubicBezTo>
                  <a:lnTo>
                    <a:pt x="515071" y="260821"/>
                  </a:lnTo>
                  <a:cubicBezTo>
                    <a:pt x="509542" y="258873"/>
                    <a:pt x="504754" y="255256"/>
                    <a:pt x="501366" y="250474"/>
                  </a:cubicBezTo>
                  <a:cubicBezTo>
                    <a:pt x="497981" y="245693"/>
                    <a:pt x="496162" y="239978"/>
                    <a:pt x="496162" y="234120"/>
                  </a:cubicBezTo>
                  <a:cubicBezTo>
                    <a:pt x="496162" y="228261"/>
                    <a:pt x="497981" y="222547"/>
                    <a:pt x="501366" y="217764"/>
                  </a:cubicBezTo>
                  <a:cubicBezTo>
                    <a:pt x="504754" y="212982"/>
                    <a:pt x="509542" y="209367"/>
                    <a:pt x="515071" y="207418"/>
                  </a:cubicBezTo>
                  <a:lnTo>
                    <a:pt x="586808" y="184121"/>
                  </a:lnTo>
                  <a:cubicBezTo>
                    <a:pt x="608353" y="176688"/>
                    <a:pt x="627882" y="164376"/>
                    <a:pt x="643875" y="148148"/>
                  </a:cubicBezTo>
                  <a:cubicBezTo>
                    <a:pt x="659427" y="132365"/>
                    <a:pt x="671222" y="113294"/>
                    <a:pt x="678394" y="92351"/>
                  </a:cubicBezTo>
                  <a:lnTo>
                    <a:pt x="678990" y="90577"/>
                  </a:lnTo>
                  <a:lnTo>
                    <a:pt x="702304" y="18895"/>
                  </a:lnTo>
                  <a:cubicBezTo>
                    <a:pt x="704255" y="13370"/>
                    <a:pt x="707872" y="8586"/>
                    <a:pt x="712660" y="5201"/>
                  </a:cubicBezTo>
                  <a:cubicBezTo>
                    <a:pt x="717445" y="1817"/>
                    <a:pt x="723162" y="0"/>
                    <a:pt x="729028" y="0"/>
                  </a:cubicBezTo>
                  <a:cubicBezTo>
                    <a:pt x="734891" y="0"/>
                    <a:pt x="740607" y="1817"/>
                    <a:pt x="745393" y="5201"/>
                  </a:cubicBezTo>
                  <a:cubicBezTo>
                    <a:pt x="750181" y="8586"/>
                    <a:pt x="753797" y="13370"/>
                    <a:pt x="755749" y="18895"/>
                  </a:cubicBezTo>
                  <a:lnTo>
                    <a:pt x="779063" y="90577"/>
                  </a:lnTo>
                  <a:cubicBezTo>
                    <a:pt x="786312" y="112369"/>
                    <a:pt x="798548" y="132172"/>
                    <a:pt x="814800" y="148411"/>
                  </a:cubicBezTo>
                  <a:cubicBezTo>
                    <a:pt x="831052" y="164650"/>
                    <a:pt x="850868" y="176877"/>
                    <a:pt x="872680" y="184121"/>
                  </a:cubicBezTo>
                  <a:lnTo>
                    <a:pt x="944417" y="207418"/>
                  </a:lnTo>
                  <a:lnTo>
                    <a:pt x="945850" y="207776"/>
                  </a:lnTo>
                  <a:cubicBezTo>
                    <a:pt x="951380" y="209726"/>
                    <a:pt x="956168" y="213340"/>
                    <a:pt x="959556" y="218123"/>
                  </a:cubicBezTo>
                  <a:cubicBezTo>
                    <a:pt x="962940" y="222905"/>
                    <a:pt x="964760" y="228619"/>
                    <a:pt x="964760" y="234478"/>
                  </a:cubicBezTo>
                  <a:cubicBezTo>
                    <a:pt x="964760" y="240337"/>
                    <a:pt x="962940" y="246051"/>
                    <a:pt x="959556" y="250832"/>
                  </a:cubicBezTo>
                  <a:cubicBezTo>
                    <a:pt x="956168" y="255614"/>
                    <a:pt x="951380" y="259231"/>
                    <a:pt x="945850" y="261180"/>
                  </a:cubicBezTo>
                  <a:lnTo>
                    <a:pt x="874114" y="284477"/>
                  </a:lnTo>
                  <a:cubicBezTo>
                    <a:pt x="852305" y="291721"/>
                    <a:pt x="832486" y="303949"/>
                    <a:pt x="816236" y="320187"/>
                  </a:cubicBezTo>
                  <a:cubicBezTo>
                    <a:pt x="799984" y="336425"/>
                    <a:pt x="787748" y="356228"/>
                    <a:pt x="780496" y="378020"/>
                  </a:cubicBezTo>
                  <a:lnTo>
                    <a:pt x="757182" y="449702"/>
                  </a:lnTo>
                  <a:cubicBezTo>
                    <a:pt x="756973" y="450300"/>
                    <a:pt x="756744" y="450887"/>
                    <a:pt x="756493" y="451463"/>
                  </a:cubicBezTo>
                  <a:cubicBezTo>
                    <a:pt x="754439" y="456243"/>
                    <a:pt x="751099" y="460378"/>
                    <a:pt x="746829" y="463396"/>
                  </a:cubicBezTo>
                  <a:cubicBezTo>
                    <a:pt x="742044" y="466781"/>
                    <a:pt x="736324" y="468598"/>
                    <a:pt x="730461" y="468598"/>
                  </a:cubicBezTo>
                  <a:cubicBezTo>
                    <a:pt x="724598" y="468598"/>
                    <a:pt x="718878" y="466781"/>
                    <a:pt x="714093" y="463396"/>
                  </a:cubicBezTo>
                  <a:cubicBezTo>
                    <a:pt x="709308" y="460011"/>
                    <a:pt x="705689" y="455229"/>
                    <a:pt x="703740" y="449702"/>
                  </a:cubicBezTo>
                  <a:lnTo>
                    <a:pt x="680426" y="378020"/>
                  </a:lnTo>
                  <a:cubicBezTo>
                    <a:pt x="675158" y="362033"/>
                    <a:pt x="667209" y="347107"/>
                    <a:pt x="656957" y="333865"/>
                  </a:cubicBezTo>
                  <a:close/>
                  <a:moveTo>
                    <a:pt x="1064248" y="523277"/>
                  </a:moveTo>
                  <a:lnTo>
                    <a:pt x="1026270" y="510945"/>
                  </a:lnTo>
                  <a:cubicBezTo>
                    <a:pt x="1014723" y="507108"/>
                    <a:pt x="1004232" y="500636"/>
                    <a:pt x="995629" y="492039"/>
                  </a:cubicBezTo>
                  <a:cubicBezTo>
                    <a:pt x="987024" y="483441"/>
                    <a:pt x="980546" y="472958"/>
                    <a:pt x="976709" y="461420"/>
                  </a:cubicBezTo>
                  <a:lnTo>
                    <a:pt x="964366" y="423472"/>
                  </a:lnTo>
                  <a:cubicBezTo>
                    <a:pt x="963332" y="420547"/>
                    <a:pt x="961416" y="418014"/>
                    <a:pt x="958883" y="416222"/>
                  </a:cubicBezTo>
                  <a:cubicBezTo>
                    <a:pt x="956350" y="414430"/>
                    <a:pt x="953323" y="413468"/>
                    <a:pt x="950217" y="413468"/>
                  </a:cubicBezTo>
                  <a:cubicBezTo>
                    <a:pt x="947113" y="413468"/>
                    <a:pt x="944086" y="414430"/>
                    <a:pt x="941553" y="416222"/>
                  </a:cubicBezTo>
                  <a:cubicBezTo>
                    <a:pt x="939020" y="418014"/>
                    <a:pt x="937104" y="420547"/>
                    <a:pt x="936071" y="423472"/>
                  </a:cubicBezTo>
                  <a:lnTo>
                    <a:pt x="923727" y="461420"/>
                  </a:lnTo>
                  <a:cubicBezTo>
                    <a:pt x="919967" y="472878"/>
                    <a:pt x="913603" y="483309"/>
                    <a:pt x="905138" y="491901"/>
                  </a:cubicBezTo>
                  <a:cubicBezTo>
                    <a:pt x="896672" y="500493"/>
                    <a:pt x="886330" y="507009"/>
                    <a:pt x="874927" y="510945"/>
                  </a:cubicBezTo>
                  <a:lnTo>
                    <a:pt x="836948" y="523277"/>
                  </a:lnTo>
                  <a:cubicBezTo>
                    <a:pt x="834021" y="524311"/>
                    <a:pt x="831485" y="526224"/>
                    <a:pt x="829693" y="528754"/>
                  </a:cubicBezTo>
                  <a:cubicBezTo>
                    <a:pt x="827899" y="531288"/>
                    <a:pt x="826937" y="534312"/>
                    <a:pt x="826937" y="537415"/>
                  </a:cubicBezTo>
                  <a:cubicBezTo>
                    <a:pt x="826937" y="540516"/>
                    <a:pt x="827899" y="543540"/>
                    <a:pt x="829693" y="546073"/>
                  </a:cubicBezTo>
                  <a:cubicBezTo>
                    <a:pt x="831485" y="548604"/>
                    <a:pt x="834021" y="550519"/>
                    <a:pt x="836948" y="551550"/>
                  </a:cubicBezTo>
                  <a:lnTo>
                    <a:pt x="874927" y="563883"/>
                  </a:lnTo>
                  <a:cubicBezTo>
                    <a:pt x="879100" y="565275"/>
                    <a:pt x="883133" y="567009"/>
                    <a:pt x="886992" y="569065"/>
                  </a:cubicBezTo>
                  <a:lnTo>
                    <a:pt x="887072" y="569484"/>
                  </a:lnTo>
                  <a:cubicBezTo>
                    <a:pt x="893853" y="573103"/>
                    <a:pt x="900082" y="577712"/>
                    <a:pt x="905551" y="583181"/>
                  </a:cubicBezTo>
                  <a:cubicBezTo>
                    <a:pt x="914165" y="591795"/>
                    <a:pt x="920648" y="602300"/>
                    <a:pt x="924482" y="613863"/>
                  </a:cubicBezTo>
                  <a:lnTo>
                    <a:pt x="936831" y="651819"/>
                  </a:lnTo>
                  <a:cubicBezTo>
                    <a:pt x="937865" y="654744"/>
                    <a:pt x="939778" y="657277"/>
                    <a:pt x="942311" y="659072"/>
                  </a:cubicBezTo>
                  <a:cubicBezTo>
                    <a:pt x="944844" y="660863"/>
                    <a:pt x="947871" y="661825"/>
                    <a:pt x="950972" y="661825"/>
                  </a:cubicBezTo>
                  <a:cubicBezTo>
                    <a:pt x="954076" y="661825"/>
                    <a:pt x="957102" y="660863"/>
                    <a:pt x="959635" y="659072"/>
                  </a:cubicBezTo>
                  <a:cubicBezTo>
                    <a:pt x="961854" y="657500"/>
                    <a:pt x="963602" y="655359"/>
                    <a:pt x="964694" y="652880"/>
                  </a:cubicBezTo>
                  <a:lnTo>
                    <a:pt x="964688" y="652641"/>
                  </a:lnTo>
                  <a:cubicBezTo>
                    <a:pt x="964848" y="652282"/>
                    <a:pt x="964994" y="651918"/>
                    <a:pt x="965124" y="651546"/>
                  </a:cubicBezTo>
                  <a:lnTo>
                    <a:pt x="977467" y="613598"/>
                  </a:lnTo>
                  <a:cubicBezTo>
                    <a:pt x="981307" y="602060"/>
                    <a:pt x="987784" y="591577"/>
                    <a:pt x="996387" y="582979"/>
                  </a:cubicBezTo>
                  <a:cubicBezTo>
                    <a:pt x="1004990" y="574382"/>
                    <a:pt x="1015484" y="567910"/>
                    <a:pt x="1027028" y="564073"/>
                  </a:cubicBezTo>
                  <a:lnTo>
                    <a:pt x="1065007" y="551741"/>
                  </a:lnTo>
                  <a:cubicBezTo>
                    <a:pt x="1067934" y="550707"/>
                    <a:pt x="1070470" y="548794"/>
                    <a:pt x="1072262" y="546264"/>
                  </a:cubicBezTo>
                  <a:cubicBezTo>
                    <a:pt x="1074056" y="543730"/>
                    <a:pt x="1075018" y="540706"/>
                    <a:pt x="1075018" y="537603"/>
                  </a:cubicBezTo>
                  <a:cubicBezTo>
                    <a:pt x="1075018" y="534502"/>
                    <a:pt x="1074056" y="531478"/>
                    <a:pt x="1072262" y="528945"/>
                  </a:cubicBezTo>
                  <a:cubicBezTo>
                    <a:pt x="1070470" y="526414"/>
                    <a:pt x="1067934" y="524499"/>
                    <a:pt x="1065007" y="523468"/>
                  </a:cubicBezTo>
                  <a:lnTo>
                    <a:pt x="1064248" y="523277"/>
                  </a:lnTo>
                  <a:close/>
                  <a:moveTo>
                    <a:pt x="385904" y="137823"/>
                  </a:moveTo>
                  <a:cubicBezTo>
                    <a:pt x="425740" y="137823"/>
                    <a:pt x="464165" y="143859"/>
                    <a:pt x="500316" y="155066"/>
                  </a:cubicBezTo>
                  <a:lnTo>
                    <a:pt x="498188" y="155752"/>
                  </a:lnTo>
                  <a:cubicBezTo>
                    <a:pt x="481437" y="161454"/>
                    <a:pt x="466883" y="172247"/>
                    <a:pt x="456566" y="186625"/>
                  </a:cubicBezTo>
                  <a:cubicBezTo>
                    <a:pt x="451009" y="194361"/>
                    <a:pt x="446844" y="202979"/>
                    <a:pt x="444233" y="212089"/>
                  </a:cubicBezTo>
                  <a:cubicBezTo>
                    <a:pt x="425327" y="208573"/>
                    <a:pt x="405830" y="206734"/>
                    <a:pt x="385904" y="206734"/>
                  </a:cubicBezTo>
                  <a:cubicBezTo>
                    <a:pt x="210833" y="206734"/>
                    <a:pt x="68911" y="348656"/>
                    <a:pt x="68911" y="523727"/>
                  </a:cubicBezTo>
                  <a:cubicBezTo>
                    <a:pt x="68911" y="698798"/>
                    <a:pt x="210833" y="840719"/>
                    <a:pt x="385904" y="840719"/>
                  </a:cubicBezTo>
                  <a:cubicBezTo>
                    <a:pt x="560975" y="840719"/>
                    <a:pt x="702896" y="698798"/>
                    <a:pt x="702896" y="523727"/>
                  </a:cubicBezTo>
                  <a:cubicBezTo>
                    <a:pt x="702896" y="521833"/>
                    <a:pt x="702880" y="519942"/>
                    <a:pt x="702847" y="518054"/>
                  </a:cubicBezTo>
                  <a:cubicBezTo>
                    <a:pt x="711814" y="521296"/>
                    <a:pt x="721326" y="522985"/>
                    <a:pt x="730971" y="522985"/>
                  </a:cubicBezTo>
                  <a:cubicBezTo>
                    <a:pt x="745271" y="522985"/>
                    <a:pt x="759274" y="519278"/>
                    <a:pt x="771642" y="512293"/>
                  </a:cubicBezTo>
                  <a:cubicBezTo>
                    <a:pt x="771753" y="516091"/>
                    <a:pt x="771808" y="519901"/>
                    <a:pt x="771808" y="523727"/>
                  </a:cubicBezTo>
                  <a:cubicBezTo>
                    <a:pt x="771808" y="617884"/>
                    <a:pt x="738085" y="704167"/>
                    <a:pt x="682060" y="771154"/>
                  </a:cubicBezTo>
                  <a:lnTo>
                    <a:pt x="982233" y="1071327"/>
                  </a:lnTo>
                  <a:cubicBezTo>
                    <a:pt x="995690" y="1084784"/>
                    <a:pt x="995690" y="1106599"/>
                    <a:pt x="982233" y="1120056"/>
                  </a:cubicBezTo>
                  <a:cubicBezTo>
                    <a:pt x="968779" y="1133510"/>
                    <a:pt x="946961" y="1133510"/>
                    <a:pt x="933507" y="1120056"/>
                  </a:cubicBezTo>
                  <a:lnTo>
                    <a:pt x="633332" y="819883"/>
                  </a:lnTo>
                  <a:cubicBezTo>
                    <a:pt x="566344" y="875908"/>
                    <a:pt x="480062" y="909631"/>
                    <a:pt x="385904" y="909631"/>
                  </a:cubicBezTo>
                  <a:cubicBezTo>
                    <a:pt x="172775" y="909631"/>
                    <a:pt x="0" y="736856"/>
                    <a:pt x="0" y="523727"/>
                  </a:cubicBezTo>
                  <a:cubicBezTo>
                    <a:pt x="0" y="310597"/>
                    <a:pt x="172775" y="137823"/>
                    <a:pt x="385904" y="137823"/>
                  </a:cubicBezTo>
                  <a:close/>
                </a:path>
              </a:pathLst>
            </a:custGeom>
            <a:solidFill>
              <a:schemeClr val="tx1"/>
            </a:solidFill>
            <a:ln w="2738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F64DADEF-F354-5E75-B2F2-9DD96B60F8DB}"/>
              </a:ext>
              <a:ext uri="{C183D7F6-B498-43B3-948B-1728B52AA6E4}">
                <adec:decorative xmlns:adec="http://schemas.microsoft.com/office/drawing/2017/decorative" val="1"/>
              </a:ext>
            </a:extLst>
          </p:cNvPr>
          <p:cNvGrpSpPr/>
          <p:nvPr/>
        </p:nvGrpSpPr>
        <p:grpSpPr>
          <a:xfrm>
            <a:off x="3588713" y="4457611"/>
            <a:ext cx="654710" cy="654710"/>
            <a:chOff x="3588713" y="4316018"/>
            <a:chExt cx="654710" cy="654710"/>
          </a:xfrm>
        </p:grpSpPr>
        <p:sp>
          <p:nvSpPr>
            <p:cNvPr id="167" name="Box">
              <a:extLst>
                <a:ext uri="{FF2B5EF4-FFF2-40B4-BE49-F238E27FC236}">
                  <a16:creationId xmlns:a16="http://schemas.microsoft.com/office/drawing/2014/main" id="{FF11AA89-C1B1-9761-D8D2-3287D0A83796}"/>
                </a:ext>
                <a:ext uri="{C183D7F6-B498-43B3-948B-1728B52AA6E4}">
                  <adec:decorative xmlns:adec="http://schemas.microsoft.com/office/drawing/2017/decorative" val="1"/>
                </a:ext>
              </a:extLst>
            </p:cNvPr>
            <p:cNvSpPr>
              <a:spLocks noChangeAspect="1"/>
            </p:cNvSpPr>
            <p:nvPr/>
          </p:nvSpPr>
          <p:spPr bwMode="auto">
            <a:xfrm>
              <a:off x="358871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6" name="Graphic 152">
              <a:extLst>
                <a:ext uri="{FF2B5EF4-FFF2-40B4-BE49-F238E27FC236}">
                  <a16:creationId xmlns:a16="http://schemas.microsoft.com/office/drawing/2014/main" id="{7ECC3E93-5653-C2AF-4E3D-8252A026EEF5}"/>
                </a:ext>
              </a:extLst>
            </p:cNvPr>
            <p:cNvSpPr/>
            <p:nvPr/>
          </p:nvSpPr>
          <p:spPr>
            <a:xfrm>
              <a:off x="3727066" y="4492126"/>
              <a:ext cx="378004" cy="302496"/>
            </a:xfrm>
            <a:custGeom>
              <a:avLst/>
              <a:gdLst>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398507 w 1028405"/>
                <a:gd name="csY18" fmla="*/ 437072 h 822981"/>
                <a:gd name="csX19" fmla="*/ 437072 w 1028405"/>
                <a:gd name="csY19" fmla="*/ 475637 h 822981"/>
                <a:gd name="csX20" fmla="*/ 437072 w 1028405"/>
                <a:gd name="csY20" fmla="*/ 500988 h 822981"/>
                <a:gd name="csX21" fmla="*/ 436661 w 1028405"/>
                <a:gd name="csY21" fmla="*/ 506541 h 822981"/>
                <a:gd name="csX22" fmla="*/ 308522 w 1028405"/>
                <a:gd name="csY22" fmla="*/ 591384 h 822981"/>
                <a:gd name="csX23" fmla="*/ 180382 w 1028405"/>
                <a:gd name="csY23" fmla="*/ 506541 h 822981"/>
                <a:gd name="csX24" fmla="*/ 179971 w 1028405"/>
                <a:gd name="csY24" fmla="*/ 500885 h 822981"/>
                <a:gd name="csX25" fmla="*/ 179971 w 1028405"/>
                <a:gd name="csY25" fmla="*/ 475637 h 822981"/>
                <a:gd name="csX26" fmla="*/ 218536 w 1028405"/>
                <a:gd name="csY26" fmla="*/ 437072 h 822981"/>
                <a:gd name="csX27" fmla="*/ 398507 w 1028405"/>
                <a:gd name="csY27" fmla="*/ 437072 h 822981"/>
                <a:gd name="csX28" fmla="*/ 578581 w 1028405"/>
                <a:gd name="csY28" fmla="*/ 462577 h 822981"/>
                <a:gd name="csX29" fmla="*/ 809869 w 1028405"/>
                <a:gd name="csY29" fmla="*/ 462577 h 822981"/>
                <a:gd name="csX30" fmla="*/ 848424 w 1028405"/>
                <a:gd name="csY30" fmla="*/ 501152 h 822981"/>
                <a:gd name="csX31" fmla="*/ 815114 w 1028405"/>
                <a:gd name="csY31" fmla="*/ 539347 h 822981"/>
                <a:gd name="csX32" fmla="*/ 809869 w 1028405"/>
                <a:gd name="csY32" fmla="*/ 539707 h 822981"/>
                <a:gd name="csX33" fmla="*/ 578581 w 1028405"/>
                <a:gd name="csY33" fmla="*/ 539707 h 822981"/>
                <a:gd name="csX34" fmla="*/ 540026 w 1028405"/>
                <a:gd name="csY34" fmla="*/ 501131 h 822981"/>
                <a:gd name="csX35" fmla="*/ 573336 w 1028405"/>
                <a:gd name="csY35" fmla="*/ 462937 h 822981"/>
                <a:gd name="csX36" fmla="*/ 578581 w 1028405"/>
                <a:gd name="csY36" fmla="*/ 462577 h 822981"/>
                <a:gd name="csX37" fmla="*/ 809869 w 1028405"/>
                <a:gd name="csY37" fmla="*/ 462577 h 822981"/>
                <a:gd name="csX38" fmla="*/ 578581 w 1028405"/>
                <a:gd name="csY38" fmla="*/ 462577 h 822981"/>
                <a:gd name="csX39" fmla="*/ 308522 w 1028405"/>
                <a:gd name="csY39" fmla="*/ 231494 h 822981"/>
                <a:gd name="csX40" fmla="*/ 385652 w 1028405"/>
                <a:gd name="csY40" fmla="*/ 308624 h 822981"/>
                <a:gd name="csX41" fmla="*/ 308522 w 1028405"/>
                <a:gd name="csY41" fmla="*/ 385755 h 822981"/>
                <a:gd name="csX42" fmla="*/ 231391 w 1028405"/>
                <a:gd name="csY42" fmla="*/ 308624 h 822981"/>
                <a:gd name="csX43" fmla="*/ 308522 w 1028405"/>
                <a:gd name="csY43" fmla="*/ 231494 h 822981"/>
                <a:gd name="csX44" fmla="*/ 578581 w 1028405"/>
                <a:gd name="csY44" fmla="*/ 282811 h 822981"/>
                <a:gd name="csX45" fmla="*/ 809869 w 1028405"/>
                <a:gd name="csY45" fmla="*/ 282811 h 822981"/>
                <a:gd name="csX46" fmla="*/ 848424 w 1028405"/>
                <a:gd name="csY46" fmla="*/ 321387 h 822981"/>
                <a:gd name="csX47" fmla="*/ 815114 w 1028405"/>
                <a:gd name="csY47" fmla="*/ 359582 h 822981"/>
                <a:gd name="csX48" fmla="*/ 809869 w 1028405"/>
                <a:gd name="csY48" fmla="*/ 359942 h 822981"/>
                <a:gd name="csX49" fmla="*/ 578581 w 1028405"/>
                <a:gd name="csY49" fmla="*/ 359942 h 822981"/>
                <a:gd name="csX50" fmla="*/ 540026 w 1028405"/>
                <a:gd name="csY50" fmla="*/ 321366 h 822981"/>
                <a:gd name="csX51" fmla="*/ 573336 w 1028405"/>
                <a:gd name="csY51" fmla="*/ 283171 h 822981"/>
                <a:gd name="csX52" fmla="*/ 578581 w 1028405"/>
                <a:gd name="csY52" fmla="*/ 282811 h 822981"/>
                <a:gd name="csX53" fmla="*/ 809869 w 1028405"/>
                <a:gd name="csY53" fmla="*/ 282811 h 822981"/>
                <a:gd name="csX54" fmla="*/ 578581 w 1028405"/>
                <a:gd name="csY54" fmla="*/ 282811 h 82298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Lst>
              <a:rect l="l" t="t" r="r" b="b"/>
              <a:pathLst>
                <a:path w="1028405" h="822981">
                  <a:moveTo>
                    <a:pt x="912709" y="0"/>
                  </a:moveTo>
                  <a:cubicBezTo>
                    <a:pt x="976604" y="0"/>
                    <a:pt x="1028405" y="51799"/>
                    <a:pt x="1028405" y="115696"/>
                  </a:cubicBezTo>
                  <a:lnTo>
                    <a:pt x="1028405" y="707286"/>
                  </a:lnTo>
                  <a:cubicBezTo>
                    <a:pt x="1028405" y="771180"/>
                    <a:pt x="976604" y="822981"/>
                    <a:pt x="912709" y="822981"/>
                  </a:cubicBezTo>
                  <a:lnTo>
                    <a:pt x="115696" y="822981"/>
                  </a:lnTo>
                  <a:cubicBezTo>
                    <a:pt x="51799" y="822981"/>
                    <a:pt x="0" y="771180"/>
                    <a:pt x="0" y="707286"/>
                  </a:cubicBezTo>
                  <a:lnTo>
                    <a:pt x="0" y="115696"/>
                  </a:lnTo>
                  <a:cubicBezTo>
                    <a:pt x="0" y="51799"/>
                    <a:pt x="51799" y="0"/>
                    <a:pt x="115696" y="0"/>
                  </a:cubicBezTo>
                  <a:lnTo>
                    <a:pt x="912709" y="0"/>
                  </a:lnTo>
                  <a:close/>
                  <a:moveTo>
                    <a:pt x="912709" y="77130"/>
                  </a:moveTo>
                  <a:lnTo>
                    <a:pt x="115696" y="77130"/>
                  </a:lnTo>
                  <a:cubicBezTo>
                    <a:pt x="94397" y="77130"/>
                    <a:pt x="77130" y="94397"/>
                    <a:pt x="77130" y="115696"/>
                  </a:cubicBezTo>
                  <a:lnTo>
                    <a:pt x="77130" y="707286"/>
                  </a:lnTo>
                  <a:cubicBezTo>
                    <a:pt x="77130" y="728574"/>
                    <a:pt x="94408" y="745851"/>
                    <a:pt x="115696" y="745851"/>
                  </a:cubicBezTo>
                  <a:lnTo>
                    <a:pt x="912709" y="745851"/>
                  </a:lnTo>
                  <a:cubicBezTo>
                    <a:pt x="934008" y="745851"/>
                    <a:pt x="951275" y="728584"/>
                    <a:pt x="951275" y="707286"/>
                  </a:cubicBezTo>
                  <a:lnTo>
                    <a:pt x="951275" y="115696"/>
                  </a:lnTo>
                  <a:cubicBezTo>
                    <a:pt x="951275" y="94397"/>
                    <a:pt x="934008" y="77130"/>
                    <a:pt x="912709" y="77130"/>
                  </a:cubicBezTo>
                  <a:close/>
                  <a:moveTo>
                    <a:pt x="398507" y="437072"/>
                  </a:moveTo>
                  <a:cubicBezTo>
                    <a:pt x="419805" y="437072"/>
                    <a:pt x="437072" y="454339"/>
                    <a:pt x="437072" y="475637"/>
                  </a:cubicBezTo>
                  <a:lnTo>
                    <a:pt x="437072" y="500988"/>
                  </a:lnTo>
                  <a:lnTo>
                    <a:pt x="436661" y="506541"/>
                  </a:lnTo>
                  <a:cubicBezTo>
                    <a:pt x="428279" y="563772"/>
                    <a:pt x="380407" y="591384"/>
                    <a:pt x="308522" y="591384"/>
                  </a:cubicBezTo>
                  <a:cubicBezTo>
                    <a:pt x="236636" y="591384"/>
                    <a:pt x="188712" y="563772"/>
                    <a:pt x="180382" y="506541"/>
                  </a:cubicBezTo>
                  <a:lnTo>
                    <a:pt x="179971" y="500885"/>
                  </a:lnTo>
                  <a:lnTo>
                    <a:pt x="179971" y="475637"/>
                  </a:lnTo>
                  <a:cubicBezTo>
                    <a:pt x="179971" y="454339"/>
                    <a:pt x="197237" y="437072"/>
                    <a:pt x="218536" y="437072"/>
                  </a:cubicBezTo>
                  <a:lnTo>
                    <a:pt x="398507" y="437072"/>
                  </a:lnTo>
                  <a:close/>
                  <a:moveTo>
                    <a:pt x="578581" y="462577"/>
                  </a:moveTo>
                  <a:lnTo>
                    <a:pt x="809869" y="462577"/>
                  </a:lnTo>
                  <a:cubicBezTo>
                    <a:pt x="831167" y="462582"/>
                    <a:pt x="848429" y="479854"/>
                    <a:pt x="848424" y="501152"/>
                  </a:cubicBezTo>
                  <a:cubicBezTo>
                    <a:pt x="848419" y="520419"/>
                    <a:pt x="834196" y="536719"/>
                    <a:pt x="815114" y="539347"/>
                  </a:cubicBezTo>
                  <a:lnTo>
                    <a:pt x="809869" y="539707"/>
                  </a:lnTo>
                  <a:lnTo>
                    <a:pt x="578581" y="539707"/>
                  </a:lnTo>
                  <a:cubicBezTo>
                    <a:pt x="557282" y="539702"/>
                    <a:pt x="540021" y="522430"/>
                    <a:pt x="540026" y="501131"/>
                  </a:cubicBezTo>
                  <a:cubicBezTo>
                    <a:pt x="540031" y="481864"/>
                    <a:pt x="554254" y="465564"/>
                    <a:pt x="573336" y="462937"/>
                  </a:cubicBezTo>
                  <a:lnTo>
                    <a:pt x="578581" y="462577"/>
                  </a:lnTo>
                  <a:lnTo>
                    <a:pt x="809869" y="462577"/>
                  </a:lnTo>
                  <a:lnTo>
                    <a:pt x="578581" y="462577"/>
                  </a:lnTo>
                  <a:close/>
                  <a:moveTo>
                    <a:pt x="308522" y="231494"/>
                  </a:moveTo>
                  <a:cubicBezTo>
                    <a:pt x="351120" y="231494"/>
                    <a:pt x="385652" y="266026"/>
                    <a:pt x="385652" y="308624"/>
                  </a:cubicBezTo>
                  <a:cubicBezTo>
                    <a:pt x="385652" y="351221"/>
                    <a:pt x="351120" y="385755"/>
                    <a:pt x="308522" y="385755"/>
                  </a:cubicBezTo>
                  <a:cubicBezTo>
                    <a:pt x="265923" y="385755"/>
                    <a:pt x="231391" y="351221"/>
                    <a:pt x="231391" y="308624"/>
                  </a:cubicBezTo>
                  <a:cubicBezTo>
                    <a:pt x="231391" y="266026"/>
                    <a:pt x="265923" y="231494"/>
                    <a:pt x="308522" y="231494"/>
                  </a:cubicBezTo>
                  <a:close/>
                  <a:moveTo>
                    <a:pt x="578581" y="282811"/>
                  </a:moveTo>
                  <a:lnTo>
                    <a:pt x="809869" y="282811"/>
                  </a:lnTo>
                  <a:cubicBezTo>
                    <a:pt x="831167" y="282818"/>
                    <a:pt x="848429" y="300090"/>
                    <a:pt x="848424" y="321387"/>
                  </a:cubicBezTo>
                  <a:cubicBezTo>
                    <a:pt x="848419" y="340654"/>
                    <a:pt x="834196" y="356954"/>
                    <a:pt x="815114" y="359582"/>
                  </a:cubicBezTo>
                  <a:lnTo>
                    <a:pt x="809869" y="359942"/>
                  </a:lnTo>
                  <a:lnTo>
                    <a:pt x="578581" y="359942"/>
                  </a:lnTo>
                  <a:cubicBezTo>
                    <a:pt x="557282" y="359937"/>
                    <a:pt x="540021" y="342665"/>
                    <a:pt x="540026" y="321366"/>
                  </a:cubicBezTo>
                  <a:cubicBezTo>
                    <a:pt x="540031" y="302102"/>
                    <a:pt x="554254" y="285797"/>
                    <a:pt x="573336" y="283171"/>
                  </a:cubicBezTo>
                  <a:lnTo>
                    <a:pt x="578581" y="282811"/>
                  </a:lnTo>
                  <a:lnTo>
                    <a:pt x="809869" y="282811"/>
                  </a:lnTo>
                  <a:lnTo>
                    <a:pt x="578581" y="282811"/>
                  </a:lnTo>
                  <a:close/>
                </a:path>
              </a:pathLst>
            </a:custGeom>
            <a:solidFill>
              <a:schemeClr val="tx1"/>
            </a:solidFill>
            <a:ln w="54372"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9B158441-9078-099E-FB5F-710D5CF862F2}"/>
              </a:ext>
              <a:ext uri="{C183D7F6-B498-43B3-948B-1728B52AA6E4}">
                <adec:decorative xmlns:adec="http://schemas.microsoft.com/office/drawing/2017/decorative" val="1"/>
              </a:ext>
            </a:extLst>
          </p:cNvPr>
          <p:cNvGrpSpPr/>
          <p:nvPr/>
        </p:nvGrpSpPr>
        <p:grpSpPr>
          <a:xfrm>
            <a:off x="10128503" y="4457611"/>
            <a:ext cx="654710" cy="654710"/>
            <a:chOff x="10128503" y="4316018"/>
            <a:chExt cx="654710" cy="654710"/>
          </a:xfrm>
        </p:grpSpPr>
        <p:sp>
          <p:nvSpPr>
            <p:cNvPr id="170" name="Box">
              <a:extLst>
                <a:ext uri="{FF2B5EF4-FFF2-40B4-BE49-F238E27FC236}">
                  <a16:creationId xmlns:a16="http://schemas.microsoft.com/office/drawing/2014/main" id="{3D7F6436-2836-54A3-8466-045BC6710B82}"/>
                </a:ext>
                <a:ext uri="{C183D7F6-B498-43B3-948B-1728B52AA6E4}">
                  <adec:decorative xmlns:adec="http://schemas.microsoft.com/office/drawing/2017/decorative" val="1"/>
                </a:ext>
              </a:extLst>
            </p:cNvPr>
            <p:cNvSpPr>
              <a:spLocks noChangeAspect="1"/>
            </p:cNvSpPr>
            <p:nvPr/>
          </p:nvSpPr>
          <p:spPr bwMode="auto">
            <a:xfrm>
              <a:off x="1012850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7" name="Graphic 140">
              <a:extLst>
                <a:ext uri="{FF2B5EF4-FFF2-40B4-BE49-F238E27FC236}">
                  <a16:creationId xmlns:a16="http://schemas.microsoft.com/office/drawing/2014/main" id="{416BF463-AD15-354C-D6DF-1B736D4FD9DE}"/>
                </a:ext>
              </a:extLst>
            </p:cNvPr>
            <p:cNvSpPr/>
            <p:nvPr/>
          </p:nvSpPr>
          <p:spPr>
            <a:xfrm>
              <a:off x="10312238" y="4483794"/>
              <a:ext cx="287240" cy="319158"/>
            </a:xfrm>
            <a:custGeom>
              <a:avLst/>
              <a:gdLst>
                <a:gd name="csX0" fmla="*/ 0 w 859618"/>
                <a:gd name="csY0" fmla="*/ 179087 h 955142"/>
                <a:gd name="csX1" fmla="*/ 35817 w 859618"/>
                <a:gd name="csY1" fmla="*/ 143270 h 955142"/>
                <a:gd name="csX2" fmla="*/ 408319 w 859618"/>
                <a:gd name="csY2" fmla="*/ 7163 h 955142"/>
                <a:gd name="csX3" fmla="*/ 451300 w 859618"/>
                <a:gd name="csY3" fmla="*/ 7163 h 955142"/>
                <a:gd name="csX4" fmla="*/ 823801 w 859618"/>
                <a:gd name="csY4" fmla="*/ 143270 h 955142"/>
                <a:gd name="csX5" fmla="*/ 859619 w 859618"/>
                <a:gd name="csY5" fmla="*/ 179087 h 955142"/>
                <a:gd name="csX6" fmla="*/ 859619 w 859618"/>
                <a:gd name="csY6" fmla="*/ 429809 h 955142"/>
                <a:gd name="csX7" fmla="*/ 442942 w 859618"/>
                <a:gd name="csY7" fmla="*/ 952648 h 955142"/>
                <a:gd name="csX8" fmla="*/ 416676 w 859618"/>
                <a:gd name="csY8" fmla="*/ 952648 h 955142"/>
                <a:gd name="csX9" fmla="*/ 0 w 859618"/>
                <a:gd name="csY9" fmla="*/ 429809 h 955142"/>
                <a:gd name="csX10" fmla="*/ 0 w 859618"/>
                <a:gd name="csY10" fmla="*/ 179087 h 955142"/>
                <a:gd name="csX11" fmla="*/ 71635 w 859618"/>
                <a:gd name="csY11" fmla="*/ 213854 h 955142"/>
                <a:gd name="csX12" fmla="*/ 71635 w 859618"/>
                <a:gd name="csY12" fmla="*/ 429809 h 955142"/>
                <a:gd name="csX13" fmla="*/ 429809 w 859618"/>
                <a:gd name="csY13" fmla="*/ 880727 h 955142"/>
                <a:gd name="csX14" fmla="*/ 787984 w 859618"/>
                <a:gd name="csY14" fmla="*/ 429809 h 955142"/>
                <a:gd name="csX15" fmla="*/ 787984 w 859618"/>
                <a:gd name="csY15" fmla="*/ 213854 h 955142"/>
                <a:gd name="csX16" fmla="*/ 429809 w 859618"/>
                <a:gd name="csY16" fmla="*/ 80136 h 955142"/>
                <a:gd name="csX17" fmla="*/ 71635 w 859618"/>
                <a:gd name="csY17" fmla="*/ 213854 h 95514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859618" h="955142">
                  <a:moveTo>
                    <a:pt x="0" y="179087"/>
                  </a:moveTo>
                  <a:cubicBezTo>
                    <a:pt x="0" y="159306"/>
                    <a:pt x="16036" y="143270"/>
                    <a:pt x="35817" y="143270"/>
                  </a:cubicBezTo>
                  <a:cubicBezTo>
                    <a:pt x="162993" y="143270"/>
                    <a:pt x="286922" y="98235"/>
                    <a:pt x="408319" y="7163"/>
                  </a:cubicBezTo>
                  <a:cubicBezTo>
                    <a:pt x="421054" y="-2388"/>
                    <a:pt x="438565" y="-2388"/>
                    <a:pt x="451300" y="7163"/>
                  </a:cubicBezTo>
                  <a:cubicBezTo>
                    <a:pt x="572697" y="98235"/>
                    <a:pt x="696625" y="143270"/>
                    <a:pt x="823801" y="143270"/>
                  </a:cubicBezTo>
                  <a:cubicBezTo>
                    <a:pt x="843583" y="143270"/>
                    <a:pt x="859619" y="159306"/>
                    <a:pt x="859619" y="179087"/>
                  </a:cubicBezTo>
                  <a:lnTo>
                    <a:pt x="859619" y="429809"/>
                  </a:lnTo>
                  <a:cubicBezTo>
                    <a:pt x="859619" y="668640"/>
                    <a:pt x="718355" y="844145"/>
                    <a:pt x="442942" y="952648"/>
                  </a:cubicBezTo>
                  <a:cubicBezTo>
                    <a:pt x="434503" y="955974"/>
                    <a:pt x="425116" y="955974"/>
                    <a:pt x="416676" y="952648"/>
                  </a:cubicBezTo>
                  <a:cubicBezTo>
                    <a:pt x="141264" y="844145"/>
                    <a:pt x="0" y="668592"/>
                    <a:pt x="0" y="429809"/>
                  </a:cubicBezTo>
                  <a:lnTo>
                    <a:pt x="0" y="179087"/>
                  </a:lnTo>
                  <a:close/>
                  <a:moveTo>
                    <a:pt x="71635" y="213854"/>
                  </a:moveTo>
                  <a:lnTo>
                    <a:pt x="71635" y="429809"/>
                  </a:lnTo>
                  <a:cubicBezTo>
                    <a:pt x="71635" y="633061"/>
                    <a:pt x="188782" y="782205"/>
                    <a:pt x="429809" y="880727"/>
                  </a:cubicBezTo>
                  <a:cubicBezTo>
                    <a:pt x="670837" y="782205"/>
                    <a:pt x="787984" y="633061"/>
                    <a:pt x="787984" y="429809"/>
                  </a:cubicBezTo>
                  <a:lnTo>
                    <a:pt x="787984" y="213854"/>
                  </a:lnTo>
                  <a:cubicBezTo>
                    <a:pt x="664915" y="206595"/>
                    <a:pt x="545380" y="161799"/>
                    <a:pt x="429809" y="80136"/>
                  </a:cubicBezTo>
                  <a:cubicBezTo>
                    <a:pt x="314238" y="161799"/>
                    <a:pt x="194704" y="206595"/>
                    <a:pt x="71635" y="213854"/>
                  </a:cubicBezTo>
                  <a:close/>
                </a:path>
              </a:pathLst>
            </a:custGeom>
            <a:solidFill>
              <a:schemeClr val="tx1"/>
            </a:solidFill>
            <a:ln w="54372"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23" name="TextBox 322">
            <a:extLst>
              <a:ext uri="{FF2B5EF4-FFF2-40B4-BE49-F238E27FC236}">
                <a16:creationId xmlns:a16="http://schemas.microsoft.com/office/drawing/2014/main" id="{07D9F69E-5421-36C2-82CB-645ECB071317}"/>
              </a:ext>
            </a:extLst>
          </p:cNvPr>
          <p:cNvSpPr txBox="1"/>
          <p:nvPr/>
        </p:nvSpPr>
        <p:spPr>
          <a:xfrm>
            <a:off x="818342" y="4580326"/>
            <a:ext cx="1835592" cy="14383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a:ln>
                  <a:noFill/>
                </a:ln>
                <a:solidFill>
                  <a:srgbClr val="2A446F"/>
                </a:solidFill>
                <a:effectLst/>
                <a:uLnTx/>
                <a:uFillTx/>
                <a:latin typeface="Segoe UI Semibold"/>
                <a:cs typeface="Segoe UI" pitchFamily="34" charset="0"/>
              </a:rPr>
              <a:t>Registre</a:t>
            </a:r>
            <a:r>
              <a:rPr lang="fr-fr" sz="1600">
                <a:solidFill>
                  <a:srgbClr val="2A446F"/>
                </a:solidFill>
                <a:latin typeface="Segoe UI Semibold"/>
              </a:rPr>
              <a:t> </a:t>
            </a:r>
            <a:r>
              <a:rPr kumimoji="0" lang="fr-fr" sz="1600" b="1" i="0" u="none" strike="noStrike" kern="1200" cap="none" spc="0" normalizeH="0" baseline="0" noProof="0">
                <a:ln>
                  <a:noFill/>
                </a:ln>
                <a:solidFill>
                  <a:srgbClr val="2A446F"/>
                </a:solidFill>
                <a:effectLst/>
                <a:uLnTx/>
                <a:uFillTx/>
                <a:latin typeface="Segoe UI Semibold"/>
                <a:cs typeface="Segoe UI" pitchFamily="34" charset="0"/>
              </a:rPr>
              <a:t>Vue complète des agents qui existent dans l’ensemble de votre organisation. </a:t>
            </a:r>
          </a:p>
        </p:txBody>
      </p:sp>
      <p:sp>
        <p:nvSpPr>
          <p:cNvPr id="324" name="TextBox 323">
            <a:extLst>
              <a:ext uri="{FF2B5EF4-FFF2-40B4-BE49-F238E27FC236}">
                <a16:creationId xmlns:a16="http://schemas.microsoft.com/office/drawing/2014/main" id="{795A88F9-A7BF-62BE-16E1-3F96F9D04F04}"/>
              </a:ext>
            </a:extLst>
          </p:cNvPr>
          <p:cNvSpPr txBox="1"/>
          <p:nvPr/>
        </p:nvSpPr>
        <p:spPr>
          <a:xfrm>
            <a:off x="2997096" y="5274294"/>
            <a:ext cx="1837944" cy="7443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a:ln>
                  <a:noFill/>
                </a:ln>
                <a:solidFill>
                  <a:srgbClr val="2A446F"/>
                </a:solidFill>
                <a:effectLst/>
                <a:uLnTx/>
                <a:uFillTx/>
                <a:latin typeface="Segoe UI Semibold"/>
                <a:cs typeface="Segoe UI" pitchFamily="34" charset="0"/>
              </a:rPr>
              <a:t>Contrôle des accès</a:t>
            </a:r>
          </a:p>
        </p:txBody>
      </p:sp>
      <p:sp>
        <p:nvSpPr>
          <p:cNvPr id="325" name="TextBox 324">
            <a:extLst>
              <a:ext uri="{FF2B5EF4-FFF2-40B4-BE49-F238E27FC236}">
                <a16:creationId xmlns:a16="http://schemas.microsoft.com/office/drawing/2014/main" id="{004F2FD3-D251-099E-0AFE-CC4268B58486}"/>
              </a:ext>
            </a:extLst>
          </p:cNvPr>
          <p:cNvSpPr txBox="1"/>
          <p:nvPr/>
        </p:nvSpPr>
        <p:spPr>
          <a:xfrm>
            <a:off x="5177026" y="5274294"/>
            <a:ext cx="1837944" cy="7443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a:ln>
                  <a:noFill/>
                </a:ln>
                <a:solidFill>
                  <a:srgbClr val="2A446F"/>
                </a:solidFill>
                <a:effectLst/>
                <a:uLnTx/>
                <a:uFillTx/>
                <a:latin typeface="Segoe UI Semibold"/>
                <a:cs typeface="Segoe UI" pitchFamily="34" charset="0"/>
              </a:rPr>
              <a:t>Visualisation</a:t>
            </a:r>
          </a:p>
        </p:txBody>
      </p:sp>
      <p:sp>
        <p:nvSpPr>
          <p:cNvPr id="326" name="TextBox 325">
            <a:extLst>
              <a:ext uri="{FF2B5EF4-FFF2-40B4-BE49-F238E27FC236}">
                <a16:creationId xmlns:a16="http://schemas.microsoft.com/office/drawing/2014/main" id="{DD2A70FB-5547-ABA6-4EB6-1FFAF77D3460}"/>
              </a:ext>
            </a:extLst>
          </p:cNvPr>
          <p:cNvSpPr txBox="1"/>
          <p:nvPr/>
        </p:nvSpPr>
        <p:spPr>
          <a:xfrm>
            <a:off x="7356956" y="5274294"/>
            <a:ext cx="1837944" cy="7443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a:ln>
                  <a:noFill/>
                </a:ln>
                <a:solidFill>
                  <a:srgbClr val="2A446F"/>
                </a:solidFill>
                <a:effectLst/>
                <a:uLnTx/>
                <a:uFillTx/>
                <a:latin typeface="Segoe UI Semibold"/>
                <a:cs typeface="Segoe UI" pitchFamily="34" charset="0"/>
              </a:rPr>
              <a:t>Interopérabilité</a:t>
            </a:r>
            <a:endParaRPr kumimoji="0" lang="fr-fr" sz="1800" b="0" i="0" u="none" strike="noStrike" kern="1200" cap="none" spc="0" normalizeH="0" baseline="0" noProof="0">
              <a:ln>
                <a:noFill/>
              </a:ln>
              <a:solidFill>
                <a:srgbClr val="2A446F"/>
              </a:solidFill>
              <a:effectLst/>
              <a:uLnTx/>
              <a:uFillTx/>
              <a:latin typeface="Segoe UI Semibold"/>
              <a:cs typeface="Segoe UI" pitchFamily="34" charset="0"/>
            </a:endParaRPr>
          </a:p>
        </p:txBody>
      </p:sp>
      <p:sp>
        <p:nvSpPr>
          <p:cNvPr id="327" name="TextBox 326">
            <a:extLst>
              <a:ext uri="{FF2B5EF4-FFF2-40B4-BE49-F238E27FC236}">
                <a16:creationId xmlns:a16="http://schemas.microsoft.com/office/drawing/2014/main" id="{F25C1734-DB2C-5E2B-715A-665751937BE2}"/>
              </a:ext>
            </a:extLst>
          </p:cNvPr>
          <p:cNvSpPr txBox="1"/>
          <p:nvPr/>
        </p:nvSpPr>
        <p:spPr>
          <a:xfrm>
            <a:off x="9536887" y="5274294"/>
            <a:ext cx="1837944" cy="7443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a:ln>
                  <a:noFill/>
                </a:ln>
                <a:solidFill>
                  <a:srgbClr val="2A446F"/>
                </a:solidFill>
                <a:effectLst/>
                <a:uLnTx/>
                <a:uFillTx/>
                <a:latin typeface="Segoe UI Semibold"/>
                <a:cs typeface="Segoe UI" pitchFamily="34" charset="0"/>
              </a:rPr>
              <a:t>Sécurité</a:t>
            </a:r>
          </a:p>
        </p:txBody>
      </p:sp>
      <p:sp>
        <p:nvSpPr>
          <p:cNvPr id="7" name="Rounded Rectangle 5">
            <a:extLst>
              <a:ext uri="{FF2B5EF4-FFF2-40B4-BE49-F238E27FC236}">
                <a16:creationId xmlns:a16="http://schemas.microsoft.com/office/drawing/2014/main" id="{63EC7F0A-93B6-E984-A420-EC39ADBCB418}"/>
              </a:ext>
            </a:extLst>
          </p:cNvPr>
          <p:cNvSpPr txBox="1">
            <a:spLocks/>
          </p:cNvSpPr>
          <p:nvPr/>
        </p:nvSpPr>
        <p:spPr bwMode="auto">
          <a:xfrm>
            <a:off x="4381498" y="486496"/>
            <a:ext cx="3429004" cy="609682"/>
          </a:xfrm>
          <a:prstGeom prst="roundRect">
            <a:avLst>
              <a:gd name="adj" fmla="val 50000"/>
            </a:avLst>
          </a:prstGeom>
          <a:gradFill flip="none" rotWithShape="1">
            <a:gsLst>
              <a:gs pos="100000">
                <a:srgbClr val="BABAFF">
                  <a:lumMod val="90000"/>
                </a:srgbClr>
              </a:gs>
              <a:gs pos="29400">
                <a:srgbClr val="58AAFE">
                  <a:lumMod val="40000"/>
                  <a:lumOff val="60000"/>
                </a:srgbClr>
              </a:gs>
              <a:gs pos="0">
                <a:srgbClr val="FECBE6"/>
              </a:gs>
            </a:gsLst>
            <a:path path="circle">
              <a:fillToRect l="100000" t="100000"/>
            </a:path>
            <a:tileRect r="-100000" b="-100000"/>
          </a:gradFill>
          <a:ln w="76200" cap="flat" cmpd="sng" algn="ctr">
            <a:noFill/>
            <a:prstDash val="solid"/>
            <a:headEnd type="none" w="med" len="med"/>
            <a:tailEnd type="none" w="med" len="med"/>
          </a:ln>
          <a:effectLst>
            <a:outerShdw blurRad="375109" dist="101600" dir="5400000" sx="105000" sy="105000" algn="t" rotWithShape="0">
              <a:prstClr val="black">
                <a:alpha val="2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400" b="0" i="0" u="none" strike="noStrike" kern="1200" cap="none" spc="0" normalizeH="0" baseline="0" noProof="0">
                <a:ln w="3175">
                  <a:noFill/>
                </a:ln>
                <a:solidFill>
                  <a:srgbClr val="002060"/>
                </a:solidFill>
                <a:effectLst/>
                <a:uLnTx/>
                <a:uFillTx/>
                <a:latin typeface="Segoe Sans Display Semibold"/>
                <a:ea typeface="+mn-ea"/>
                <a:cs typeface="Segoe Sans Display Semibold" pitchFamily="2" charset="0"/>
              </a:rPr>
              <a:t>Microsoft Agent 365</a:t>
            </a:r>
          </a:p>
        </p:txBody>
      </p:sp>
    </p:spTree>
    <p:custDataLst>
      <p:tags r:id="rId1"/>
    </p:custDataLst>
    <p:extLst>
      <p:ext uri="{BB962C8B-B14F-4D97-AF65-F5344CB8AC3E}">
        <p14:creationId xmlns:p14="http://schemas.microsoft.com/office/powerpoint/2010/main" val="811224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6AC806-BCEE-FC2B-BBB0-1EED3EAB8C19}"/>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A3A3987-3DBE-6C3C-C62F-C24CC84A019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0" progId="TCLayout.ActiveDocument.1">
                  <p:embed/>
                </p:oleObj>
              </mc:Choice>
              <mc:Fallback>
                <p:oleObj name="think-cell Slide" r:id="rId5" imgW="532" imgH="530" progId="TCLayout.ActiveDocument.1">
                  <p:embed/>
                  <p:pic>
                    <p:nvPicPr>
                      <p:cNvPr id="8" name="think-cell data - do not delete" hidden="1">
                        <a:extLst>
                          <a:ext uri="{FF2B5EF4-FFF2-40B4-BE49-F238E27FC236}">
                            <a16:creationId xmlns:a16="http://schemas.microsoft.com/office/drawing/2014/main" id="{7A3A3987-3DBE-6C3C-C62F-C24CC84A019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4" name="Rectangle: Rounded Corners 173">
            <a:extLst>
              <a:ext uri="{FF2B5EF4-FFF2-40B4-BE49-F238E27FC236}">
                <a16:creationId xmlns:a16="http://schemas.microsoft.com/office/drawing/2014/main" id="{C6C2DCCA-DF3D-9EF1-2FB5-DC17B880FA4D}"/>
              </a:ext>
              <a:ext uri="{C183D7F6-B498-43B3-948B-1728B52AA6E4}">
                <adec:decorative xmlns:adec="http://schemas.microsoft.com/office/drawing/2017/decorative" val="1"/>
              </a:ext>
            </a:extLst>
          </p:cNvPr>
          <p:cNvSpPr>
            <a:spLocks/>
          </p:cNvSpPr>
          <p:nvPr/>
        </p:nvSpPr>
        <p:spPr bwMode="auto">
          <a:xfrm>
            <a:off x="571498" y="807678"/>
            <a:ext cx="11049001" cy="5555837"/>
          </a:xfrm>
          <a:prstGeom prst="roundRect">
            <a:avLst>
              <a:gd name="adj" fmla="val 4215"/>
            </a:avLst>
          </a:prstGeom>
          <a:gradFill>
            <a:gsLst>
              <a:gs pos="0">
                <a:srgbClr val="FECBE6">
                  <a:alpha val="58000"/>
                </a:srgbClr>
              </a:gs>
              <a:gs pos="33000">
                <a:srgbClr val="BABAFF">
                  <a:alpha val="58000"/>
                </a:srgbClr>
              </a:gs>
              <a:gs pos="82000">
                <a:schemeClr val="accent6">
                  <a:lumMod val="25000"/>
                  <a:lumOff val="75000"/>
                  <a:alpha val="70000"/>
                </a:schemeClr>
              </a:gs>
              <a:gs pos="98165">
                <a:schemeClr val="bg1">
                  <a:alpha val="33000"/>
                </a:schemeClr>
              </a:gs>
            </a:gsLst>
            <a:lin ang="15600000" scaled="0"/>
          </a:gradFill>
          <a:ln w="6350">
            <a:solidFill>
              <a:schemeClr val="bg2">
                <a:lumMod val="90000"/>
              </a:schemeClr>
            </a:solidFill>
            <a:headEnd type="none" w="med" len="med"/>
            <a:tailEnd type="none" w="med" len="med"/>
          </a:ln>
          <a:effectLst>
            <a:outerShdw blurRad="152400" algn="ctr" rotWithShape="0">
              <a:schemeClr val="bg1">
                <a:alpha val="4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85" name="Freeform 170">
            <a:extLst>
              <a:ext uri="{FF2B5EF4-FFF2-40B4-BE49-F238E27FC236}">
                <a16:creationId xmlns:a16="http://schemas.microsoft.com/office/drawing/2014/main" id="{87EFC8F2-8286-58EF-3D5F-176CB804D90C}"/>
              </a:ext>
              <a:ext uri="{C183D7F6-B498-43B3-948B-1728B52AA6E4}">
                <adec:decorative xmlns:adec="http://schemas.microsoft.com/office/drawing/2017/decorative" val="1"/>
              </a:ext>
            </a:extLst>
          </p:cNvPr>
          <p:cNvSpPr/>
          <p:nvPr/>
        </p:nvSpPr>
        <p:spPr bwMode="auto">
          <a:xfrm>
            <a:off x="8175209" y="3965305"/>
            <a:ext cx="657087" cy="798081"/>
          </a:xfrm>
          <a:custGeom>
            <a:avLst/>
            <a:gdLst>
              <a:gd name="connsiteX0" fmla="*/ 0 w 1306286"/>
              <a:gd name="connsiteY0" fmla="*/ 298580 h 1268963"/>
              <a:gd name="connsiteX1" fmla="*/ 1306286 w 1306286"/>
              <a:gd name="connsiteY1" fmla="*/ 0 h 1268963"/>
              <a:gd name="connsiteX2" fmla="*/ 765110 w 1306286"/>
              <a:gd name="connsiteY2" fmla="*/ 1268963 h 1268963"/>
            </a:gdLst>
            <a:ahLst/>
            <a:cxnLst>
              <a:cxn ang="0">
                <a:pos x="connsiteX0" y="connsiteY0"/>
              </a:cxn>
              <a:cxn ang="0">
                <a:pos x="connsiteX1" y="connsiteY1"/>
              </a:cxn>
              <a:cxn ang="0">
                <a:pos x="connsiteX2" y="connsiteY2"/>
              </a:cxn>
            </a:cxnLst>
            <a:rect l="l" t="t" r="r" b="b"/>
            <a:pathLst>
              <a:path w="1306286" h="1268963">
                <a:moveTo>
                  <a:pt x="0" y="298580"/>
                </a:moveTo>
                <a:lnTo>
                  <a:pt x="1306286" y="0"/>
                </a:lnTo>
                <a:lnTo>
                  <a:pt x="765110" y="126896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lt"/>
              <a:cs typeface="Segoe UI"/>
              <a:sym typeface="+mn-lt"/>
            </a:endParaRPr>
          </a:p>
        </p:txBody>
      </p:sp>
      <p:sp>
        <p:nvSpPr>
          <p:cNvPr id="286" name="Freeform 171">
            <a:extLst>
              <a:ext uri="{FF2B5EF4-FFF2-40B4-BE49-F238E27FC236}">
                <a16:creationId xmlns:a16="http://schemas.microsoft.com/office/drawing/2014/main" id="{381AF75F-6FC1-D842-8E6C-A63BF4EBC3E4}"/>
              </a:ext>
              <a:ext uri="{C183D7F6-B498-43B3-948B-1728B52AA6E4}">
                <adec:decorative xmlns:adec="http://schemas.microsoft.com/office/drawing/2017/decorative" val="1"/>
              </a:ext>
            </a:extLst>
          </p:cNvPr>
          <p:cNvSpPr/>
          <p:nvPr/>
        </p:nvSpPr>
        <p:spPr bwMode="auto">
          <a:xfrm>
            <a:off x="576066" y="2803393"/>
            <a:ext cx="746664" cy="1631372"/>
          </a:xfrm>
          <a:custGeom>
            <a:avLst/>
            <a:gdLst>
              <a:gd name="connsiteX0" fmla="*/ 167951 w 1455575"/>
              <a:gd name="connsiteY0" fmla="*/ 0 h 2593910"/>
              <a:gd name="connsiteX1" fmla="*/ 1063690 w 1455575"/>
              <a:gd name="connsiteY1" fmla="*/ 167951 h 2593910"/>
              <a:gd name="connsiteX2" fmla="*/ 783771 w 1455575"/>
              <a:gd name="connsiteY2" fmla="*/ 895739 h 2593910"/>
              <a:gd name="connsiteX3" fmla="*/ 0 w 1455575"/>
              <a:gd name="connsiteY3" fmla="*/ 1063690 h 2593910"/>
              <a:gd name="connsiteX4" fmla="*/ 298579 w 1455575"/>
              <a:gd name="connsiteY4" fmla="*/ 2593910 h 2593910"/>
              <a:gd name="connsiteX5" fmla="*/ 1455575 w 1455575"/>
              <a:gd name="connsiteY5" fmla="*/ 2146041 h 2593910"/>
              <a:gd name="connsiteX0" fmla="*/ 0 w 1497801"/>
              <a:gd name="connsiteY0" fmla="*/ 0 h 2593910"/>
              <a:gd name="connsiteX1" fmla="*/ 1105916 w 1497801"/>
              <a:gd name="connsiteY1" fmla="*/ 167951 h 2593910"/>
              <a:gd name="connsiteX2" fmla="*/ 825997 w 1497801"/>
              <a:gd name="connsiteY2" fmla="*/ 895739 h 2593910"/>
              <a:gd name="connsiteX3" fmla="*/ 42226 w 1497801"/>
              <a:gd name="connsiteY3" fmla="*/ 1063690 h 2593910"/>
              <a:gd name="connsiteX4" fmla="*/ 340805 w 1497801"/>
              <a:gd name="connsiteY4" fmla="*/ 2593910 h 2593910"/>
              <a:gd name="connsiteX5" fmla="*/ 1497801 w 1497801"/>
              <a:gd name="connsiteY5" fmla="*/ 2146041 h 2593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7801" h="2593910">
                <a:moveTo>
                  <a:pt x="0" y="0"/>
                </a:moveTo>
                <a:lnTo>
                  <a:pt x="1105916" y="167951"/>
                </a:lnTo>
                <a:lnTo>
                  <a:pt x="825997" y="895739"/>
                </a:lnTo>
                <a:lnTo>
                  <a:pt x="42226" y="1063690"/>
                </a:lnTo>
                <a:lnTo>
                  <a:pt x="340805" y="2593910"/>
                </a:lnTo>
                <a:lnTo>
                  <a:pt x="1497801" y="2146041"/>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87" name="Freeform 176">
            <a:extLst>
              <a:ext uri="{FF2B5EF4-FFF2-40B4-BE49-F238E27FC236}">
                <a16:creationId xmlns:a16="http://schemas.microsoft.com/office/drawing/2014/main" id="{EB378449-756C-BFE2-12A9-DC309B39F0C7}"/>
              </a:ext>
              <a:ext uri="{C183D7F6-B498-43B3-948B-1728B52AA6E4}">
                <adec:decorative xmlns:adec="http://schemas.microsoft.com/office/drawing/2017/decorative" val="1"/>
              </a:ext>
            </a:extLst>
          </p:cNvPr>
          <p:cNvSpPr/>
          <p:nvPr/>
        </p:nvSpPr>
        <p:spPr bwMode="auto">
          <a:xfrm>
            <a:off x="10568884" y="3249379"/>
            <a:ext cx="1047475" cy="1588110"/>
          </a:xfrm>
          <a:custGeom>
            <a:avLst/>
            <a:gdLst>
              <a:gd name="connsiteX0" fmla="*/ 2052735 w 2052735"/>
              <a:gd name="connsiteY0" fmla="*/ 0 h 2463282"/>
              <a:gd name="connsiteX1" fmla="*/ 877078 w 2052735"/>
              <a:gd name="connsiteY1" fmla="*/ 93306 h 2463282"/>
              <a:gd name="connsiteX2" fmla="*/ 0 w 2052735"/>
              <a:gd name="connsiteY2" fmla="*/ 2220686 h 2463282"/>
              <a:gd name="connsiteX3" fmla="*/ 1754156 w 2052735"/>
              <a:gd name="connsiteY3" fmla="*/ 2463282 h 2463282"/>
              <a:gd name="connsiteX0" fmla="*/ 2052735 w 2120245"/>
              <a:gd name="connsiteY0" fmla="*/ 0 h 2513765"/>
              <a:gd name="connsiteX1" fmla="*/ 877078 w 2120245"/>
              <a:gd name="connsiteY1" fmla="*/ 93306 h 2513765"/>
              <a:gd name="connsiteX2" fmla="*/ 0 w 2120245"/>
              <a:gd name="connsiteY2" fmla="*/ 2220686 h 2513765"/>
              <a:gd name="connsiteX3" fmla="*/ 2120245 w 2120245"/>
              <a:gd name="connsiteY3" fmla="*/ 2513765 h 2513765"/>
              <a:gd name="connsiteX0" fmla="*/ 2052735 w 2082374"/>
              <a:gd name="connsiteY0" fmla="*/ 0 h 2525124"/>
              <a:gd name="connsiteX1" fmla="*/ 877078 w 2082374"/>
              <a:gd name="connsiteY1" fmla="*/ 93306 h 2525124"/>
              <a:gd name="connsiteX2" fmla="*/ 0 w 2082374"/>
              <a:gd name="connsiteY2" fmla="*/ 2220686 h 2525124"/>
              <a:gd name="connsiteX3" fmla="*/ 2082374 w 2082374"/>
              <a:gd name="connsiteY3" fmla="*/ 2525124 h 2525124"/>
            </a:gdLst>
            <a:ahLst/>
            <a:cxnLst>
              <a:cxn ang="0">
                <a:pos x="connsiteX0" y="connsiteY0"/>
              </a:cxn>
              <a:cxn ang="0">
                <a:pos x="connsiteX1" y="connsiteY1"/>
              </a:cxn>
              <a:cxn ang="0">
                <a:pos x="connsiteX2" y="connsiteY2"/>
              </a:cxn>
              <a:cxn ang="0">
                <a:pos x="connsiteX3" y="connsiteY3"/>
              </a:cxn>
            </a:cxnLst>
            <a:rect l="l" t="t" r="r" b="b"/>
            <a:pathLst>
              <a:path w="2082374" h="2525124">
                <a:moveTo>
                  <a:pt x="2052735" y="0"/>
                </a:moveTo>
                <a:lnTo>
                  <a:pt x="877078" y="93306"/>
                </a:lnTo>
                <a:lnTo>
                  <a:pt x="0" y="2220686"/>
                </a:lnTo>
                <a:lnTo>
                  <a:pt x="2082374" y="2525124"/>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88" name="Freeform 177">
            <a:extLst>
              <a:ext uri="{FF2B5EF4-FFF2-40B4-BE49-F238E27FC236}">
                <a16:creationId xmlns:a16="http://schemas.microsoft.com/office/drawing/2014/main" id="{29C8A78E-8AEF-DD8C-D0B7-6EBC684BD9C0}"/>
              </a:ext>
              <a:ext uri="{C183D7F6-B498-43B3-948B-1728B52AA6E4}">
                <adec:decorative xmlns:adec="http://schemas.microsoft.com/office/drawing/2017/decorative" val="1"/>
              </a:ext>
            </a:extLst>
          </p:cNvPr>
          <p:cNvSpPr/>
          <p:nvPr/>
        </p:nvSpPr>
        <p:spPr bwMode="auto">
          <a:xfrm>
            <a:off x="4129429" y="1829264"/>
            <a:ext cx="1417431" cy="2323825"/>
          </a:xfrm>
          <a:custGeom>
            <a:avLst/>
            <a:gdLst>
              <a:gd name="connsiteX0" fmla="*/ 2817845 w 2817845"/>
              <a:gd name="connsiteY0" fmla="*/ 0 h 3694923"/>
              <a:gd name="connsiteX1" fmla="*/ 877078 w 2817845"/>
              <a:gd name="connsiteY1" fmla="*/ 1530221 h 3694923"/>
              <a:gd name="connsiteX2" fmla="*/ 2108719 w 2817845"/>
              <a:gd name="connsiteY2" fmla="*/ 1250302 h 3694923"/>
              <a:gd name="connsiteX3" fmla="*/ 0 w 2817845"/>
              <a:gd name="connsiteY3" fmla="*/ 2202025 h 3694923"/>
              <a:gd name="connsiteX4" fmla="*/ 2164702 w 2817845"/>
              <a:gd name="connsiteY4" fmla="*/ 2481943 h 3694923"/>
              <a:gd name="connsiteX5" fmla="*/ 1026368 w 2817845"/>
              <a:gd name="connsiteY5" fmla="*/ 3116425 h 3694923"/>
              <a:gd name="connsiteX6" fmla="*/ 503854 w 2817845"/>
              <a:gd name="connsiteY6" fmla="*/ 3694923 h 3694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7845" h="3694923">
                <a:moveTo>
                  <a:pt x="2817845" y="0"/>
                </a:moveTo>
                <a:lnTo>
                  <a:pt x="877078" y="1530221"/>
                </a:lnTo>
                <a:lnTo>
                  <a:pt x="2108719" y="1250302"/>
                </a:lnTo>
                <a:lnTo>
                  <a:pt x="0" y="2202025"/>
                </a:lnTo>
                <a:lnTo>
                  <a:pt x="2164702" y="2481943"/>
                </a:lnTo>
                <a:lnTo>
                  <a:pt x="1026368" y="3116425"/>
                </a:lnTo>
                <a:lnTo>
                  <a:pt x="503854" y="369492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89" name="Freeform 178">
            <a:extLst>
              <a:ext uri="{FF2B5EF4-FFF2-40B4-BE49-F238E27FC236}">
                <a16:creationId xmlns:a16="http://schemas.microsoft.com/office/drawing/2014/main" id="{958330BD-2C52-68BE-5B43-99E116A1C5B6}"/>
              </a:ext>
              <a:ext uri="{C183D7F6-B498-43B3-948B-1728B52AA6E4}">
                <adec:decorative xmlns:adec="http://schemas.microsoft.com/office/drawing/2017/decorative" val="1"/>
              </a:ext>
            </a:extLst>
          </p:cNvPr>
          <p:cNvSpPr/>
          <p:nvPr/>
        </p:nvSpPr>
        <p:spPr bwMode="auto">
          <a:xfrm>
            <a:off x="2589968" y="2803393"/>
            <a:ext cx="1539461" cy="2288615"/>
          </a:xfrm>
          <a:custGeom>
            <a:avLst/>
            <a:gdLst>
              <a:gd name="connsiteX0" fmla="*/ 317240 w 3060440"/>
              <a:gd name="connsiteY0" fmla="*/ 839755 h 3638939"/>
              <a:gd name="connsiteX1" fmla="*/ 1194318 w 3060440"/>
              <a:gd name="connsiteY1" fmla="*/ 298579 h 3638939"/>
              <a:gd name="connsiteX2" fmla="*/ 2444620 w 3060440"/>
              <a:gd name="connsiteY2" fmla="*/ 0 h 3638939"/>
              <a:gd name="connsiteX3" fmla="*/ 1343608 w 3060440"/>
              <a:gd name="connsiteY3" fmla="*/ 1810139 h 3638939"/>
              <a:gd name="connsiteX4" fmla="*/ 466530 w 3060440"/>
              <a:gd name="connsiteY4" fmla="*/ 877077 h 3638939"/>
              <a:gd name="connsiteX5" fmla="*/ 0 w 3060440"/>
              <a:gd name="connsiteY5" fmla="*/ 1623526 h 3638939"/>
              <a:gd name="connsiteX6" fmla="*/ 3060440 w 3060440"/>
              <a:gd name="connsiteY6" fmla="*/ 3638939 h 3638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0440" h="3638939">
                <a:moveTo>
                  <a:pt x="317240" y="839755"/>
                </a:moveTo>
                <a:lnTo>
                  <a:pt x="1194318" y="298579"/>
                </a:lnTo>
                <a:lnTo>
                  <a:pt x="2444620" y="0"/>
                </a:lnTo>
                <a:lnTo>
                  <a:pt x="1343608" y="1810139"/>
                </a:lnTo>
                <a:lnTo>
                  <a:pt x="466530" y="877077"/>
                </a:lnTo>
                <a:lnTo>
                  <a:pt x="0" y="1623526"/>
                </a:lnTo>
                <a:lnTo>
                  <a:pt x="3060440" y="3638939"/>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0" name="Freeform 179">
            <a:extLst>
              <a:ext uri="{FF2B5EF4-FFF2-40B4-BE49-F238E27FC236}">
                <a16:creationId xmlns:a16="http://schemas.microsoft.com/office/drawing/2014/main" id="{D6A781B2-9633-F74C-E7CB-6D63B843BD80}"/>
              </a:ext>
              <a:ext uri="{C183D7F6-B498-43B3-948B-1728B52AA6E4}">
                <adec:decorative xmlns:adec="http://schemas.microsoft.com/office/drawing/2017/decorative" val="1"/>
              </a:ext>
            </a:extLst>
          </p:cNvPr>
          <p:cNvSpPr/>
          <p:nvPr/>
        </p:nvSpPr>
        <p:spPr bwMode="auto">
          <a:xfrm>
            <a:off x="1557403" y="2181359"/>
            <a:ext cx="1163983" cy="845027"/>
          </a:xfrm>
          <a:custGeom>
            <a:avLst/>
            <a:gdLst>
              <a:gd name="connsiteX0" fmla="*/ 0 w 2313992"/>
              <a:gd name="connsiteY0" fmla="*/ 1007706 h 1343608"/>
              <a:gd name="connsiteX1" fmla="*/ 1045029 w 2313992"/>
              <a:gd name="connsiteY1" fmla="*/ 1343608 h 1343608"/>
              <a:gd name="connsiteX2" fmla="*/ 2108718 w 2313992"/>
              <a:gd name="connsiteY2" fmla="*/ 0 h 1343608"/>
              <a:gd name="connsiteX3" fmla="*/ 2108718 w 2313992"/>
              <a:gd name="connsiteY3" fmla="*/ 0 h 1343608"/>
              <a:gd name="connsiteX4" fmla="*/ 2313992 w 2313992"/>
              <a:gd name="connsiteY4" fmla="*/ 653143 h 1343608"/>
              <a:gd name="connsiteX5" fmla="*/ 1082351 w 2313992"/>
              <a:gd name="connsiteY5" fmla="*/ 1324947 h 134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3992" h="1343608">
                <a:moveTo>
                  <a:pt x="0" y="1007706"/>
                </a:moveTo>
                <a:lnTo>
                  <a:pt x="1045029" y="1343608"/>
                </a:lnTo>
                <a:lnTo>
                  <a:pt x="2108718" y="0"/>
                </a:lnTo>
                <a:lnTo>
                  <a:pt x="2108718" y="0"/>
                </a:lnTo>
                <a:lnTo>
                  <a:pt x="2313992" y="653143"/>
                </a:lnTo>
                <a:lnTo>
                  <a:pt x="1082351" y="1324947"/>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1" name="Freeform 180">
            <a:extLst>
              <a:ext uri="{FF2B5EF4-FFF2-40B4-BE49-F238E27FC236}">
                <a16:creationId xmlns:a16="http://schemas.microsoft.com/office/drawing/2014/main" id="{01E53B5D-A5FE-63C0-1BD4-0265E835D974}"/>
              </a:ext>
              <a:ext uri="{C183D7F6-B498-43B3-948B-1728B52AA6E4}">
                <adec:decorative xmlns:adec="http://schemas.microsoft.com/office/drawing/2017/decorative" val="1"/>
              </a:ext>
            </a:extLst>
          </p:cNvPr>
          <p:cNvSpPr/>
          <p:nvPr/>
        </p:nvSpPr>
        <p:spPr bwMode="auto">
          <a:xfrm>
            <a:off x="1116215" y="2615609"/>
            <a:ext cx="3050762" cy="2441189"/>
          </a:xfrm>
          <a:custGeom>
            <a:avLst/>
            <a:gdLst>
              <a:gd name="connsiteX0" fmla="*/ 6064898 w 6064898"/>
              <a:gd name="connsiteY0" fmla="*/ 3881535 h 3881535"/>
              <a:gd name="connsiteX1" fmla="*/ 4348066 w 6064898"/>
              <a:gd name="connsiteY1" fmla="*/ 2164702 h 3881535"/>
              <a:gd name="connsiteX2" fmla="*/ 6027576 w 6064898"/>
              <a:gd name="connsiteY2" fmla="*/ 989045 h 3881535"/>
              <a:gd name="connsiteX3" fmla="*/ 6027576 w 6064898"/>
              <a:gd name="connsiteY3" fmla="*/ 186612 h 3881535"/>
              <a:gd name="connsiteX4" fmla="*/ 5299788 w 6064898"/>
              <a:gd name="connsiteY4" fmla="*/ 317241 h 3881535"/>
              <a:gd name="connsiteX5" fmla="*/ 3209731 w 6064898"/>
              <a:gd name="connsiteY5" fmla="*/ 0 h 3881535"/>
              <a:gd name="connsiteX6" fmla="*/ 3359021 w 6064898"/>
              <a:gd name="connsiteY6" fmla="*/ 1119674 h 3881535"/>
              <a:gd name="connsiteX7" fmla="*/ 317241 w 6064898"/>
              <a:gd name="connsiteY7" fmla="*/ 2463282 h 3881535"/>
              <a:gd name="connsiteX8" fmla="*/ 1306286 w 6064898"/>
              <a:gd name="connsiteY8" fmla="*/ 1287625 h 3881535"/>
              <a:gd name="connsiteX9" fmla="*/ 0 w 6064898"/>
              <a:gd name="connsiteY9" fmla="*/ 466531 h 3881535"/>
              <a:gd name="connsiteX10" fmla="*/ 858417 w 6064898"/>
              <a:gd name="connsiteY10" fmla="*/ 354563 h 3881535"/>
              <a:gd name="connsiteX11" fmla="*/ 1268964 w 6064898"/>
              <a:gd name="connsiteY11" fmla="*/ 1250302 h 3881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64898" h="3881535">
                <a:moveTo>
                  <a:pt x="6064898" y="3881535"/>
                </a:moveTo>
                <a:lnTo>
                  <a:pt x="4348066" y="2164702"/>
                </a:lnTo>
                <a:lnTo>
                  <a:pt x="6027576" y="989045"/>
                </a:lnTo>
                <a:lnTo>
                  <a:pt x="6027576" y="186612"/>
                </a:lnTo>
                <a:lnTo>
                  <a:pt x="5299788" y="317241"/>
                </a:lnTo>
                <a:lnTo>
                  <a:pt x="3209731" y="0"/>
                </a:lnTo>
                <a:lnTo>
                  <a:pt x="3359021" y="1119674"/>
                </a:lnTo>
                <a:lnTo>
                  <a:pt x="317241" y="2463282"/>
                </a:lnTo>
                <a:lnTo>
                  <a:pt x="1306286" y="1287625"/>
                </a:lnTo>
                <a:lnTo>
                  <a:pt x="0" y="466531"/>
                </a:lnTo>
                <a:lnTo>
                  <a:pt x="858417" y="354563"/>
                </a:lnTo>
                <a:lnTo>
                  <a:pt x="1268964" y="1250302"/>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2" name="Freeform 181">
            <a:extLst>
              <a:ext uri="{FF2B5EF4-FFF2-40B4-BE49-F238E27FC236}">
                <a16:creationId xmlns:a16="http://schemas.microsoft.com/office/drawing/2014/main" id="{B7B8C44D-DAC8-4DED-2282-097B639454FE}"/>
              </a:ext>
              <a:ext uri="{C183D7F6-B498-43B3-948B-1728B52AA6E4}">
                <adec:decorative xmlns:adec="http://schemas.microsoft.com/office/drawing/2017/decorative" val="1"/>
              </a:ext>
            </a:extLst>
          </p:cNvPr>
          <p:cNvSpPr/>
          <p:nvPr/>
        </p:nvSpPr>
        <p:spPr bwMode="auto">
          <a:xfrm>
            <a:off x="4176365" y="2709501"/>
            <a:ext cx="7425085" cy="2370770"/>
          </a:xfrm>
          <a:custGeom>
            <a:avLst/>
            <a:gdLst>
              <a:gd name="connsiteX0" fmla="*/ 14481110 w 14481110"/>
              <a:gd name="connsiteY0" fmla="*/ 0 h 3769567"/>
              <a:gd name="connsiteX1" fmla="*/ 11961844 w 14481110"/>
              <a:gd name="connsiteY1" fmla="*/ 895739 h 3769567"/>
              <a:gd name="connsiteX2" fmla="*/ 10599575 w 14481110"/>
              <a:gd name="connsiteY2" fmla="*/ 989045 h 3769567"/>
              <a:gd name="connsiteX3" fmla="*/ 9050693 w 14481110"/>
              <a:gd name="connsiteY3" fmla="*/ 914400 h 3769567"/>
              <a:gd name="connsiteX4" fmla="*/ 6699379 w 14481110"/>
              <a:gd name="connsiteY4" fmla="*/ 1212980 h 3769567"/>
              <a:gd name="connsiteX5" fmla="*/ 6736702 w 14481110"/>
              <a:gd name="connsiteY5" fmla="*/ 2052735 h 3769567"/>
              <a:gd name="connsiteX6" fmla="*/ 5710334 w 14481110"/>
              <a:gd name="connsiteY6" fmla="*/ 2799184 h 3769567"/>
              <a:gd name="connsiteX7" fmla="*/ 6736702 w 14481110"/>
              <a:gd name="connsiteY7" fmla="*/ 1212980 h 3769567"/>
              <a:gd name="connsiteX8" fmla="*/ 4348065 w 14481110"/>
              <a:gd name="connsiteY8" fmla="*/ 1660849 h 3769567"/>
              <a:gd name="connsiteX9" fmla="*/ 3750906 w 14481110"/>
              <a:gd name="connsiteY9" fmla="*/ 3321698 h 3769567"/>
              <a:gd name="connsiteX10" fmla="*/ 5710334 w 14481110"/>
              <a:gd name="connsiteY10" fmla="*/ 2761861 h 3769567"/>
              <a:gd name="connsiteX11" fmla="*/ 3097763 w 14481110"/>
              <a:gd name="connsiteY11" fmla="*/ 1474237 h 3769567"/>
              <a:gd name="connsiteX12" fmla="*/ 0 w 14481110"/>
              <a:gd name="connsiteY12" fmla="*/ 3769567 h 3769567"/>
              <a:gd name="connsiteX13" fmla="*/ 2575249 w 14481110"/>
              <a:gd name="connsiteY13" fmla="*/ 2313992 h 3769567"/>
              <a:gd name="connsiteX14" fmla="*/ 3676261 w 14481110"/>
              <a:gd name="connsiteY14" fmla="*/ 3247053 h 3769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81110" h="3769567">
                <a:moveTo>
                  <a:pt x="14481110" y="0"/>
                </a:moveTo>
                <a:lnTo>
                  <a:pt x="11961844" y="895739"/>
                </a:lnTo>
                <a:lnTo>
                  <a:pt x="10599575" y="989045"/>
                </a:lnTo>
                <a:lnTo>
                  <a:pt x="9050693" y="914400"/>
                </a:lnTo>
                <a:lnTo>
                  <a:pt x="6699379" y="1212980"/>
                </a:lnTo>
                <a:lnTo>
                  <a:pt x="6736702" y="2052735"/>
                </a:lnTo>
                <a:lnTo>
                  <a:pt x="5710334" y="2799184"/>
                </a:lnTo>
                <a:lnTo>
                  <a:pt x="6736702" y="1212980"/>
                </a:lnTo>
                <a:lnTo>
                  <a:pt x="4348065" y="1660849"/>
                </a:lnTo>
                <a:lnTo>
                  <a:pt x="3750906" y="3321698"/>
                </a:lnTo>
                <a:lnTo>
                  <a:pt x="5710334" y="2761861"/>
                </a:lnTo>
                <a:lnTo>
                  <a:pt x="3097763" y="1474237"/>
                </a:lnTo>
                <a:lnTo>
                  <a:pt x="0" y="3769567"/>
                </a:lnTo>
                <a:lnTo>
                  <a:pt x="2575249" y="2313992"/>
                </a:lnTo>
                <a:lnTo>
                  <a:pt x="3676261" y="324705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3" name="Freeform 182">
            <a:extLst>
              <a:ext uri="{FF2B5EF4-FFF2-40B4-BE49-F238E27FC236}">
                <a16:creationId xmlns:a16="http://schemas.microsoft.com/office/drawing/2014/main" id="{4D2F0557-2BE2-EC1C-E74A-BDB5EAFBBC81}"/>
              </a:ext>
              <a:ext uri="{C183D7F6-B498-43B3-948B-1728B52AA6E4}">
                <adec:decorative xmlns:adec="http://schemas.microsoft.com/office/drawing/2017/decorative" val="1"/>
              </a:ext>
            </a:extLst>
          </p:cNvPr>
          <p:cNvSpPr/>
          <p:nvPr/>
        </p:nvSpPr>
        <p:spPr bwMode="auto">
          <a:xfrm>
            <a:off x="590546" y="1817528"/>
            <a:ext cx="10400751" cy="3251007"/>
          </a:xfrm>
          <a:custGeom>
            <a:avLst/>
            <a:gdLst>
              <a:gd name="connsiteX0" fmla="*/ 0 w 20266090"/>
              <a:gd name="connsiteY0" fmla="*/ 1101012 h 5169159"/>
              <a:gd name="connsiteX1" fmla="*/ 1511559 w 20266090"/>
              <a:gd name="connsiteY1" fmla="*/ 1642188 h 5169159"/>
              <a:gd name="connsiteX2" fmla="*/ 3732245 w 20266090"/>
              <a:gd name="connsiteY2" fmla="*/ 522514 h 5169159"/>
              <a:gd name="connsiteX3" fmla="*/ 5952930 w 20266090"/>
              <a:gd name="connsiteY3" fmla="*/ 1604865 h 5169159"/>
              <a:gd name="connsiteX4" fmla="*/ 6643396 w 20266090"/>
              <a:gd name="connsiteY4" fmla="*/ 2220686 h 5169159"/>
              <a:gd name="connsiteX5" fmla="*/ 6400800 w 20266090"/>
              <a:gd name="connsiteY5" fmla="*/ 3452326 h 5169159"/>
              <a:gd name="connsiteX6" fmla="*/ 5001208 w 20266090"/>
              <a:gd name="connsiteY6" fmla="*/ 3433665 h 5169159"/>
              <a:gd name="connsiteX7" fmla="*/ 3564294 w 20266090"/>
              <a:gd name="connsiteY7" fmla="*/ 3228392 h 5169159"/>
              <a:gd name="connsiteX8" fmla="*/ 1007706 w 20266090"/>
              <a:gd name="connsiteY8" fmla="*/ 3732245 h 5169159"/>
              <a:gd name="connsiteX9" fmla="*/ 391885 w 20266090"/>
              <a:gd name="connsiteY9" fmla="*/ 2444620 h 5169159"/>
              <a:gd name="connsiteX10" fmla="*/ 1884783 w 20266090"/>
              <a:gd name="connsiteY10" fmla="*/ 2593910 h 5169159"/>
              <a:gd name="connsiteX11" fmla="*/ 2500604 w 20266090"/>
              <a:gd name="connsiteY11" fmla="*/ 1922106 h 5169159"/>
              <a:gd name="connsiteX12" fmla="*/ 3993502 w 20266090"/>
              <a:gd name="connsiteY12" fmla="*/ 2425959 h 5169159"/>
              <a:gd name="connsiteX13" fmla="*/ 6662057 w 20266090"/>
              <a:gd name="connsiteY13" fmla="*/ 2239347 h 5169159"/>
              <a:gd name="connsiteX14" fmla="*/ 7613779 w 20266090"/>
              <a:gd name="connsiteY14" fmla="*/ 1530220 h 5169159"/>
              <a:gd name="connsiteX15" fmla="*/ 6662057 w 20266090"/>
              <a:gd name="connsiteY15" fmla="*/ 1455575 h 5169159"/>
              <a:gd name="connsiteX16" fmla="*/ 9386596 w 20266090"/>
              <a:gd name="connsiteY16" fmla="*/ 18661 h 5169159"/>
              <a:gd name="connsiteX17" fmla="*/ 8714792 w 20266090"/>
              <a:gd name="connsiteY17" fmla="*/ 1287624 h 5169159"/>
              <a:gd name="connsiteX18" fmla="*/ 7651102 w 20266090"/>
              <a:gd name="connsiteY18" fmla="*/ 3135086 h 5169159"/>
              <a:gd name="connsiteX19" fmla="*/ 6680718 w 20266090"/>
              <a:gd name="connsiteY19" fmla="*/ 2239347 h 5169159"/>
              <a:gd name="connsiteX20" fmla="*/ 7109926 w 20266090"/>
              <a:gd name="connsiteY20" fmla="*/ 3769567 h 5169159"/>
              <a:gd name="connsiteX21" fmla="*/ 6680718 w 20266090"/>
              <a:gd name="connsiteY21" fmla="*/ 5169159 h 5169159"/>
              <a:gd name="connsiteX22" fmla="*/ 6400800 w 20266090"/>
              <a:gd name="connsiteY22" fmla="*/ 3452326 h 5169159"/>
              <a:gd name="connsiteX23" fmla="*/ 7091265 w 20266090"/>
              <a:gd name="connsiteY23" fmla="*/ 3769567 h 5169159"/>
              <a:gd name="connsiteX24" fmla="*/ 9797143 w 20266090"/>
              <a:gd name="connsiteY24" fmla="*/ 2873828 h 5169159"/>
              <a:gd name="connsiteX25" fmla="*/ 9274628 w 20266090"/>
              <a:gd name="connsiteY25" fmla="*/ 3732245 h 5169159"/>
              <a:gd name="connsiteX26" fmla="*/ 12465698 w 20266090"/>
              <a:gd name="connsiteY26" fmla="*/ 4217437 h 5169159"/>
              <a:gd name="connsiteX27" fmla="*/ 11122090 w 20266090"/>
              <a:gd name="connsiteY27" fmla="*/ 3041779 h 5169159"/>
              <a:gd name="connsiteX28" fmla="*/ 9815804 w 20266090"/>
              <a:gd name="connsiteY28" fmla="*/ 2911151 h 5169159"/>
              <a:gd name="connsiteX29" fmla="*/ 12092473 w 20266090"/>
              <a:gd name="connsiteY29" fmla="*/ 2444620 h 5169159"/>
              <a:gd name="connsiteX30" fmla="*/ 13566710 w 20266090"/>
              <a:gd name="connsiteY30" fmla="*/ 1810139 h 5169159"/>
              <a:gd name="connsiteX31" fmla="*/ 16272588 w 20266090"/>
              <a:gd name="connsiteY31" fmla="*/ 895739 h 5169159"/>
              <a:gd name="connsiteX32" fmla="*/ 18773192 w 20266090"/>
              <a:gd name="connsiteY32" fmla="*/ 2276669 h 5169159"/>
              <a:gd name="connsiteX33" fmla="*/ 19127755 w 20266090"/>
              <a:gd name="connsiteY33" fmla="*/ 2967135 h 5169159"/>
              <a:gd name="connsiteX34" fmla="*/ 19426334 w 20266090"/>
              <a:gd name="connsiteY34" fmla="*/ 4478694 h 5169159"/>
              <a:gd name="connsiteX35" fmla="*/ 18325322 w 20266090"/>
              <a:gd name="connsiteY35" fmla="*/ 3228392 h 5169159"/>
              <a:gd name="connsiteX36" fmla="*/ 19146416 w 20266090"/>
              <a:gd name="connsiteY36" fmla="*/ 3004457 h 5169159"/>
              <a:gd name="connsiteX37" fmla="*/ 20266090 w 20266090"/>
              <a:gd name="connsiteY37" fmla="*/ 2369975 h 5169159"/>
              <a:gd name="connsiteX38" fmla="*/ 18717208 w 20266090"/>
              <a:gd name="connsiteY38" fmla="*/ 2220686 h 5169159"/>
              <a:gd name="connsiteX39" fmla="*/ 18306661 w 20266090"/>
              <a:gd name="connsiteY39" fmla="*/ 3172408 h 5169159"/>
              <a:gd name="connsiteX40" fmla="*/ 17354939 w 20266090"/>
              <a:gd name="connsiteY40" fmla="*/ 2425959 h 5169159"/>
              <a:gd name="connsiteX41" fmla="*/ 16272588 w 20266090"/>
              <a:gd name="connsiteY41" fmla="*/ 858416 h 5169159"/>
              <a:gd name="connsiteX42" fmla="*/ 15787396 w 20266090"/>
              <a:gd name="connsiteY42" fmla="*/ 2276669 h 5169159"/>
              <a:gd name="connsiteX43" fmla="*/ 14518432 w 20266090"/>
              <a:gd name="connsiteY43" fmla="*/ 2220686 h 5169159"/>
              <a:gd name="connsiteX44" fmla="*/ 13604032 w 20266090"/>
              <a:gd name="connsiteY44" fmla="*/ 1772816 h 5169159"/>
              <a:gd name="connsiteX45" fmla="*/ 13417420 w 20266090"/>
              <a:gd name="connsiteY45" fmla="*/ 2687216 h 5169159"/>
              <a:gd name="connsiteX46" fmla="*/ 12185779 w 20266090"/>
              <a:gd name="connsiteY46" fmla="*/ 2407298 h 5169159"/>
              <a:gd name="connsiteX47" fmla="*/ 10767526 w 20266090"/>
              <a:gd name="connsiteY47" fmla="*/ 1660849 h 5169159"/>
              <a:gd name="connsiteX48" fmla="*/ 9778481 w 20266090"/>
              <a:gd name="connsiteY48" fmla="*/ 2873828 h 5169159"/>
              <a:gd name="connsiteX49" fmla="*/ 8733453 w 20266090"/>
              <a:gd name="connsiteY49" fmla="*/ 2481943 h 5169159"/>
              <a:gd name="connsiteX50" fmla="*/ 8733453 w 20266090"/>
              <a:gd name="connsiteY50" fmla="*/ 1250302 h 5169159"/>
              <a:gd name="connsiteX51" fmla="*/ 9815804 w 20266090"/>
              <a:gd name="connsiteY51" fmla="*/ 2873828 h 5169159"/>
              <a:gd name="connsiteX52" fmla="*/ 9367934 w 20266090"/>
              <a:gd name="connsiteY52" fmla="*/ 0 h 5169159"/>
              <a:gd name="connsiteX53" fmla="*/ 10804849 w 20266090"/>
              <a:gd name="connsiteY53" fmla="*/ 1660849 h 5169159"/>
              <a:gd name="connsiteX54" fmla="*/ 13585371 w 20266090"/>
              <a:gd name="connsiteY54" fmla="*/ 1791477 h 5169159"/>
              <a:gd name="connsiteX55" fmla="*/ 11532636 w 20266090"/>
              <a:gd name="connsiteY55" fmla="*/ 1399592 h 5169159"/>
              <a:gd name="connsiteX56" fmla="*/ 9367934 w 20266090"/>
              <a:gd name="connsiteY56" fmla="*/ 18661 h 5169159"/>
              <a:gd name="connsiteX57" fmla="*/ 13604032 w 20266090"/>
              <a:gd name="connsiteY57" fmla="*/ 1810139 h 516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0266090" h="5169159">
                <a:moveTo>
                  <a:pt x="0" y="1101012"/>
                </a:moveTo>
                <a:lnTo>
                  <a:pt x="1511559" y="1642188"/>
                </a:lnTo>
                <a:lnTo>
                  <a:pt x="3732245" y="522514"/>
                </a:lnTo>
                <a:lnTo>
                  <a:pt x="5952930" y="1604865"/>
                </a:lnTo>
                <a:lnTo>
                  <a:pt x="6643396" y="2220686"/>
                </a:lnTo>
                <a:lnTo>
                  <a:pt x="6400800" y="3452326"/>
                </a:lnTo>
                <a:lnTo>
                  <a:pt x="5001208" y="3433665"/>
                </a:lnTo>
                <a:lnTo>
                  <a:pt x="3564294" y="3228392"/>
                </a:lnTo>
                <a:lnTo>
                  <a:pt x="1007706" y="3732245"/>
                </a:lnTo>
                <a:lnTo>
                  <a:pt x="391885" y="2444620"/>
                </a:lnTo>
                <a:lnTo>
                  <a:pt x="1884783" y="2593910"/>
                </a:lnTo>
                <a:lnTo>
                  <a:pt x="2500604" y="1922106"/>
                </a:lnTo>
                <a:lnTo>
                  <a:pt x="3993502" y="2425959"/>
                </a:lnTo>
                <a:lnTo>
                  <a:pt x="6662057" y="2239347"/>
                </a:lnTo>
                <a:lnTo>
                  <a:pt x="7613779" y="1530220"/>
                </a:lnTo>
                <a:lnTo>
                  <a:pt x="6662057" y="1455575"/>
                </a:lnTo>
                <a:lnTo>
                  <a:pt x="9386596" y="18661"/>
                </a:lnTo>
                <a:lnTo>
                  <a:pt x="8714792" y="1287624"/>
                </a:lnTo>
                <a:lnTo>
                  <a:pt x="7651102" y="3135086"/>
                </a:lnTo>
                <a:lnTo>
                  <a:pt x="6680718" y="2239347"/>
                </a:lnTo>
                <a:lnTo>
                  <a:pt x="7109926" y="3769567"/>
                </a:lnTo>
                <a:lnTo>
                  <a:pt x="6680718" y="5169159"/>
                </a:lnTo>
                <a:lnTo>
                  <a:pt x="6400800" y="3452326"/>
                </a:lnTo>
                <a:lnTo>
                  <a:pt x="7091265" y="3769567"/>
                </a:lnTo>
                <a:lnTo>
                  <a:pt x="9797143" y="2873828"/>
                </a:lnTo>
                <a:lnTo>
                  <a:pt x="9274628" y="3732245"/>
                </a:lnTo>
                <a:lnTo>
                  <a:pt x="12465698" y="4217437"/>
                </a:lnTo>
                <a:lnTo>
                  <a:pt x="11122090" y="3041779"/>
                </a:lnTo>
                <a:lnTo>
                  <a:pt x="9815804" y="2911151"/>
                </a:lnTo>
                <a:lnTo>
                  <a:pt x="12092473" y="2444620"/>
                </a:lnTo>
                <a:lnTo>
                  <a:pt x="13566710" y="1810139"/>
                </a:lnTo>
                <a:lnTo>
                  <a:pt x="16272588" y="895739"/>
                </a:lnTo>
                <a:lnTo>
                  <a:pt x="18773192" y="2276669"/>
                </a:lnTo>
                <a:lnTo>
                  <a:pt x="19127755" y="2967135"/>
                </a:lnTo>
                <a:lnTo>
                  <a:pt x="19426334" y="4478694"/>
                </a:lnTo>
                <a:lnTo>
                  <a:pt x="18325322" y="3228392"/>
                </a:lnTo>
                <a:lnTo>
                  <a:pt x="19146416" y="3004457"/>
                </a:lnTo>
                <a:lnTo>
                  <a:pt x="20266090" y="2369975"/>
                </a:lnTo>
                <a:lnTo>
                  <a:pt x="18717208" y="2220686"/>
                </a:lnTo>
                <a:lnTo>
                  <a:pt x="18306661" y="3172408"/>
                </a:lnTo>
                <a:lnTo>
                  <a:pt x="17354939" y="2425959"/>
                </a:lnTo>
                <a:lnTo>
                  <a:pt x="16272588" y="858416"/>
                </a:lnTo>
                <a:lnTo>
                  <a:pt x="15787396" y="2276669"/>
                </a:lnTo>
                <a:lnTo>
                  <a:pt x="14518432" y="2220686"/>
                </a:lnTo>
                <a:lnTo>
                  <a:pt x="13604032" y="1772816"/>
                </a:lnTo>
                <a:lnTo>
                  <a:pt x="13417420" y="2687216"/>
                </a:lnTo>
                <a:lnTo>
                  <a:pt x="12185779" y="2407298"/>
                </a:lnTo>
                <a:lnTo>
                  <a:pt x="10767526" y="1660849"/>
                </a:lnTo>
                <a:lnTo>
                  <a:pt x="9778481" y="2873828"/>
                </a:lnTo>
                <a:lnTo>
                  <a:pt x="8733453" y="2481943"/>
                </a:lnTo>
                <a:lnTo>
                  <a:pt x="8733453" y="1250302"/>
                </a:lnTo>
                <a:lnTo>
                  <a:pt x="9815804" y="2873828"/>
                </a:lnTo>
                <a:lnTo>
                  <a:pt x="9367934" y="0"/>
                </a:lnTo>
                <a:lnTo>
                  <a:pt x="10804849" y="1660849"/>
                </a:lnTo>
                <a:lnTo>
                  <a:pt x="13585371" y="1791477"/>
                </a:lnTo>
                <a:lnTo>
                  <a:pt x="11532636" y="1399592"/>
                </a:lnTo>
                <a:lnTo>
                  <a:pt x="9367934" y="18661"/>
                </a:lnTo>
                <a:lnTo>
                  <a:pt x="13604032" y="1810139"/>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4" name="Freeform 183">
            <a:extLst>
              <a:ext uri="{FF2B5EF4-FFF2-40B4-BE49-F238E27FC236}">
                <a16:creationId xmlns:a16="http://schemas.microsoft.com/office/drawing/2014/main" id="{69A1D092-FD46-7B89-F9DA-F1F1142D6F1D}"/>
              </a:ext>
              <a:ext uri="{C183D7F6-B498-43B3-948B-1728B52AA6E4}">
                <adec:decorative xmlns:adec="http://schemas.microsoft.com/office/drawing/2017/decorative" val="1"/>
              </a:ext>
            </a:extLst>
          </p:cNvPr>
          <p:cNvSpPr/>
          <p:nvPr/>
        </p:nvSpPr>
        <p:spPr bwMode="auto">
          <a:xfrm>
            <a:off x="7546282" y="2380879"/>
            <a:ext cx="3031988" cy="2359034"/>
          </a:xfrm>
          <a:custGeom>
            <a:avLst/>
            <a:gdLst>
              <a:gd name="connsiteX0" fmla="*/ 6027576 w 6027576"/>
              <a:gd name="connsiteY0" fmla="*/ 3526971 h 3750906"/>
              <a:gd name="connsiteX1" fmla="*/ 3862874 w 6027576"/>
              <a:gd name="connsiteY1" fmla="*/ 2463281 h 3750906"/>
              <a:gd name="connsiteX2" fmla="*/ 2556588 w 6027576"/>
              <a:gd name="connsiteY2" fmla="*/ 2519265 h 3750906"/>
              <a:gd name="connsiteX3" fmla="*/ 2369976 w 6027576"/>
              <a:gd name="connsiteY3" fmla="*/ 1380930 h 3750906"/>
              <a:gd name="connsiteX4" fmla="*/ 3918857 w 6027576"/>
              <a:gd name="connsiteY4" fmla="*/ 2444620 h 3750906"/>
              <a:gd name="connsiteX5" fmla="*/ 4870580 w 6027576"/>
              <a:gd name="connsiteY5" fmla="*/ 2388636 h 3750906"/>
              <a:gd name="connsiteX6" fmla="*/ 2369976 w 6027576"/>
              <a:gd name="connsiteY6" fmla="*/ 1380930 h 3750906"/>
              <a:gd name="connsiteX7" fmla="*/ 1250302 w 6027576"/>
              <a:gd name="connsiteY7" fmla="*/ 2799183 h 3750906"/>
              <a:gd name="connsiteX8" fmla="*/ 2071396 w 6027576"/>
              <a:gd name="connsiteY8" fmla="*/ 3750906 h 3750906"/>
              <a:gd name="connsiteX9" fmla="*/ 0 w 6027576"/>
              <a:gd name="connsiteY9" fmla="*/ 2575249 h 3750906"/>
              <a:gd name="connsiteX10" fmla="*/ 1250302 w 6027576"/>
              <a:gd name="connsiteY10" fmla="*/ 2836506 h 3750906"/>
              <a:gd name="connsiteX11" fmla="*/ 74645 w 6027576"/>
              <a:gd name="connsiteY11" fmla="*/ 1791477 h 3750906"/>
              <a:gd name="connsiteX12" fmla="*/ 1101012 w 6027576"/>
              <a:gd name="connsiteY12" fmla="*/ 1343608 h 3750906"/>
              <a:gd name="connsiteX13" fmla="*/ 2892490 w 6027576"/>
              <a:gd name="connsiteY13" fmla="*/ 0 h 375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27576" h="3750906">
                <a:moveTo>
                  <a:pt x="6027576" y="3526971"/>
                </a:moveTo>
                <a:lnTo>
                  <a:pt x="3862874" y="2463281"/>
                </a:lnTo>
                <a:lnTo>
                  <a:pt x="2556588" y="2519265"/>
                </a:lnTo>
                <a:lnTo>
                  <a:pt x="2369976" y="1380930"/>
                </a:lnTo>
                <a:lnTo>
                  <a:pt x="3918857" y="2444620"/>
                </a:lnTo>
                <a:lnTo>
                  <a:pt x="4870580" y="2388636"/>
                </a:lnTo>
                <a:lnTo>
                  <a:pt x="2369976" y="1380930"/>
                </a:lnTo>
                <a:lnTo>
                  <a:pt x="1250302" y="2799183"/>
                </a:lnTo>
                <a:lnTo>
                  <a:pt x="2071396" y="3750906"/>
                </a:lnTo>
                <a:lnTo>
                  <a:pt x="0" y="2575249"/>
                </a:lnTo>
                <a:lnTo>
                  <a:pt x="1250302" y="2836506"/>
                </a:lnTo>
                <a:lnTo>
                  <a:pt x="74645" y="1791477"/>
                </a:lnTo>
                <a:lnTo>
                  <a:pt x="1101012" y="1343608"/>
                </a:lnTo>
                <a:lnTo>
                  <a:pt x="2892490" y="0"/>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37" name="Freeform 122">
            <a:extLst>
              <a:ext uri="{FF2B5EF4-FFF2-40B4-BE49-F238E27FC236}">
                <a16:creationId xmlns:a16="http://schemas.microsoft.com/office/drawing/2014/main" id="{822AFCF2-AFB5-095B-628B-BFD55F1C2B12}"/>
              </a:ext>
              <a:ext uri="{C183D7F6-B498-43B3-948B-1728B52AA6E4}">
                <adec:decorative xmlns:adec="http://schemas.microsoft.com/office/drawing/2017/decorative" val="1"/>
              </a:ext>
            </a:extLst>
          </p:cNvPr>
          <p:cNvSpPr/>
          <p:nvPr/>
        </p:nvSpPr>
        <p:spPr>
          <a:xfrm>
            <a:off x="7955528" y="310186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a:ea typeface="+mn-lt"/>
              <a:cs typeface="Segoe UI"/>
              <a:sym typeface="+mn-lt"/>
            </a:endParaRPr>
          </a:p>
        </p:txBody>
      </p:sp>
      <p:sp>
        <p:nvSpPr>
          <p:cNvPr id="238" name="Freeform 123">
            <a:extLst>
              <a:ext uri="{FF2B5EF4-FFF2-40B4-BE49-F238E27FC236}">
                <a16:creationId xmlns:a16="http://schemas.microsoft.com/office/drawing/2014/main" id="{1B24B652-82E0-EAEE-F827-2FA893CAFF29}"/>
              </a:ext>
              <a:ext uri="{C183D7F6-B498-43B3-948B-1728B52AA6E4}">
                <adec:decorative xmlns:adec="http://schemas.microsoft.com/office/drawing/2017/decorative" val="1"/>
              </a:ext>
            </a:extLst>
          </p:cNvPr>
          <p:cNvSpPr/>
          <p:nvPr/>
        </p:nvSpPr>
        <p:spPr>
          <a:xfrm>
            <a:off x="6055006" y="2769220"/>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7000">
                <a:srgbClr val="7A46B2"/>
              </a:gs>
              <a:gs pos="91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39" name="Freeform 124">
            <a:extLst>
              <a:ext uri="{FF2B5EF4-FFF2-40B4-BE49-F238E27FC236}">
                <a16:creationId xmlns:a16="http://schemas.microsoft.com/office/drawing/2014/main" id="{069F6AC5-F751-A6BC-9540-AA00B9848536}"/>
              </a:ext>
              <a:ext uri="{C183D7F6-B498-43B3-948B-1728B52AA6E4}">
                <adec:decorative xmlns:adec="http://schemas.microsoft.com/office/drawing/2017/decorative" val="1"/>
              </a:ext>
            </a:extLst>
          </p:cNvPr>
          <p:cNvSpPr/>
          <p:nvPr/>
        </p:nvSpPr>
        <p:spPr>
          <a:xfrm>
            <a:off x="2475527" y="3657136"/>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0" name="Freeform 125">
            <a:extLst>
              <a:ext uri="{FF2B5EF4-FFF2-40B4-BE49-F238E27FC236}">
                <a16:creationId xmlns:a16="http://schemas.microsoft.com/office/drawing/2014/main" id="{9F84343A-4CEC-5C00-22CD-DE4D12E2DC36}"/>
              </a:ext>
              <a:ext uri="{C183D7F6-B498-43B3-948B-1728B52AA6E4}">
                <adec:decorative xmlns:adec="http://schemas.microsoft.com/office/drawing/2017/decorative" val="1"/>
              </a:ext>
            </a:extLst>
          </p:cNvPr>
          <p:cNvSpPr/>
          <p:nvPr/>
        </p:nvSpPr>
        <p:spPr>
          <a:xfrm>
            <a:off x="1623143" y="3298238"/>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1" name="Freeform 126">
            <a:extLst>
              <a:ext uri="{FF2B5EF4-FFF2-40B4-BE49-F238E27FC236}">
                <a16:creationId xmlns:a16="http://schemas.microsoft.com/office/drawing/2014/main" id="{EE131B46-B4CA-122C-0672-F537E01795C4}"/>
              </a:ext>
              <a:ext uri="{C183D7F6-B498-43B3-948B-1728B52AA6E4}">
                <adec:decorative xmlns:adec="http://schemas.microsoft.com/office/drawing/2017/decorative" val="1"/>
              </a:ext>
            </a:extLst>
          </p:cNvPr>
          <p:cNvSpPr/>
          <p:nvPr/>
        </p:nvSpPr>
        <p:spPr>
          <a:xfrm>
            <a:off x="4094400" y="2597386"/>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2" name="Freeform 127">
            <a:extLst>
              <a:ext uri="{FF2B5EF4-FFF2-40B4-BE49-F238E27FC236}">
                <a16:creationId xmlns:a16="http://schemas.microsoft.com/office/drawing/2014/main" id="{766FDB0F-BD8F-E6A0-9ED7-445076DFC393}"/>
              </a:ext>
              <a:ext uri="{C183D7F6-B498-43B3-948B-1728B52AA6E4}">
                <adec:decorative xmlns:adec="http://schemas.microsoft.com/office/drawing/2017/decorative" val="1"/>
              </a:ext>
            </a:extLst>
          </p:cNvPr>
          <p:cNvSpPr/>
          <p:nvPr/>
        </p:nvSpPr>
        <p:spPr>
          <a:xfrm>
            <a:off x="4269673" y="4059567"/>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4" name="Freeform 129">
            <a:extLst>
              <a:ext uri="{FF2B5EF4-FFF2-40B4-BE49-F238E27FC236}">
                <a16:creationId xmlns:a16="http://schemas.microsoft.com/office/drawing/2014/main" id="{AFD7B42B-4DF4-F4A3-6BF6-D1F005B68915}"/>
              </a:ext>
              <a:ext uri="{C183D7F6-B498-43B3-948B-1728B52AA6E4}">
                <adec:decorative xmlns:adec="http://schemas.microsoft.com/office/drawing/2017/decorative" val="1"/>
              </a:ext>
            </a:extLst>
          </p:cNvPr>
          <p:cNvSpPr/>
          <p:nvPr/>
        </p:nvSpPr>
        <p:spPr>
          <a:xfrm>
            <a:off x="6268992" y="3619079"/>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5" name="Freeform 130">
            <a:extLst>
              <a:ext uri="{FF2B5EF4-FFF2-40B4-BE49-F238E27FC236}">
                <a16:creationId xmlns:a16="http://schemas.microsoft.com/office/drawing/2014/main" id="{EFAB80B6-C4BF-5D81-862A-5AD593430B2E}"/>
              </a:ext>
              <a:ext uri="{C183D7F6-B498-43B3-948B-1728B52AA6E4}">
                <adec:decorative xmlns:adec="http://schemas.microsoft.com/office/drawing/2017/decorative" val="1"/>
              </a:ext>
            </a:extLst>
          </p:cNvPr>
          <p:cNvSpPr/>
          <p:nvPr/>
        </p:nvSpPr>
        <p:spPr>
          <a:xfrm>
            <a:off x="3461701" y="3135252"/>
            <a:ext cx="288287" cy="2882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6" name="Freeform 131">
            <a:extLst>
              <a:ext uri="{FF2B5EF4-FFF2-40B4-BE49-F238E27FC236}">
                <a16:creationId xmlns:a16="http://schemas.microsoft.com/office/drawing/2014/main" id="{F15B1C43-5F17-9CCC-3DC3-D2F58C164B4B}"/>
              </a:ext>
              <a:ext uri="{C183D7F6-B498-43B3-948B-1728B52AA6E4}">
                <adec:decorative xmlns:adec="http://schemas.microsoft.com/office/drawing/2017/decorative" val="1"/>
              </a:ext>
            </a:extLst>
          </p:cNvPr>
          <p:cNvSpPr/>
          <p:nvPr/>
        </p:nvSpPr>
        <p:spPr>
          <a:xfrm>
            <a:off x="2653935" y="2552445"/>
            <a:ext cx="143410" cy="1433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7" name="Freeform 132">
            <a:extLst>
              <a:ext uri="{FF2B5EF4-FFF2-40B4-BE49-F238E27FC236}">
                <a16:creationId xmlns:a16="http://schemas.microsoft.com/office/drawing/2014/main" id="{B82D86EA-6420-52C1-1526-1B068ED8D6BB}"/>
              </a:ext>
              <a:ext uri="{C183D7F6-B498-43B3-948B-1728B52AA6E4}">
                <adec:decorative xmlns:adec="http://schemas.microsoft.com/office/drawing/2017/decorative" val="1"/>
              </a:ext>
            </a:extLst>
          </p:cNvPr>
          <p:cNvSpPr/>
          <p:nvPr/>
        </p:nvSpPr>
        <p:spPr>
          <a:xfrm>
            <a:off x="2714272" y="3227520"/>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8" name="Freeform 133">
            <a:extLst>
              <a:ext uri="{FF2B5EF4-FFF2-40B4-BE49-F238E27FC236}">
                <a16:creationId xmlns:a16="http://schemas.microsoft.com/office/drawing/2014/main" id="{FF675B28-F31D-9CD7-4170-852D894C0716}"/>
              </a:ext>
              <a:ext uri="{C183D7F6-B498-43B3-948B-1728B52AA6E4}">
                <adec:decorative xmlns:adec="http://schemas.microsoft.com/office/drawing/2017/decorative" val="1"/>
              </a:ext>
            </a:extLst>
          </p:cNvPr>
          <p:cNvSpPr/>
          <p:nvPr/>
        </p:nvSpPr>
        <p:spPr>
          <a:xfrm>
            <a:off x="905306" y="326872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9" name="Freeform 134">
            <a:extLst>
              <a:ext uri="{FF2B5EF4-FFF2-40B4-BE49-F238E27FC236}">
                <a16:creationId xmlns:a16="http://schemas.microsoft.com/office/drawing/2014/main" id="{6CBAA964-908B-AF6B-0C82-224EEE666DF8}"/>
              </a:ext>
              <a:ext uri="{C183D7F6-B498-43B3-948B-1728B52AA6E4}">
                <adec:decorative xmlns:adec="http://schemas.microsoft.com/office/drawing/2017/decorative" val="1"/>
              </a:ext>
            </a:extLst>
          </p:cNvPr>
          <p:cNvSpPr/>
          <p:nvPr/>
        </p:nvSpPr>
        <p:spPr>
          <a:xfrm>
            <a:off x="3722628" y="2735383"/>
            <a:ext cx="180961" cy="18091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0" name="Freeform 135">
            <a:extLst>
              <a:ext uri="{FF2B5EF4-FFF2-40B4-BE49-F238E27FC236}">
                <a16:creationId xmlns:a16="http://schemas.microsoft.com/office/drawing/2014/main" id="{48A181AE-F7FB-A75E-F4CD-30E4D565C137}"/>
              </a:ext>
              <a:ext uri="{C183D7F6-B498-43B3-948B-1728B52AA6E4}">
                <adec:decorative xmlns:adec="http://schemas.microsoft.com/office/drawing/2017/decorative" val="1"/>
              </a:ext>
            </a:extLst>
          </p:cNvPr>
          <p:cNvSpPr/>
          <p:nvPr/>
        </p:nvSpPr>
        <p:spPr>
          <a:xfrm>
            <a:off x="6475640" y="2608750"/>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7000">
                <a:srgbClr val="7A46B2"/>
              </a:gs>
              <a:gs pos="91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1" name="Freeform 136">
            <a:extLst>
              <a:ext uri="{FF2B5EF4-FFF2-40B4-BE49-F238E27FC236}">
                <a16:creationId xmlns:a16="http://schemas.microsoft.com/office/drawing/2014/main" id="{B5C2DD47-3295-E4DF-C1BC-924D0E8ADA26}"/>
              </a:ext>
              <a:ext uri="{C183D7F6-B498-43B3-948B-1728B52AA6E4}">
                <adec:decorative xmlns:adec="http://schemas.microsoft.com/office/drawing/2017/decorative" val="1"/>
              </a:ext>
            </a:extLst>
          </p:cNvPr>
          <p:cNvSpPr/>
          <p:nvPr/>
        </p:nvSpPr>
        <p:spPr>
          <a:xfrm>
            <a:off x="4078048" y="3141518"/>
            <a:ext cx="181970" cy="18191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2" name="Freeform 137">
            <a:extLst>
              <a:ext uri="{FF2B5EF4-FFF2-40B4-BE49-F238E27FC236}">
                <a16:creationId xmlns:a16="http://schemas.microsoft.com/office/drawing/2014/main" id="{AE6227D6-4DBF-AAC4-4B22-9FE6A120AEED}"/>
              </a:ext>
              <a:ext uri="{C183D7F6-B498-43B3-948B-1728B52AA6E4}">
                <adec:decorative xmlns:adec="http://schemas.microsoft.com/office/drawing/2017/decorative" val="1"/>
              </a:ext>
            </a:extLst>
          </p:cNvPr>
          <p:cNvSpPr/>
          <p:nvPr/>
        </p:nvSpPr>
        <p:spPr>
          <a:xfrm>
            <a:off x="8641112" y="3779222"/>
            <a:ext cx="372271" cy="37216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4" name="Freeform 139">
            <a:extLst>
              <a:ext uri="{FF2B5EF4-FFF2-40B4-BE49-F238E27FC236}">
                <a16:creationId xmlns:a16="http://schemas.microsoft.com/office/drawing/2014/main" id="{DD6F4E37-39A6-88FF-2F02-1F1C61D6B8B4}"/>
              </a:ext>
              <a:ext uri="{C183D7F6-B498-43B3-948B-1728B52AA6E4}">
                <adec:decorative xmlns:adec="http://schemas.microsoft.com/office/drawing/2017/decorative" val="1"/>
              </a:ext>
            </a:extLst>
          </p:cNvPr>
          <p:cNvSpPr/>
          <p:nvPr/>
        </p:nvSpPr>
        <p:spPr>
          <a:xfrm>
            <a:off x="6829081" y="3201011"/>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5" name="Freeform 140">
            <a:extLst>
              <a:ext uri="{FF2B5EF4-FFF2-40B4-BE49-F238E27FC236}">
                <a16:creationId xmlns:a16="http://schemas.microsoft.com/office/drawing/2014/main" id="{7FD293F5-6D70-9350-EE4C-F71DC51CF1E2}"/>
              </a:ext>
              <a:ext uri="{C183D7F6-B498-43B3-948B-1728B52AA6E4}">
                <adec:decorative xmlns:adec="http://schemas.microsoft.com/office/drawing/2017/decorative" val="1"/>
              </a:ext>
            </a:extLst>
          </p:cNvPr>
          <p:cNvSpPr/>
          <p:nvPr/>
        </p:nvSpPr>
        <p:spPr>
          <a:xfrm>
            <a:off x="7459231" y="3937024"/>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6" name="Freeform 141">
            <a:extLst>
              <a:ext uri="{FF2B5EF4-FFF2-40B4-BE49-F238E27FC236}">
                <a16:creationId xmlns:a16="http://schemas.microsoft.com/office/drawing/2014/main" id="{37AB4BE8-21A3-561F-5F0D-D6A103D96376}"/>
              </a:ext>
              <a:ext uri="{C183D7F6-B498-43B3-948B-1728B52AA6E4}">
                <adec:decorative xmlns:adec="http://schemas.microsoft.com/office/drawing/2017/decorative" val="1"/>
              </a:ext>
            </a:extLst>
          </p:cNvPr>
          <p:cNvSpPr/>
          <p:nvPr/>
        </p:nvSpPr>
        <p:spPr>
          <a:xfrm>
            <a:off x="9880877" y="3668144"/>
            <a:ext cx="298434" cy="29835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E14C7B"/>
              </a:gs>
              <a:gs pos="20000">
                <a:srgbClr val="B5429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7" name="Freeform 142">
            <a:extLst>
              <a:ext uri="{FF2B5EF4-FFF2-40B4-BE49-F238E27FC236}">
                <a16:creationId xmlns:a16="http://schemas.microsoft.com/office/drawing/2014/main" id="{702340B6-43C9-464C-3AFF-738802B21EF6}"/>
              </a:ext>
              <a:ext uri="{C183D7F6-B498-43B3-948B-1728B52AA6E4}">
                <adec:decorative xmlns:adec="http://schemas.microsoft.com/office/drawing/2017/decorative" val="1"/>
              </a:ext>
            </a:extLst>
          </p:cNvPr>
          <p:cNvSpPr/>
          <p:nvPr/>
        </p:nvSpPr>
        <p:spPr>
          <a:xfrm>
            <a:off x="3107756" y="2877703"/>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8" name="Freeform 143">
            <a:extLst>
              <a:ext uri="{FF2B5EF4-FFF2-40B4-BE49-F238E27FC236}">
                <a16:creationId xmlns:a16="http://schemas.microsoft.com/office/drawing/2014/main" id="{5CA1BA8B-9244-720D-31E9-A3B8587742C9}"/>
              </a:ext>
              <a:ext uri="{C183D7F6-B498-43B3-948B-1728B52AA6E4}">
                <adec:decorative xmlns:adec="http://schemas.microsoft.com/office/drawing/2017/decorative" val="1"/>
              </a:ext>
            </a:extLst>
          </p:cNvPr>
          <p:cNvSpPr/>
          <p:nvPr/>
        </p:nvSpPr>
        <p:spPr>
          <a:xfrm>
            <a:off x="5310103" y="1765570"/>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9" name="Freeform 144">
            <a:extLst>
              <a:ext uri="{FF2B5EF4-FFF2-40B4-BE49-F238E27FC236}">
                <a16:creationId xmlns:a16="http://schemas.microsoft.com/office/drawing/2014/main" id="{6B5D0FCC-99C0-ED0E-41BA-E2DB74AB5841}"/>
              </a:ext>
              <a:ext uri="{C183D7F6-B498-43B3-948B-1728B52AA6E4}">
                <adec:decorative xmlns:adec="http://schemas.microsoft.com/office/drawing/2017/decorative" val="1"/>
              </a:ext>
            </a:extLst>
          </p:cNvPr>
          <p:cNvSpPr/>
          <p:nvPr/>
        </p:nvSpPr>
        <p:spPr>
          <a:xfrm>
            <a:off x="1417675" y="2689997"/>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0" name="Freeform 145">
            <a:extLst>
              <a:ext uri="{FF2B5EF4-FFF2-40B4-BE49-F238E27FC236}">
                <a16:creationId xmlns:a16="http://schemas.microsoft.com/office/drawing/2014/main" id="{34845E6A-462F-242E-0445-BCFDCC9D469F}"/>
              </a:ext>
              <a:ext uri="{C183D7F6-B498-43B3-948B-1728B52AA6E4}">
                <adec:decorative xmlns:adec="http://schemas.microsoft.com/office/drawing/2017/decorative" val="1"/>
              </a:ext>
            </a:extLst>
          </p:cNvPr>
          <p:cNvSpPr/>
          <p:nvPr/>
        </p:nvSpPr>
        <p:spPr>
          <a:xfrm>
            <a:off x="1015943" y="2844081"/>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1" name="Freeform 146">
            <a:extLst>
              <a:ext uri="{FF2B5EF4-FFF2-40B4-BE49-F238E27FC236}">
                <a16:creationId xmlns:a16="http://schemas.microsoft.com/office/drawing/2014/main" id="{9BB5A3E2-9412-5B12-5907-481CB76D9467}"/>
              </a:ext>
              <a:ext uri="{C183D7F6-B498-43B3-948B-1728B52AA6E4}">
                <adec:decorative xmlns:adec="http://schemas.microsoft.com/office/drawing/2017/decorative" val="1"/>
              </a:ext>
            </a:extLst>
          </p:cNvPr>
          <p:cNvSpPr/>
          <p:nvPr/>
        </p:nvSpPr>
        <p:spPr>
          <a:xfrm>
            <a:off x="2486912" y="2075375"/>
            <a:ext cx="282465" cy="28238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2" name="Freeform 147">
            <a:extLst>
              <a:ext uri="{FF2B5EF4-FFF2-40B4-BE49-F238E27FC236}">
                <a16:creationId xmlns:a16="http://schemas.microsoft.com/office/drawing/2014/main" id="{DDF01A3D-6985-1679-DA0C-E82D26045378}"/>
              </a:ext>
              <a:ext uri="{C183D7F6-B498-43B3-948B-1728B52AA6E4}">
                <adec:decorative xmlns:adec="http://schemas.microsoft.com/office/drawing/2017/decorative" val="1"/>
              </a:ext>
            </a:extLst>
          </p:cNvPr>
          <p:cNvSpPr/>
          <p:nvPr/>
        </p:nvSpPr>
        <p:spPr>
          <a:xfrm>
            <a:off x="9311846" y="3149193"/>
            <a:ext cx="372271" cy="37216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3" name="Freeform 148">
            <a:extLst>
              <a:ext uri="{FF2B5EF4-FFF2-40B4-BE49-F238E27FC236}">
                <a16:creationId xmlns:a16="http://schemas.microsoft.com/office/drawing/2014/main" id="{3CAA3769-6D3E-5BC7-267A-86554387E51C}"/>
              </a:ext>
              <a:ext uri="{C183D7F6-B498-43B3-948B-1728B52AA6E4}">
                <adec:decorative xmlns:adec="http://schemas.microsoft.com/office/drawing/2017/decorative" val="1"/>
              </a:ext>
            </a:extLst>
          </p:cNvPr>
          <p:cNvSpPr/>
          <p:nvPr/>
        </p:nvSpPr>
        <p:spPr>
          <a:xfrm>
            <a:off x="8602398" y="3161303"/>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4" name="Freeform 149">
            <a:extLst>
              <a:ext uri="{FF2B5EF4-FFF2-40B4-BE49-F238E27FC236}">
                <a16:creationId xmlns:a16="http://schemas.microsoft.com/office/drawing/2014/main" id="{BC0E92FD-697E-5648-D212-75FD10EBEEB6}"/>
              </a:ext>
              <a:ext uri="{C183D7F6-B498-43B3-948B-1728B52AA6E4}">
                <adec:decorative xmlns:adec="http://schemas.microsoft.com/office/drawing/2017/decorative" val="1"/>
              </a:ext>
            </a:extLst>
          </p:cNvPr>
          <p:cNvSpPr/>
          <p:nvPr/>
        </p:nvSpPr>
        <p:spPr>
          <a:xfrm>
            <a:off x="8845615" y="227744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5" name="Freeform 150">
            <a:extLst>
              <a:ext uri="{FF2B5EF4-FFF2-40B4-BE49-F238E27FC236}">
                <a16:creationId xmlns:a16="http://schemas.microsoft.com/office/drawing/2014/main" id="{04870272-8B9D-184C-3497-EEECECBDBE5E}"/>
              </a:ext>
              <a:ext uri="{C183D7F6-B498-43B3-948B-1728B52AA6E4}">
                <adec:decorative xmlns:adec="http://schemas.microsoft.com/office/drawing/2017/decorative" val="1"/>
              </a:ext>
            </a:extLst>
          </p:cNvPr>
          <p:cNvSpPr/>
          <p:nvPr/>
        </p:nvSpPr>
        <p:spPr>
          <a:xfrm>
            <a:off x="7499348" y="2821096"/>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6" name="Freeform 151">
            <a:extLst>
              <a:ext uri="{FF2B5EF4-FFF2-40B4-BE49-F238E27FC236}">
                <a16:creationId xmlns:a16="http://schemas.microsoft.com/office/drawing/2014/main" id="{A34FA22B-3112-98C2-B9BE-85C094E9D21D}"/>
              </a:ext>
              <a:ext uri="{C183D7F6-B498-43B3-948B-1728B52AA6E4}">
                <adec:decorative xmlns:adec="http://schemas.microsoft.com/office/drawing/2017/decorative" val="1"/>
              </a:ext>
            </a:extLst>
          </p:cNvPr>
          <p:cNvSpPr/>
          <p:nvPr/>
        </p:nvSpPr>
        <p:spPr>
          <a:xfrm>
            <a:off x="9353513" y="3822045"/>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32000">
                <a:srgbClr val="CA429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7" name="Freeform 152">
            <a:extLst>
              <a:ext uri="{FF2B5EF4-FFF2-40B4-BE49-F238E27FC236}">
                <a16:creationId xmlns:a16="http://schemas.microsoft.com/office/drawing/2014/main" id="{AF980528-9702-D585-1FC1-A6B9B97C48A1}"/>
              </a:ext>
              <a:ext uri="{C183D7F6-B498-43B3-948B-1728B52AA6E4}">
                <adec:decorative xmlns:adec="http://schemas.microsoft.com/office/drawing/2017/decorative" val="1"/>
              </a:ext>
            </a:extLst>
          </p:cNvPr>
          <p:cNvSpPr/>
          <p:nvPr/>
        </p:nvSpPr>
        <p:spPr>
          <a:xfrm>
            <a:off x="5617276" y="351276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67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8" name="Freeform 153">
            <a:extLst>
              <a:ext uri="{FF2B5EF4-FFF2-40B4-BE49-F238E27FC236}">
                <a16:creationId xmlns:a16="http://schemas.microsoft.com/office/drawing/2014/main" id="{315D5315-74A0-F079-8257-E7625D1D0610}"/>
              </a:ext>
              <a:ext uri="{C183D7F6-B498-43B3-948B-1728B52AA6E4}">
                <adec:decorative xmlns:adec="http://schemas.microsoft.com/office/drawing/2017/decorative" val="1"/>
              </a:ext>
            </a:extLst>
          </p:cNvPr>
          <p:cNvSpPr/>
          <p:nvPr/>
        </p:nvSpPr>
        <p:spPr>
          <a:xfrm>
            <a:off x="5065466" y="3262225"/>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67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9" name="Freeform 154">
            <a:extLst>
              <a:ext uri="{FF2B5EF4-FFF2-40B4-BE49-F238E27FC236}">
                <a16:creationId xmlns:a16="http://schemas.microsoft.com/office/drawing/2014/main" id="{2772D6F9-B43B-2ED1-E690-305BAEBF9B30}"/>
              </a:ext>
              <a:ext uri="{C183D7F6-B498-43B3-948B-1728B52AA6E4}">
                <adec:decorative xmlns:adec="http://schemas.microsoft.com/office/drawing/2017/decorative" val="1"/>
              </a:ext>
            </a:extLst>
          </p:cNvPr>
          <p:cNvSpPr/>
          <p:nvPr/>
        </p:nvSpPr>
        <p:spPr>
          <a:xfrm>
            <a:off x="3935940" y="3885741"/>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0" name="Freeform 155">
            <a:extLst>
              <a:ext uri="{FF2B5EF4-FFF2-40B4-BE49-F238E27FC236}">
                <a16:creationId xmlns:a16="http://schemas.microsoft.com/office/drawing/2014/main" id="{42A457D0-B5A1-249C-21F6-D8FA411CD23D}"/>
              </a:ext>
              <a:ext uri="{C183D7F6-B498-43B3-948B-1728B52AA6E4}">
                <adec:decorative xmlns:adec="http://schemas.microsoft.com/office/drawing/2017/decorative" val="1"/>
              </a:ext>
            </a:extLst>
          </p:cNvPr>
          <p:cNvSpPr/>
          <p:nvPr/>
        </p:nvSpPr>
        <p:spPr>
          <a:xfrm>
            <a:off x="1205886" y="404363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2" name="Freeform 157">
            <a:extLst>
              <a:ext uri="{FF2B5EF4-FFF2-40B4-BE49-F238E27FC236}">
                <a16:creationId xmlns:a16="http://schemas.microsoft.com/office/drawing/2014/main" id="{D4F93703-B89C-36B5-58B1-AC7963ACD45F}"/>
              </a:ext>
              <a:ext uri="{C183D7F6-B498-43B3-948B-1728B52AA6E4}">
                <adec:decorative xmlns:adec="http://schemas.microsoft.com/office/drawing/2017/decorative" val="1"/>
              </a:ext>
            </a:extLst>
          </p:cNvPr>
          <p:cNvSpPr/>
          <p:nvPr/>
        </p:nvSpPr>
        <p:spPr>
          <a:xfrm>
            <a:off x="7423815" y="3374095"/>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5" name="Freeform 160">
            <a:extLst>
              <a:ext uri="{FF2B5EF4-FFF2-40B4-BE49-F238E27FC236}">
                <a16:creationId xmlns:a16="http://schemas.microsoft.com/office/drawing/2014/main" id="{55661496-36A9-DDA9-F4B5-1626A01BAD60}"/>
              </a:ext>
              <a:ext uri="{C183D7F6-B498-43B3-948B-1728B52AA6E4}">
                <adec:decorative xmlns:adec="http://schemas.microsoft.com/office/drawing/2017/decorative" val="1"/>
              </a:ext>
            </a:extLst>
          </p:cNvPr>
          <p:cNvSpPr/>
          <p:nvPr/>
        </p:nvSpPr>
        <p:spPr>
          <a:xfrm>
            <a:off x="10127694" y="3159108"/>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500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6" name="Freeform 161">
            <a:extLst>
              <a:ext uri="{FF2B5EF4-FFF2-40B4-BE49-F238E27FC236}">
                <a16:creationId xmlns:a16="http://schemas.microsoft.com/office/drawing/2014/main" id="{1664E2EF-6556-295D-E44A-DBB5E5E669B9}"/>
              </a:ext>
              <a:ext uri="{C183D7F6-B498-43B3-948B-1728B52AA6E4}">
                <adec:decorative xmlns:adec="http://schemas.microsoft.com/office/drawing/2017/decorative" val="1"/>
              </a:ext>
            </a:extLst>
          </p:cNvPr>
          <p:cNvSpPr/>
          <p:nvPr/>
        </p:nvSpPr>
        <p:spPr>
          <a:xfrm>
            <a:off x="8032947" y="4037776"/>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7" name="Freeform 162">
            <a:extLst>
              <a:ext uri="{FF2B5EF4-FFF2-40B4-BE49-F238E27FC236}">
                <a16:creationId xmlns:a16="http://schemas.microsoft.com/office/drawing/2014/main" id="{F058982D-7C4D-AED0-E69F-A82DD040D168}"/>
              </a:ext>
              <a:ext uri="{C183D7F6-B498-43B3-948B-1728B52AA6E4}">
                <adec:decorative xmlns:adec="http://schemas.microsoft.com/office/drawing/2017/decorative" val="1"/>
              </a:ext>
            </a:extLst>
          </p:cNvPr>
          <p:cNvSpPr/>
          <p:nvPr/>
        </p:nvSpPr>
        <p:spPr>
          <a:xfrm>
            <a:off x="3141150" y="3820875"/>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8" name="Freeform 163">
            <a:extLst>
              <a:ext uri="{FF2B5EF4-FFF2-40B4-BE49-F238E27FC236}">
                <a16:creationId xmlns:a16="http://schemas.microsoft.com/office/drawing/2014/main" id="{2D7A1D8A-CE61-CA25-74D0-74C106BCB0BC}"/>
              </a:ext>
              <a:ext uri="{C183D7F6-B498-43B3-948B-1728B52AA6E4}">
                <adec:decorative xmlns:adec="http://schemas.microsoft.com/office/drawing/2017/decorative" val="1"/>
              </a:ext>
            </a:extLst>
          </p:cNvPr>
          <p:cNvSpPr/>
          <p:nvPr/>
        </p:nvSpPr>
        <p:spPr>
          <a:xfrm>
            <a:off x="10306093" y="3579197"/>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E14C7B"/>
              </a:gs>
              <a:gs pos="20000">
                <a:srgbClr val="B5429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9" name="Freeform 164">
            <a:extLst>
              <a:ext uri="{FF2B5EF4-FFF2-40B4-BE49-F238E27FC236}">
                <a16:creationId xmlns:a16="http://schemas.microsoft.com/office/drawing/2014/main" id="{1D426B98-D068-5323-DEFB-D179275B8A50}"/>
              </a:ext>
              <a:ext uri="{C183D7F6-B498-43B3-948B-1728B52AA6E4}">
                <adec:decorative xmlns:adec="http://schemas.microsoft.com/office/drawing/2017/decorative" val="1"/>
              </a:ext>
            </a:extLst>
          </p:cNvPr>
          <p:cNvSpPr/>
          <p:nvPr/>
        </p:nvSpPr>
        <p:spPr>
          <a:xfrm>
            <a:off x="4481993" y="270078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0" name="Freeform 165">
            <a:extLst>
              <a:ext uri="{FF2B5EF4-FFF2-40B4-BE49-F238E27FC236}">
                <a16:creationId xmlns:a16="http://schemas.microsoft.com/office/drawing/2014/main" id="{91B5E797-0FF4-CA6B-6445-01D43853025E}"/>
              </a:ext>
              <a:ext uri="{C183D7F6-B498-43B3-948B-1728B52AA6E4}">
                <adec:decorative xmlns:adec="http://schemas.microsoft.com/office/drawing/2017/decorative" val="1"/>
              </a:ext>
            </a:extLst>
          </p:cNvPr>
          <p:cNvSpPr/>
          <p:nvPr/>
        </p:nvSpPr>
        <p:spPr>
          <a:xfrm>
            <a:off x="4512249" y="3619079"/>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1" name="Freeform 166">
            <a:extLst>
              <a:ext uri="{FF2B5EF4-FFF2-40B4-BE49-F238E27FC236}">
                <a16:creationId xmlns:a16="http://schemas.microsoft.com/office/drawing/2014/main" id="{16D536DE-EB42-DC75-0772-F979E4F867D0}"/>
              </a:ext>
              <a:ext uri="{C183D7F6-B498-43B3-948B-1728B52AA6E4}">
                <adec:decorative xmlns:adec="http://schemas.microsoft.com/office/drawing/2017/decorative" val="1"/>
              </a:ext>
            </a:extLst>
          </p:cNvPr>
          <p:cNvSpPr/>
          <p:nvPr/>
        </p:nvSpPr>
        <p:spPr>
          <a:xfrm>
            <a:off x="5077047" y="253698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2" name="Freeform 167">
            <a:extLst>
              <a:ext uri="{FF2B5EF4-FFF2-40B4-BE49-F238E27FC236}">
                <a16:creationId xmlns:a16="http://schemas.microsoft.com/office/drawing/2014/main" id="{8230D027-C542-0202-D1C9-114C06A0D07D}"/>
              </a:ext>
              <a:ext uri="{C183D7F6-B498-43B3-948B-1728B52AA6E4}">
                <adec:decorative xmlns:adec="http://schemas.microsoft.com/office/drawing/2017/decorative" val="1"/>
              </a:ext>
            </a:extLst>
          </p:cNvPr>
          <p:cNvSpPr/>
          <p:nvPr/>
        </p:nvSpPr>
        <p:spPr>
          <a:xfrm>
            <a:off x="5355677" y="405450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67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4" name="Freeform 169">
            <a:extLst>
              <a:ext uri="{FF2B5EF4-FFF2-40B4-BE49-F238E27FC236}">
                <a16:creationId xmlns:a16="http://schemas.microsoft.com/office/drawing/2014/main" id="{0E2F740E-A678-EEE4-846E-565BCB8010E5}"/>
              </a:ext>
              <a:ext uri="{C183D7F6-B498-43B3-948B-1728B52AA6E4}">
                <adec:decorative xmlns:adec="http://schemas.microsoft.com/office/drawing/2017/decorative" val="1"/>
              </a:ext>
            </a:extLst>
          </p:cNvPr>
          <p:cNvSpPr/>
          <p:nvPr/>
        </p:nvSpPr>
        <p:spPr>
          <a:xfrm>
            <a:off x="1986071" y="2930368"/>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73" name="TextBox 172">
            <a:extLst>
              <a:ext uri="{FF2B5EF4-FFF2-40B4-BE49-F238E27FC236}">
                <a16:creationId xmlns:a16="http://schemas.microsoft.com/office/drawing/2014/main" id="{C28E6CA8-951F-9934-1FD3-BED444FB5738}"/>
              </a:ext>
            </a:extLst>
          </p:cNvPr>
          <p:cNvSpPr txBox="1"/>
          <p:nvPr/>
        </p:nvSpPr>
        <p:spPr>
          <a:xfrm>
            <a:off x="3912554" y="1257050"/>
            <a:ext cx="4271620" cy="271613"/>
          </a:xfrm>
          <a:prstGeom prst="rect">
            <a:avLst/>
          </a:prstGeom>
          <a:noFill/>
        </p:spPr>
        <p:txBody>
          <a:bodyPr wrap="square" lIns="0" tIns="0" rIns="0" bIns="0" rtlCol="0" anchor="t">
            <a:spAutoFit/>
          </a:bodyPr>
          <a:lstStyle/>
          <a:p>
            <a:pPr marL="0" marR="0" lvl="0" indent="0" algn="ctr" defTabSz="750265" rtl="0" eaLnBrk="1" fontAlgn="auto" latinLnBrk="0" hangingPunct="1">
              <a:lnSpc>
                <a:spcPct val="100000"/>
              </a:lnSpc>
              <a:spcBef>
                <a:spcPts val="0"/>
              </a:spcBef>
              <a:spcAft>
                <a:spcPts val="0"/>
              </a:spcAft>
              <a:buClrTx/>
              <a:buSzTx/>
              <a:buFontTx/>
              <a:buNone/>
              <a:tabLst/>
              <a:defRPr/>
            </a:pPr>
            <a:r>
              <a:rPr kumimoji="0" lang="fr-fr" sz="1765" b="0" i="0" u="none" strike="noStrike" kern="1200" cap="none" spc="0" normalizeH="0" baseline="0" noProof="0">
                <a:ln>
                  <a:noFill/>
                </a:ln>
                <a:solidFill>
                  <a:srgbClr val="2A446F"/>
                </a:solidFill>
                <a:effectLst/>
                <a:uLnTx/>
                <a:uFillTx/>
                <a:latin typeface="Segoe UI Semibold"/>
                <a:ea typeface="+mn-ea"/>
                <a:cs typeface="Segoe UI Semibold" panose="020B0702040204020203" pitchFamily="34" charset="0"/>
              </a:rPr>
              <a:t>La plateforme de contrôle pour les agents</a:t>
            </a:r>
          </a:p>
        </p:txBody>
      </p:sp>
      <p:sp>
        <p:nvSpPr>
          <p:cNvPr id="243" name="Freeform 128">
            <a:extLst>
              <a:ext uri="{FF2B5EF4-FFF2-40B4-BE49-F238E27FC236}">
                <a16:creationId xmlns:a16="http://schemas.microsoft.com/office/drawing/2014/main" id="{59E012FF-043C-9FB2-D5C1-5A3B04938EDB}"/>
              </a:ext>
              <a:ext uri="{C183D7F6-B498-43B3-948B-1728B52AA6E4}">
                <adec:decorative xmlns:adec="http://schemas.microsoft.com/office/drawing/2017/decorative" val="1"/>
              </a:ext>
            </a:extLst>
          </p:cNvPr>
          <p:cNvSpPr/>
          <p:nvPr/>
        </p:nvSpPr>
        <p:spPr>
          <a:xfrm>
            <a:off x="10486879" y="4652348"/>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E14C7B"/>
              </a:gs>
              <a:gs pos="17000">
                <a:srgbClr val="B54292">
                  <a:lumMod val="83000"/>
                </a:srgbClr>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3" name="Freeform 138">
            <a:extLst>
              <a:ext uri="{FF2B5EF4-FFF2-40B4-BE49-F238E27FC236}">
                <a16:creationId xmlns:a16="http://schemas.microsoft.com/office/drawing/2014/main" id="{4BDD7F24-9E4D-DB0D-EAFD-D53223E64DC7}"/>
              </a:ext>
              <a:ext uri="{C183D7F6-B498-43B3-948B-1728B52AA6E4}">
                <adec:decorative xmlns:adec="http://schemas.microsoft.com/office/drawing/2017/decorative" val="1"/>
              </a:ext>
            </a:extLst>
          </p:cNvPr>
          <p:cNvSpPr/>
          <p:nvPr/>
        </p:nvSpPr>
        <p:spPr>
          <a:xfrm>
            <a:off x="8463962" y="4625283"/>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1" name="Freeform 156">
            <a:extLst>
              <a:ext uri="{FF2B5EF4-FFF2-40B4-BE49-F238E27FC236}">
                <a16:creationId xmlns:a16="http://schemas.microsoft.com/office/drawing/2014/main" id="{55607508-BE2F-F5ED-8B47-52196E2408F4}"/>
              </a:ext>
              <a:ext uri="{C183D7F6-B498-43B3-948B-1728B52AA6E4}">
                <adec:decorative xmlns:adec="http://schemas.microsoft.com/office/drawing/2017/decorative" val="1"/>
              </a:ext>
            </a:extLst>
          </p:cNvPr>
          <p:cNvSpPr/>
          <p:nvPr/>
        </p:nvSpPr>
        <p:spPr>
          <a:xfrm>
            <a:off x="6071522" y="4307976"/>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4" name="Freeform 159">
            <a:extLst>
              <a:ext uri="{FF2B5EF4-FFF2-40B4-BE49-F238E27FC236}">
                <a16:creationId xmlns:a16="http://schemas.microsoft.com/office/drawing/2014/main" id="{23959178-A362-D7DE-0320-61725419A862}"/>
              </a:ext>
              <a:ext uri="{C183D7F6-B498-43B3-948B-1728B52AA6E4}">
                <adec:decorative xmlns:adec="http://schemas.microsoft.com/office/drawing/2017/decorative" val="1"/>
              </a:ext>
            </a:extLst>
          </p:cNvPr>
          <p:cNvSpPr/>
          <p:nvPr/>
        </p:nvSpPr>
        <p:spPr>
          <a:xfrm>
            <a:off x="6916737" y="4332559"/>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3" name="Freeform 168">
            <a:extLst>
              <a:ext uri="{FF2B5EF4-FFF2-40B4-BE49-F238E27FC236}">
                <a16:creationId xmlns:a16="http://schemas.microsoft.com/office/drawing/2014/main" id="{BE6F5602-8898-5E7E-6D05-D0237CEC02F8}"/>
              </a:ext>
              <a:ext uri="{C183D7F6-B498-43B3-948B-1728B52AA6E4}">
                <adec:decorative xmlns:adec="http://schemas.microsoft.com/office/drawing/2017/decorative" val="1"/>
              </a:ext>
            </a:extLst>
          </p:cNvPr>
          <p:cNvSpPr/>
          <p:nvPr/>
        </p:nvSpPr>
        <p:spPr>
          <a:xfrm>
            <a:off x="5903564" y="4732120"/>
            <a:ext cx="344060" cy="34396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alpha val="65000"/>
                </a:srgbClr>
              </a:gs>
              <a:gs pos="12000">
                <a:srgbClr val="AC35AF">
                  <a:alpha val="58000"/>
                </a:srgbClr>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308" name="Rectangle: Rounded Corners 307">
            <a:extLst>
              <a:ext uri="{FF2B5EF4-FFF2-40B4-BE49-F238E27FC236}">
                <a16:creationId xmlns:a16="http://schemas.microsoft.com/office/drawing/2014/main" id="{7CDC6F0F-2C1F-6303-E08A-B99393681DE2}"/>
              </a:ext>
              <a:ext uri="{C183D7F6-B498-43B3-948B-1728B52AA6E4}">
                <adec:decorative xmlns:adec="http://schemas.microsoft.com/office/drawing/2017/decorative" val="1"/>
              </a:ext>
            </a:extLst>
          </p:cNvPr>
          <p:cNvSpPr>
            <a:spLocks/>
          </p:cNvSpPr>
          <p:nvPr/>
        </p:nvSpPr>
        <p:spPr bwMode="auto">
          <a:xfrm>
            <a:off x="723897" y="4151388"/>
            <a:ext cx="2024482" cy="2036051"/>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09" name="Rectangle: Rounded Corners 308">
            <a:extLst>
              <a:ext uri="{FF2B5EF4-FFF2-40B4-BE49-F238E27FC236}">
                <a16:creationId xmlns:a16="http://schemas.microsoft.com/office/drawing/2014/main" id="{EB881ABE-66C5-C9CC-92D6-9A6049743B0D}"/>
              </a:ext>
              <a:ext uri="{C183D7F6-B498-43B3-948B-1728B52AA6E4}">
                <adec:decorative xmlns:adec="http://schemas.microsoft.com/office/drawing/2017/decorative" val="1"/>
              </a:ext>
            </a:extLst>
          </p:cNvPr>
          <p:cNvSpPr>
            <a:spLocks/>
          </p:cNvSpPr>
          <p:nvPr/>
        </p:nvSpPr>
        <p:spPr bwMode="auto">
          <a:xfrm>
            <a:off x="2903827" y="4126244"/>
            <a:ext cx="2024482" cy="2061195"/>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10" name="Rectangle: Rounded Corners 309">
            <a:extLst>
              <a:ext uri="{FF2B5EF4-FFF2-40B4-BE49-F238E27FC236}">
                <a16:creationId xmlns:a16="http://schemas.microsoft.com/office/drawing/2014/main" id="{7D5EFB5F-35B2-C727-A898-B45550CC4471}"/>
              </a:ext>
              <a:ext uri="{C183D7F6-B498-43B3-948B-1728B52AA6E4}">
                <adec:decorative xmlns:adec="http://schemas.microsoft.com/office/drawing/2017/decorative" val="1"/>
              </a:ext>
            </a:extLst>
          </p:cNvPr>
          <p:cNvSpPr>
            <a:spLocks/>
          </p:cNvSpPr>
          <p:nvPr/>
        </p:nvSpPr>
        <p:spPr bwMode="auto">
          <a:xfrm>
            <a:off x="5083757" y="4769972"/>
            <a:ext cx="2024482" cy="1417467"/>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11" name="Rectangle: Rounded Corners 310">
            <a:extLst>
              <a:ext uri="{FF2B5EF4-FFF2-40B4-BE49-F238E27FC236}">
                <a16:creationId xmlns:a16="http://schemas.microsoft.com/office/drawing/2014/main" id="{61192687-D175-77CF-2A6C-1F5DCDFD350B}"/>
              </a:ext>
              <a:ext uri="{C183D7F6-B498-43B3-948B-1728B52AA6E4}">
                <adec:decorative xmlns:adec="http://schemas.microsoft.com/office/drawing/2017/decorative" val="1"/>
              </a:ext>
            </a:extLst>
          </p:cNvPr>
          <p:cNvSpPr>
            <a:spLocks/>
          </p:cNvSpPr>
          <p:nvPr/>
        </p:nvSpPr>
        <p:spPr bwMode="auto">
          <a:xfrm>
            <a:off x="7263687" y="4769972"/>
            <a:ext cx="2024482" cy="1417467"/>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12" name="Rectangle: Rounded Corners 311">
            <a:extLst>
              <a:ext uri="{FF2B5EF4-FFF2-40B4-BE49-F238E27FC236}">
                <a16:creationId xmlns:a16="http://schemas.microsoft.com/office/drawing/2014/main" id="{1634F0D4-BE74-34AF-79D9-1AE6E60438A0}"/>
              </a:ext>
              <a:ext uri="{C183D7F6-B498-43B3-948B-1728B52AA6E4}">
                <adec:decorative xmlns:adec="http://schemas.microsoft.com/office/drawing/2017/decorative" val="1"/>
              </a:ext>
            </a:extLst>
          </p:cNvPr>
          <p:cNvSpPr>
            <a:spLocks/>
          </p:cNvSpPr>
          <p:nvPr/>
        </p:nvSpPr>
        <p:spPr bwMode="auto">
          <a:xfrm>
            <a:off x="9443617" y="4769972"/>
            <a:ext cx="2024482" cy="1417467"/>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grpSp>
        <p:nvGrpSpPr>
          <p:cNvPr id="6" name="Group 5">
            <a:extLst>
              <a:ext uri="{FF2B5EF4-FFF2-40B4-BE49-F238E27FC236}">
                <a16:creationId xmlns:a16="http://schemas.microsoft.com/office/drawing/2014/main" id="{0C7AB552-F28F-43A4-44D3-E7DFC1096C03}"/>
              </a:ext>
              <a:ext uri="{C183D7F6-B498-43B3-948B-1728B52AA6E4}">
                <adec:decorative xmlns:adec="http://schemas.microsoft.com/office/drawing/2017/decorative" val="1"/>
              </a:ext>
            </a:extLst>
          </p:cNvPr>
          <p:cNvGrpSpPr/>
          <p:nvPr/>
        </p:nvGrpSpPr>
        <p:grpSpPr>
          <a:xfrm>
            <a:off x="1408783" y="3779056"/>
            <a:ext cx="654710" cy="654710"/>
            <a:chOff x="1408783" y="4316018"/>
            <a:chExt cx="654710" cy="654710"/>
          </a:xfrm>
        </p:grpSpPr>
        <p:sp>
          <p:nvSpPr>
            <p:cNvPr id="166" name="Box">
              <a:extLst>
                <a:ext uri="{FF2B5EF4-FFF2-40B4-BE49-F238E27FC236}">
                  <a16:creationId xmlns:a16="http://schemas.microsoft.com/office/drawing/2014/main" id="{EB83D0BA-7A17-0718-7614-4E1E7300CDCB}"/>
                </a:ext>
                <a:ext uri="{C183D7F6-B498-43B3-948B-1728B52AA6E4}">
                  <adec:decorative xmlns:adec="http://schemas.microsoft.com/office/drawing/2017/decorative" val="1"/>
                </a:ext>
              </a:extLst>
            </p:cNvPr>
            <p:cNvSpPr>
              <a:spLocks noChangeAspect="1"/>
            </p:cNvSpPr>
            <p:nvPr/>
          </p:nvSpPr>
          <p:spPr bwMode="auto">
            <a:xfrm>
              <a:off x="140878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3" name="Graphic 119">
              <a:extLst>
                <a:ext uri="{FF2B5EF4-FFF2-40B4-BE49-F238E27FC236}">
                  <a16:creationId xmlns:a16="http://schemas.microsoft.com/office/drawing/2014/main" id="{F9ED5543-9706-185A-357A-D0205FC2CF51}"/>
                </a:ext>
              </a:extLst>
            </p:cNvPr>
            <p:cNvSpPr/>
            <p:nvPr/>
          </p:nvSpPr>
          <p:spPr>
            <a:xfrm>
              <a:off x="1566340" y="4473576"/>
              <a:ext cx="339598" cy="339596"/>
            </a:xfrm>
            <a:custGeom>
              <a:avLst/>
              <a:gdLst>
                <a:gd name="csX0" fmla="*/ 802316 w 979097"/>
                <a:gd name="csY0" fmla="*/ 0 h 979097"/>
                <a:gd name="csX1" fmla="*/ 979097 w 979097"/>
                <a:gd name="csY1" fmla="*/ 176781 h 979097"/>
                <a:gd name="csX2" fmla="*/ 979097 w 979097"/>
                <a:gd name="csY2" fmla="*/ 802316 h 979097"/>
                <a:gd name="csX3" fmla="*/ 802316 w 979097"/>
                <a:gd name="csY3" fmla="*/ 979097 h 979097"/>
                <a:gd name="csX4" fmla="*/ 176781 w 979097"/>
                <a:gd name="csY4" fmla="*/ 979097 h 979097"/>
                <a:gd name="csX5" fmla="*/ 0 w 979097"/>
                <a:gd name="csY5" fmla="*/ 802316 h 979097"/>
                <a:gd name="csX6" fmla="*/ 0 w 979097"/>
                <a:gd name="csY6" fmla="*/ 176781 h 979097"/>
                <a:gd name="csX7" fmla="*/ 176781 w 979097"/>
                <a:gd name="csY7" fmla="*/ 0 h 979097"/>
                <a:gd name="csX8" fmla="*/ 802316 w 979097"/>
                <a:gd name="csY8" fmla="*/ 0 h 979097"/>
                <a:gd name="csX9" fmla="*/ 802316 w 979097"/>
                <a:gd name="csY9" fmla="*/ 81591 h 979097"/>
                <a:gd name="csX10" fmla="*/ 176781 w 979097"/>
                <a:gd name="csY10" fmla="*/ 81591 h 979097"/>
                <a:gd name="csX11" fmla="*/ 81591 w 979097"/>
                <a:gd name="csY11" fmla="*/ 176781 h 979097"/>
                <a:gd name="csX12" fmla="*/ 81591 w 979097"/>
                <a:gd name="csY12" fmla="*/ 802316 h 979097"/>
                <a:gd name="csX13" fmla="*/ 176781 w 979097"/>
                <a:gd name="csY13" fmla="*/ 897506 h 979097"/>
                <a:gd name="csX14" fmla="*/ 802316 w 979097"/>
                <a:gd name="csY14" fmla="*/ 897506 h 979097"/>
                <a:gd name="csX15" fmla="*/ 897506 w 979097"/>
                <a:gd name="csY15" fmla="*/ 802316 h 979097"/>
                <a:gd name="csX16" fmla="*/ 897506 w 979097"/>
                <a:gd name="csY16" fmla="*/ 176781 h 979097"/>
                <a:gd name="csX17" fmla="*/ 802316 w 979097"/>
                <a:gd name="csY17" fmla="*/ 81591 h 979097"/>
                <a:gd name="csX18" fmla="*/ 258373 w 979097"/>
                <a:gd name="csY18" fmla="*/ 217577 h 979097"/>
                <a:gd name="csX19" fmla="*/ 298796 w 979097"/>
                <a:gd name="csY19" fmla="*/ 252837 h 979097"/>
                <a:gd name="csX20" fmla="*/ 299169 w 979097"/>
                <a:gd name="csY20" fmla="*/ 258373 h 979097"/>
                <a:gd name="csX21" fmla="*/ 299169 w 979097"/>
                <a:gd name="csY21" fmla="*/ 312767 h 979097"/>
                <a:gd name="csX22" fmla="*/ 258373 w 979097"/>
                <a:gd name="csY22" fmla="*/ 353563 h 979097"/>
                <a:gd name="csX23" fmla="*/ 217950 w 979097"/>
                <a:gd name="csY23" fmla="*/ 318303 h 979097"/>
                <a:gd name="csX24" fmla="*/ 217577 w 979097"/>
                <a:gd name="csY24" fmla="*/ 312767 h 979097"/>
                <a:gd name="csX25" fmla="*/ 217577 w 979097"/>
                <a:gd name="csY25" fmla="*/ 258373 h 979097"/>
                <a:gd name="csX26" fmla="*/ 258373 w 979097"/>
                <a:gd name="csY26" fmla="*/ 217577 h 979097"/>
                <a:gd name="csX27" fmla="*/ 298796 w 979097"/>
                <a:gd name="csY27" fmla="*/ 660793 h 979097"/>
                <a:gd name="csX28" fmla="*/ 258373 w 979097"/>
                <a:gd name="csY28" fmla="*/ 625534 h 979097"/>
                <a:gd name="csX29" fmla="*/ 217577 w 979097"/>
                <a:gd name="csY29" fmla="*/ 666330 h 979097"/>
                <a:gd name="csX30" fmla="*/ 217577 w 979097"/>
                <a:gd name="csY30" fmla="*/ 720724 h 979097"/>
                <a:gd name="csX31" fmla="*/ 217950 w 979097"/>
                <a:gd name="csY31" fmla="*/ 726262 h 979097"/>
                <a:gd name="csX32" fmla="*/ 258373 w 979097"/>
                <a:gd name="csY32" fmla="*/ 761520 h 979097"/>
                <a:gd name="csX33" fmla="*/ 299169 w 979097"/>
                <a:gd name="csY33" fmla="*/ 720724 h 979097"/>
                <a:gd name="csX34" fmla="*/ 299169 w 979097"/>
                <a:gd name="csY34" fmla="*/ 666330 h 979097"/>
                <a:gd name="csX35" fmla="*/ 298796 w 979097"/>
                <a:gd name="csY35" fmla="*/ 660793 h 979097"/>
                <a:gd name="csX36" fmla="*/ 299169 w 979097"/>
                <a:gd name="csY36" fmla="*/ 452626 h 979097"/>
                <a:gd name="csX37" fmla="*/ 258745 w 979097"/>
                <a:gd name="csY37" fmla="*/ 417362 h 979097"/>
                <a:gd name="csX38" fmla="*/ 217950 w 979097"/>
                <a:gd name="csY38" fmla="*/ 458158 h 979097"/>
                <a:gd name="csX39" fmla="*/ 217577 w 979097"/>
                <a:gd name="csY39" fmla="*/ 520619 h 979097"/>
                <a:gd name="csX40" fmla="*/ 217950 w 979097"/>
                <a:gd name="csY40" fmla="*/ 526151 h 979097"/>
                <a:gd name="csX41" fmla="*/ 258373 w 979097"/>
                <a:gd name="csY41" fmla="*/ 561414 h 979097"/>
                <a:gd name="csX42" fmla="*/ 299169 w 979097"/>
                <a:gd name="csY42" fmla="*/ 520619 h 979097"/>
                <a:gd name="csX43" fmla="*/ 299541 w 979097"/>
                <a:gd name="csY43" fmla="*/ 458158 h 979097"/>
                <a:gd name="csX44" fmla="*/ 299169 w 979097"/>
                <a:gd name="csY44" fmla="*/ 452626 h 97909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Lst>
              <a:rect l="l" t="t" r="r" b="b"/>
              <a:pathLst>
                <a:path w="979097" h="979097">
                  <a:moveTo>
                    <a:pt x="802316" y="0"/>
                  </a:moveTo>
                  <a:cubicBezTo>
                    <a:pt x="899948" y="0"/>
                    <a:pt x="979097" y="79148"/>
                    <a:pt x="979097" y="176781"/>
                  </a:cubicBezTo>
                  <a:lnTo>
                    <a:pt x="979097" y="802316"/>
                  </a:lnTo>
                  <a:cubicBezTo>
                    <a:pt x="979097" y="899948"/>
                    <a:pt x="899948" y="979097"/>
                    <a:pt x="802316" y="979097"/>
                  </a:cubicBezTo>
                  <a:lnTo>
                    <a:pt x="176781" y="979097"/>
                  </a:lnTo>
                  <a:cubicBezTo>
                    <a:pt x="79148" y="979097"/>
                    <a:pt x="0" y="899948"/>
                    <a:pt x="0" y="802316"/>
                  </a:cubicBezTo>
                  <a:lnTo>
                    <a:pt x="0" y="176781"/>
                  </a:lnTo>
                  <a:cubicBezTo>
                    <a:pt x="0" y="79148"/>
                    <a:pt x="79148" y="0"/>
                    <a:pt x="176781" y="0"/>
                  </a:cubicBezTo>
                  <a:lnTo>
                    <a:pt x="802316" y="0"/>
                  </a:lnTo>
                  <a:close/>
                  <a:moveTo>
                    <a:pt x="802316" y="81591"/>
                  </a:moveTo>
                  <a:lnTo>
                    <a:pt x="176781" y="81591"/>
                  </a:lnTo>
                  <a:cubicBezTo>
                    <a:pt x="124209" y="81591"/>
                    <a:pt x="81591" y="124209"/>
                    <a:pt x="81591" y="176781"/>
                  </a:cubicBezTo>
                  <a:lnTo>
                    <a:pt x="81591" y="802316"/>
                  </a:lnTo>
                  <a:cubicBezTo>
                    <a:pt x="81591" y="854888"/>
                    <a:pt x="124209" y="897506"/>
                    <a:pt x="176781" y="897506"/>
                  </a:cubicBezTo>
                  <a:lnTo>
                    <a:pt x="802316" y="897506"/>
                  </a:lnTo>
                  <a:cubicBezTo>
                    <a:pt x="854888" y="897506"/>
                    <a:pt x="897506" y="854888"/>
                    <a:pt x="897506" y="802316"/>
                  </a:cubicBezTo>
                  <a:lnTo>
                    <a:pt x="897506" y="176781"/>
                  </a:lnTo>
                  <a:cubicBezTo>
                    <a:pt x="897506" y="124209"/>
                    <a:pt x="854888" y="81591"/>
                    <a:pt x="802316" y="81591"/>
                  </a:cubicBezTo>
                  <a:close/>
                  <a:moveTo>
                    <a:pt x="258373" y="217577"/>
                  </a:moveTo>
                  <a:cubicBezTo>
                    <a:pt x="279026" y="217577"/>
                    <a:pt x="296095" y="232925"/>
                    <a:pt x="298796" y="252837"/>
                  </a:cubicBezTo>
                  <a:lnTo>
                    <a:pt x="299169" y="258373"/>
                  </a:lnTo>
                  <a:lnTo>
                    <a:pt x="299169" y="312767"/>
                  </a:lnTo>
                  <a:cubicBezTo>
                    <a:pt x="299169" y="335298"/>
                    <a:pt x="280904" y="353563"/>
                    <a:pt x="258373" y="353563"/>
                  </a:cubicBezTo>
                  <a:cubicBezTo>
                    <a:pt x="237719" y="353563"/>
                    <a:pt x="220651" y="338216"/>
                    <a:pt x="217950" y="318303"/>
                  </a:cubicBezTo>
                  <a:lnTo>
                    <a:pt x="217577" y="312767"/>
                  </a:lnTo>
                  <a:lnTo>
                    <a:pt x="217577" y="258373"/>
                  </a:lnTo>
                  <a:cubicBezTo>
                    <a:pt x="217577" y="235842"/>
                    <a:pt x="235842" y="217577"/>
                    <a:pt x="258373" y="217577"/>
                  </a:cubicBezTo>
                  <a:close/>
                  <a:moveTo>
                    <a:pt x="298796" y="660793"/>
                  </a:moveTo>
                  <a:cubicBezTo>
                    <a:pt x="296095" y="640884"/>
                    <a:pt x="279026" y="625534"/>
                    <a:pt x="258373" y="625534"/>
                  </a:cubicBezTo>
                  <a:cubicBezTo>
                    <a:pt x="235842" y="625534"/>
                    <a:pt x="217577" y="643800"/>
                    <a:pt x="217577" y="666330"/>
                  </a:cubicBezTo>
                  <a:lnTo>
                    <a:pt x="217577" y="720724"/>
                  </a:lnTo>
                  <a:lnTo>
                    <a:pt x="217950" y="726262"/>
                  </a:lnTo>
                  <a:cubicBezTo>
                    <a:pt x="220651" y="746170"/>
                    <a:pt x="237719" y="761520"/>
                    <a:pt x="258373" y="761520"/>
                  </a:cubicBezTo>
                  <a:cubicBezTo>
                    <a:pt x="280904" y="761520"/>
                    <a:pt x="299169" y="743255"/>
                    <a:pt x="299169" y="720724"/>
                  </a:cubicBezTo>
                  <a:lnTo>
                    <a:pt x="299169" y="666330"/>
                  </a:lnTo>
                  <a:lnTo>
                    <a:pt x="298796" y="660793"/>
                  </a:lnTo>
                  <a:close/>
                  <a:moveTo>
                    <a:pt x="299169" y="452626"/>
                  </a:moveTo>
                  <a:cubicBezTo>
                    <a:pt x="296467" y="432712"/>
                    <a:pt x="279398" y="417362"/>
                    <a:pt x="258745" y="417362"/>
                  </a:cubicBezTo>
                  <a:cubicBezTo>
                    <a:pt x="236214" y="417362"/>
                    <a:pt x="217950" y="435628"/>
                    <a:pt x="217950" y="458158"/>
                  </a:cubicBezTo>
                  <a:lnTo>
                    <a:pt x="217577" y="520619"/>
                  </a:lnTo>
                  <a:lnTo>
                    <a:pt x="217950" y="526151"/>
                  </a:lnTo>
                  <a:cubicBezTo>
                    <a:pt x="220651" y="546064"/>
                    <a:pt x="237719" y="561414"/>
                    <a:pt x="258373" y="561414"/>
                  </a:cubicBezTo>
                  <a:cubicBezTo>
                    <a:pt x="280904" y="561414"/>
                    <a:pt x="299169" y="543149"/>
                    <a:pt x="299169" y="520619"/>
                  </a:cubicBezTo>
                  <a:lnTo>
                    <a:pt x="299541" y="458158"/>
                  </a:lnTo>
                  <a:lnTo>
                    <a:pt x="299169" y="452626"/>
                  </a:lnTo>
                  <a:close/>
                </a:path>
              </a:pathLst>
            </a:custGeom>
            <a:solidFill>
              <a:schemeClr val="tx1"/>
            </a:solidFill>
            <a:ln w="54372" cap="flat">
              <a:noFill/>
              <a:prstDash val="solid"/>
              <a:miter/>
            </a:ln>
          </p:spPr>
          <p:txBody>
            <a:bodyPr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65B3B1F-E536-7367-FC6F-3B9EF506491C}"/>
              </a:ext>
              <a:ext uri="{C183D7F6-B498-43B3-948B-1728B52AA6E4}">
                <adec:decorative xmlns:adec="http://schemas.microsoft.com/office/drawing/2017/decorative" val="1"/>
              </a:ext>
            </a:extLst>
          </p:cNvPr>
          <p:cNvGrpSpPr/>
          <p:nvPr/>
        </p:nvGrpSpPr>
        <p:grpSpPr>
          <a:xfrm>
            <a:off x="7948573" y="4457611"/>
            <a:ext cx="654710" cy="654710"/>
            <a:chOff x="7948573" y="4316018"/>
            <a:chExt cx="654710" cy="654710"/>
          </a:xfrm>
        </p:grpSpPr>
        <p:sp>
          <p:nvSpPr>
            <p:cNvPr id="169" name="Box">
              <a:extLst>
                <a:ext uri="{FF2B5EF4-FFF2-40B4-BE49-F238E27FC236}">
                  <a16:creationId xmlns:a16="http://schemas.microsoft.com/office/drawing/2014/main" id="{CAB0A74C-4A0E-641F-5572-137001A53394}"/>
                </a:ext>
                <a:ext uri="{C183D7F6-B498-43B3-948B-1728B52AA6E4}">
                  <adec:decorative xmlns:adec="http://schemas.microsoft.com/office/drawing/2017/decorative" val="1"/>
                </a:ext>
              </a:extLst>
            </p:cNvPr>
            <p:cNvSpPr>
              <a:spLocks noChangeAspect="1"/>
            </p:cNvSpPr>
            <p:nvPr/>
          </p:nvSpPr>
          <p:spPr bwMode="auto">
            <a:xfrm>
              <a:off x="794857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4" name="Graphic 16">
              <a:extLst>
                <a:ext uri="{FF2B5EF4-FFF2-40B4-BE49-F238E27FC236}">
                  <a16:creationId xmlns:a16="http://schemas.microsoft.com/office/drawing/2014/main" id="{6BAEDC85-51EB-275C-9B29-8EC0D028C381}"/>
                </a:ext>
              </a:extLst>
            </p:cNvPr>
            <p:cNvSpPr/>
            <p:nvPr/>
          </p:nvSpPr>
          <p:spPr>
            <a:xfrm>
              <a:off x="8111874" y="4479321"/>
              <a:ext cx="328108" cy="328106"/>
            </a:xfrm>
            <a:custGeom>
              <a:avLst/>
              <a:gdLst>
                <a:gd name="csX0" fmla="*/ 179785 w 1118663"/>
                <a:gd name="csY0" fmla="*/ 79905 h 1118663"/>
                <a:gd name="csX1" fmla="*/ 79905 w 1118663"/>
                <a:gd name="csY1" fmla="*/ 179785 h 1118663"/>
                <a:gd name="csX2" fmla="*/ 179785 w 1118663"/>
                <a:gd name="csY2" fmla="*/ 279666 h 1118663"/>
                <a:gd name="csX3" fmla="*/ 279666 w 1118663"/>
                <a:gd name="csY3" fmla="*/ 179785 h 1118663"/>
                <a:gd name="csX4" fmla="*/ 179785 w 1118663"/>
                <a:gd name="csY4" fmla="*/ 79905 h 1118663"/>
                <a:gd name="csX5" fmla="*/ 0 w 1118663"/>
                <a:gd name="csY5" fmla="*/ 179785 h 1118663"/>
                <a:gd name="csX6" fmla="*/ 179785 w 1118663"/>
                <a:gd name="csY6" fmla="*/ 0 h 1118663"/>
                <a:gd name="csX7" fmla="*/ 359571 w 1118663"/>
                <a:gd name="csY7" fmla="*/ 179785 h 1118663"/>
                <a:gd name="csX8" fmla="*/ 332003 w 1118663"/>
                <a:gd name="csY8" fmla="*/ 275501 h 1118663"/>
                <a:gd name="csX9" fmla="*/ 463618 w 1118663"/>
                <a:gd name="csY9" fmla="*/ 407114 h 1118663"/>
                <a:gd name="csX10" fmla="*/ 559332 w 1118663"/>
                <a:gd name="csY10" fmla="*/ 379547 h 1118663"/>
                <a:gd name="csX11" fmla="*/ 655046 w 1118663"/>
                <a:gd name="csY11" fmla="*/ 407114 h 1118663"/>
                <a:gd name="csX12" fmla="*/ 786660 w 1118663"/>
                <a:gd name="csY12" fmla="*/ 275501 h 1118663"/>
                <a:gd name="csX13" fmla="*/ 759093 w 1118663"/>
                <a:gd name="csY13" fmla="*/ 179785 h 1118663"/>
                <a:gd name="csX14" fmla="*/ 938879 w 1118663"/>
                <a:gd name="csY14" fmla="*/ 0 h 1118663"/>
                <a:gd name="csX15" fmla="*/ 1118664 w 1118663"/>
                <a:gd name="csY15" fmla="*/ 179785 h 1118663"/>
                <a:gd name="csX16" fmla="*/ 938879 w 1118663"/>
                <a:gd name="csY16" fmla="*/ 359571 h 1118663"/>
                <a:gd name="csX17" fmla="*/ 843165 w 1118663"/>
                <a:gd name="csY17" fmla="*/ 332003 h 1118663"/>
                <a:gd name="csX18" fmla="*/ 711550 w 1118663"/>
                <a:gd name="csY18" fmla="*/ 463618 h 1118663"/>
                <a:gd name="csX19" fmla="*/ 739117 w 1118663"/>
                <a:gd name="csY19" fmla="*/ 559332 h 1118663"/>
                <a:gd name="csX20" fmla="*/ 711550 w 1118663"/>
                <a:gd name="csY20" fmla="*/ 655046 h 1118663"/>
                <a:gd name="csX21" fmla="*/ 843165 w 1118663"/>
                <a:gd name="csY21" fmla="*/ 786660 h 1118663"/>
                <a:gd name="csX22" fmla="*/ 938879 w 1118663"/>
                <a:gd name="csY22" fmla="*/ 759093 h 1118663"/>
                <a:gd name="csX23" fmla="*/ 1118664 w 1118663"/>
                <a:gd name="csY23" fmla="*/ 938879 h 1118663"/>
                <a:gd name="csX24" fmla="*/ 938879 w 1118663"/>
                <a:gd name="csY24" fmla="*/ 1118664 h 1118663"/>
                <a:gd name="csX25" fmla="*/ 759093 w 1118663"/>
                <a:gd name="csY25" fmla="*/ 938879 h 1118663"/>
                <a:gd name="csX26" fmla="*/ 786660 w 1118663"/>
                <a:gd name="csY26" fmla="*/ 843165 h 1118663"/>
                <a:gd name="csX27" fmla="*/ 655046 w 1118663"/>
                <a:gd name="csY27" fmla="*/ 711550 h 1118663"/>
                <a:gd name="csX28" fmla="*/ 559332 w 1118663"/>
                <a:gd name="csY28" fmla="*/ 739117 h 1118663"/>
                <a:gd name="csX29" fmla="*/ 463618 w 1118663"/>
                <a:gd name="csY29" fmla="*/ 711550 h 1118663"/>
                <a:gd name="csX30" fmla="*/ 332003 w 1118663"/>
                <a:gd name="csY30" fmla="*/ 843165 h 1118663"/>
                <a:gd name="csX31" fmla="*/ 359571 w 1118663"/>
                <a:gd name="csY31" fmla="*/ 938879 h 1118663"/>
                <a:gd name="csX32" fmla="*/ 179785 w 1118663"/>
                <a:gd name="csY32" fmla="*/ 1118664 h 1118663"/>
                <a:gd name="csX33" fmla="*/ 0 w 1118663"/>
                <a:gd name="csY33" fmla="*/ 938879 h 1118663"/>
                <a:gd name="csX34" fmla="*/ 179785 w 1118663"/>
                <a:gd name="csY34" fmla="*/ 759093 h 1118663"/>
                <a:gd name="csX35" fmla="*/ 275501 w 1118663"/>
                <a:gd name="csY35" fmla="*/ 786660 h 1118663"/>
                <a:gd name="csX36" fmla="*/ 407114 w 1118663"/>
                <a:gd name="csY36" fmla="*/ 655046 h 1118663"/>
                <a:gd name="csX37" fmla="*/ 379547 w 1118663"/>
                <a:gd name="csY37" fmla="*/ 559332 h 1118663"/>
                <a:gd name="csX38" fmla="*/ 407114 w 1118663"/>
                <a:gd name="csY38" fmla="*/ 463618 h 1118663"/>
                <a:gd name="csX39" fmla="*/ 275501 w 1118663"/>
                <a:gd name="csY39" fmla="*/ 332003 h 1118663"/>
                <a:gd name="csX40" fmla="*/ 179785 w 1118663"/>
                <a:gd name="csY40" fmla="*/ 359571 h 1118663"/>
                <a:gd name="csX41" fmla="*/ 0 w 1118663"/>
                <a:gd name="csY41" fmla="*/ 179785 h 1118663"/>
                <a:gd name="csX42" fmla="*/ 938879 w 1118663"/>
                <a:gd name="csY42" fmla="*/ 79905 h 1118663"/>
                <a:gd name="csX43" fmla="*/ 838998 w 1118663"/>
                <a:gd name="csY43" fmla="*/ 179785 h 1118663"/>
                <a:gd name="csX44" fmla="*/ 938879 w 1118663"/>
                <a:gd name="csY44" fmla="*/ 279666 h 1118663"/>
                <a:gd name="csX45" fmla="*/ 1038759 w 1118663"/>
                <a:gd name="csY45" fmla="*/ 179785 h 1118663"/>
                <a:gd name="csX46" fmla="*/ 938879 w 1118663"/>
                <a:gd name="csY46" fmla="*/ 79905 h 1118663"/>
                <a:gd name="csX47" fmla="*/ 79905 w 1118663"/>
                <a:gd name="csY47" fmla="*/ 938879 h 1118663"/>
                <a:gd name="csX48" fmla="*/ 179785 w 1118663"/>
                <a:gd name="csY48" fmla="*/ 1038759 h 1118663"/>
                <a:gd name="csX49" fmla="*/ 279666 w 1118663"/>
                <a:gd name="csY49" fmla="*/ 938879 h 1118663"/>
                <a:gd name="csX50" fmla="*/ 179785 w 1118663"/>
                <a:gd name="csY50" fmla="*/ 838998 h 1118663"/>
                <a:gd name="csX51" fmla="*/ 79905 w 1118663"/>
                <a:gd name="csY51" fmla="*/ 938879 h 1118663"/>
                <a:gd name="csX52" fmla="*/ 559332 w 1118663"/>
                <a:gd name="csY52" fmla="*/ 459451 h 1118663"/>
                <a:gd name="csX53" fmla="*/ 459451 w 1118663"/>
                <a:gd name="csY53" fmla="*/ 559332 h 1118663"/>
                <a:gd name="csX54" fmla="*/ 559332 w 1118663"/>
                <a:gd name="csY54" fmla="*/ 659213 h 1118663"/>
                <a:gd name="csX55" fmla="*/ 659213 w 1118663"/>
                <a:gd name="csY55" fmla="*/ 559332 h 1118663"/>
                <a:gd name="csX56" fmla="*/ 559332 w 1118663"/>
                <a:gd name="csY56" fmla="*/ 459451 h 1118663"/>
                <a:gd name="csX57" fmla="*/ 838998 w 1118663"/>
                <a:gd name="csY57" fmla="*/ 938879 h 1118663"/>
                <a:gd name="csX58" fmla="*/ 938879 w 1118663"/>
                <a:gd name="csY58" fmla="*/ 1038759 h 1118663"/>
                <a:gd name="csX59" fmla="*/ 1038759 w 1118663"/>
                <a:gd name="csY59" fmla="*/ 938879 h 1118663"/>
                <a:gd name="csX60" fmla="*/ 938879 w 1118663"/>
                <a:gd name="csY60" fmla="*/ 838998 h 1118663"/>
                <a:gd name="csX61" fmla="*/ 838998 w 1118663"/>
                <a:gd name="csY61" fmla="*/ 938879 h 111866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Lst>
              <a:rect l="l" t="t" r="r" b="b"/>
              <a:pathLst>
                <a:path w="1118663" h="1118663">
                  <a:moveTo>
                    <a:pt x="179785" y="79905"/>
                  </a:moveTo>
                  <a:cubicBezTo>
                    <a:pt x="124623" y="79905"/>
                    <a:pt x="79905" y="124623"/>
                    <a:pt x="79905" y="179785"/>
                  </a:cubicBezTo>
                  <a:cubicBezTo>
                    <a:pt x="79905" y="234948"/>
                    <a:pt x="124623" y="279666"/>
                    <a:pt x="179785" y="279666"/>
                  </a:cubicBezTo>
                  <a:cubicBezTo>
                    <a:pt x="234948" y="279666"/>
                    <a:pt x="279666" y="234948"/>
                    <a:pt x="279666" y="179785"/>
                  </a:cubicBezTo>
                  <a:cubicBezTo>
                    <a:pt x="279666" y="124623"/>
                    <a:pt x="234948" y="79905"/>
                    <a:pt x="179785" y="79905"/>
                  </a:cubicBezTo>
                  <a:close/>
                  <a:moveTo>
                    <a:pt x="0" y="179785"/>
                  </a:moveTo>
                  <a:cubicBezTo>
                    <a:pt x="0" y="80493"/>
                    <a:pt x="80493" y="0"/>
                    <a:pt x="179785" y="0"/>
                  </a:cubicBezTo>
                  <a:cubicBezTo>
                    <a:pt x="279078" y="0"/>
                    <a:pt x="359571" y="80493"/>
                    <a:pt x="359571" y="179785"/>
                  </a:cubicBezTo>
                  <a:cubicBezTo>
                    <a:pt x="359571" y="214965"/>
                    <a:pt x="349467" y="247784"/>
                    <a:pt x="332003" y="275501"/>
                  </a:cubicBezTo>
                  <a:lnTo>
                    <a:pt x="463618" y="407114"/>
                  </a:lnTo>
                  <a:cubicBezTo>
                    <a:pt x="491333" y="389651"/>
                    <a:pt x="524154" y="379547"/>
                    <a:pt x="559332" y="379547"/>
                  </a:cubicBezTo>
                  <a:cubicBezTo>
                    <a:pt x="594510" y="379547"/>
                    <a:pt x="627331" y="389651"/>
                    <a:pt x="655046" y="407114"/>
                  </a:cubicBezTo>
                  <a:lnTo>
                    <a:pt x="786660" y="275501"/>
                  </a:lnTo>
                  <a:cubicBezTo>
                    <a:pt x="769197" y="247784"/>
                    <a:pt x="759093" y="214965"/>
                    <a:pt x="759093" y="179785"/>
                  </a:cubicBezTo>
                  <a:cubicBezTo>
                    <a:pt x="759093" y="80493"/>
                    <a:pt x="839585" y="0"/>
                    <a:pt x="938879" y="0"/>
                  </a:cubicBezTo>
                  <a:cubicBezTo>
                    <a:pt x="1038172" y="0"/>
                    <a:pt x="1118664" y="80493"/>
                    <a:pt x="1118664" y="179785"/>
                  </a:cubicBezTo>
                  <a:cubicBezTo>
                    <a:pt x="1118664" y="279078"/>
                    <a:pt x="1038172" y="359571"/>
                    <a:pt x="938879" y="359571"/>
                  </a:cubicBezTo>
                  <a:cubicBezTo>
                    <a:pt x="903701" y="359571"/>
                    <a:pt x="870880" y="349467"/>
                    <a:pt x="843165" y="332003"/>
                  </a:cubicBezTo>
                  <a:lnTo>
                    <a:pt x="711550" y="463618"/>
                  </a:lnTo>
                  <a:cubicBezTo>
                    <a:pt x="729013" y="491333"/>
                    <a:pt x="739117" y="524154"/>
                    <a:pt x="739117" y="559332"/>
                  </a:cubicBezTo>
                  <a:cubicBezTo>
                    <a:pt x="739117" y="594510"/>
                    <a:pt x="729013" y="627331"/>
                    <a:pt x="711550" y="655046"/>
                  </a:cubicBezTo>
                  <a:lnTo>
                    <a:pt x="843165" y="786660"/>
                  </a:lnTo>
                  <a:cubicBezTo>
                    <a:pt x="870880" y="769197"/>
                    <a:pt x="903701" y="759093"/>
                    <a:pt x="938879" y="759093"/>
                  </a:cubicBezTo>
                  <a:cubicBezTo>
                    <a:pt x="1038172" y="759093"/>
                    <a:pt x="1118664" y="839585"/>
                    <a:pt x="1118664" y="938879"/>
                  </a:cubicBezTo>
                  <a:cubicBezTo>
                    <a:pt x="1118664" y="1038172"/>
                    <a:pt x="1038172" y="1118664"/>
                    <a:pt x="938879" y="1118664"/>
                  </a:cubicBezTo>
                  <a:cubicBezTo>
                    <a:pt x="839585" y="1118664"/>
                    <a:pt x="759093" y="1038172"/>
                    <a:pt x="759093" y="938879"/>
                  </a:cubicBezTo>
                  <a:cubicBezTo>
                    <a:pt x="759093" y="903701"/>
                    <a:pt x="769197" y="870880"/>
                    <a:pt x="786660" y="843165"/>
                  </a:cubicBezTo>
                  <a:lnTo>
                    <a:pt x="655046" y="711550"/>
                  </a:lnTo>
                  <a:cubicBezTo>
                    <a:pt x="627331" y="729013"/>
                    <a:pt x="594510" y="739117"/>
                    <a:pt x="559332" y="739117"/>
                  </a:cubicBezTo>
                  <a:cubicBezTo>
                    <a:pt x="524154" y="739117"/>
                    <a:pt x="491333" y="729013"/>
                    <a:pt x="463618" y="711550"/>
                  </a:cubicBezTo>
                  <a:lnTo>
                    <a:pt x="332003" y="843165"/>
                  </a:lnTo>
                  <a:cubicBezTo>
                    <a:pt x="349467" y="870880"/>
                    <a:pt x="359571" y="903701"/>
                    <a:pt x="359571" y="938879"/>
                  </a:cubicBezTo>
                  <a:cubicBezTo>
                    <a:pt x="359571" y="1038172"/>
                    <a:pt x="279078" y="1118664"/>
                    <a:pt x="179785" y="1118664"/>
                  </a:cubicBezTo>
                  <a:cubicBezTo>
                    <a:pt x="80493" y="1118664"/>
                    <a:pt x="0" y="1038172"/>
                    <a:pt x="0" y="938879"/>
                  </a:cubicBezTo>
                  <a:cubicBezTo>
                    <a:pt x="0" y="839585"/>
                    <a:pt x="80493" y="759093"/>
                    <a:pt x="179785" y="759093"/>
                  </a:cubicBezTo>
                  <a:cubicBezTo>
                    <a:pt x="214965" y="759093"/>
                    <a:pt x="247784" y="769197"/>
                    <a:pt x="275501" y="786660"/>
                  </a:cubicBezTo>
                  <a:lnTo>
                    <a:pt x="407114" y="655046"/>
                  </a:lnTo>
                  <a:cubicBezTo>
                    <a:pt x="389651" y="627331"/>
                    <a:pt x="379547" y="594510"/>
                    <a:pt x="379547" y="559332"/>
                  </a:cubicBezTo>
                  <a:cubicBezTo>
                    <a:pt x="379547" y="524154"/>
                    <a:pt x="389651" y="491333"/>
                    <a:pt x="407114" y="463618"/>
                  </a:cubicBezTo>
                  <a:lnTo>
                    <a:pt x="275501" y="332003"/>
                  </a:lnTo>
                  <a:cubicBezTo>
                    <a:pt x="247784" y="349467"/>
                    <a:pt x="214965" y="359571"/>
                    <a:pt x="179785" y="359571"/>
                  </a:cubicBezTo>
                  <a:cubicBezTo>
                    <a:pt x="80493" y="359571"/>
                    <a:pt x="0" y="279078"/>
                    <a:pt x="0" y="179785"/>
                  </a:cubicBezTo>
                  <a:close/>
                  <a:moveTo>
                    <a:pt x="938879" y="79905"/>
                  </a:moveTo>
                  <a:cubicBezTo>
                    <a:pt x="883717" y="79905"/>
                    <a:pt x="838998" y="124623"/>
                    <a:pt x="838998" y="179785"/>
                  </a:cubicBezTo>
                  <a:cubicBezTo>
                    <a:pt x="838998" y="234948"/>
                    <a:pt x="883717" y="279666"/>
                    <a:pt x="938879" y="279666"/>
                  </a:cubicBezTo>
                  <a:cubicBezTo>
                    <a:pt x="994041" y="279666"/>
                    <a:pt x="1038759" y="234948"/>
                    <a:pt x="1038759" y="179785"/>
                  </a:cubicBezTo>
                  <a:cubicBezTo>
                    <a:pt x="1038759" y="124623"/>
                    <a:pt x="994041" y="79905"/>
                    <a:pt x="938879" y="79905"/>
                  </a:cubicBezTo>
                  <a:close/>
                  <a:moveTo>
                    <a:pt x="79905" y="938879"/>
                  </a:moveTo>
                  <a:cubicBezTo>
                    <a:pt x="79905" y="994041"/>
                    <a:pt x="124623" y="1038759"/>
                    <a:pt x="179785" y="1038759"/>
                  </a:cubicBezTo>
                  <a:cubicBezTo>
                    <a:pt x="234948" y="1038759"/>
                    <a:pt x="279666" y="994041"/>
                    <a:pt x="279666" y="938879"/>
                  </a:cubicBezTo>
                  <a:cubicBezTo>
                    <a:pt x="279666" y="883717"/>
                    <a:pt x="234948" y="838998"/>
                    <a:pt x="179785" y="838998"/>
                  </a:cubicBezTo>
                  <a:cubicBezTo>
                    <a:pt x="124623" y="838998"/>
                    <a:pt x="79905" y="883717"/>
                    <a:pt x="79905" y="938879"/>
                  </a:cubicBezTo>
                  <a:close/>
                  <a:moveTo>
                    <a:pt x="559332" y="459451"/>
                  </a:moveTo>
                  <a:cubicBezTo>
                    <a:pt x="504170" y="459451"/>
                    <a:pt x="459451" y="504170"/>
                    <a:pt x="459451" y="559332"/>
                  </a:cubicBezTo>
                  <a:cubicBezTo>
                    <a:pt x="459451" y="614494"/>
                    <a:pt x="504170" y="659213"/>
                    <a:pt x="559332" y="659213"/>
                  </a:cubicBezTo>
                  <a:cubicBezTo>
                    <a:pt x="614494" y="659213"/>
                    <a:pt x="659213" y="614494"/>
                    <a:pt x="659213" y="559332"/>
                  </a:cubicBezTo>
                  <a:cubicBezTo>
                    <a:pt x="659213" y="504170"/>
                    <a:pt x="614494" y="459451"/>
                    <a:pt x="559332" y="459451"/>
                  </a:cubicBezTo>
                  <a:close/>
                  <a:moveTo>
                    <a:pt x="838998" y="938879"/>
                  </a:moveTo>
                  <a:cubicBezTo>
                    <a:pt x="838998" y="994041"/>
                    <a:pt x="883717" y="1038759"/>
                    <a:pt x="938879" y="1038759"/>
                  </a:cubicBezTo>
                  <a:cubicBezTo>
                    <a:pt x="994041" y="1038759"/>
                    <a:pt x="1038759" y="994041"/>
                    <a:pt x="1038759" y="938879"/>
                  </a:cubicBezTo>
                  <a:cubicBezTo>
                    <a:pt x="1038759" y="883717"/>
                    <a:pt x="994041" y="838998"/>
                    <a:pt x="938879" y="838998"/>
                  </a:cubicBezTo>
                  <a:cubicBezTo>
                    <a:pt x="883717" y="838998"/>
                    <a:pt x="838998" y="883717"/>
                    <a:pt x="838998" y="938879"/>
                  </a:cubicBezTo>
                  <a:close/>
                </a:path>
              </a:pathLst>
            </a:custGeom>
            <a:solidFill>
              <a:schemeClr val="tx1"/>
            </a:solidFill>
            <a:ln w="39886"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76916ADA-5189-2010-FCA7-9C8D5F9D66D2}"/>
              </a:ext>
              <a:ext uri="{C183D7F6-B498-43B3-948B-1728B52AA6E4}">
                <adec:decorative xmlns:adec="http://schemas.microsoft.com/office/drawing/2017/decorative" val="1"/>
              </a:ext>
            </a:extLst>
          </p:cNvPr>
          <p:cNvGrpSpPr/>
          <p:nvPr/>
        </p:nvGrpSpPr>
        <p:grpSpPr>
          <a:xfrm>
            <a:off x="5768643" y="4457611"/>
            <a:ext cx="654710" cy="654710"/>
            <a:chOff x="5768643" y="4316018"/>
            <a:chExt cx="654710" cy="654710"/>
          </a:xfrm>
        </p:grpSpPr>
        <p:sp>
          <p:nvSpPr>
            <p:cNvPr id="168" name="Box">
              <a:extLst>
                <a:ext uri="{FF2B5EF4-FFF2-40B4-BE49-F238E27FC236}">
                  <a16:creationId xmlns:a16="http://schemas.microsoft.com/office/drawing/2014/main" id="{4642386E-EFAA-FFC2-1166-BC7287B04A26}"/>
                </a:ext>
                <a:ext uri="{C183D7F6-B498-43B3-948B-1728B52AA6E4}">
                  <adec:decorative xmlns:adec="http://schemas.microsoft.com/office/drawing/2017/decorative" val="1"/>
                </a:ext>
              </a:extLst>
            </p:cNvPr>
            <p:cNvSpPr>
              <a:spLocks noChangeAspect="1"/>
            </p:cNvSpPr>
            <p:nvPr/>
          </p:nvSpPr>
          <p:spPr bwMode="auto">
            <a:xfrm>
              <a:off x="576864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5" name="Graphic 23">
              <a:extLst>
                <a:ext uri="{FF2B5EF4-FFF2-40B4-BE49-F238E27FC236}">
                  <a16:creationId xmlns:a16="http://schemas.microsoft.com/office/drawing/2014/main" id="{E18F5E3A-F44B-E859-2578-6D323758E308}"/>
                </a:ext>
              </a:extLst>
            </p:cNvPr>
            <p:cNvSpPr/>
            <p:nvPr/>
          </p:nvSpPr>
          <p:spPr>
            <a:xfrm>
              <a:off x="5918190" y="4456447"/>
              <a:ext cx="355616" cy="373852"/>
            </a:xfrm>
            <a:custGeom>
              <a:avLst/>
              <a:gdLst>
                <a:gd name="csX0" fmla="*/ 656957 w 1075017"/>
                <a:gd name="csY0" fmla="*/ 333865 h 1130146"/>
                <a:gd name="csX1" fmla="*/ 644752 w 1075017"/>
                <a:gd name="csY1" fmla="*/ 319983 h 1130146"/>
                <a:gd name="csX2" fmla="*/ 586808 w 1075017"/>
                <a:gd name="csY2" fmla="*/ 284119 h 1130146"/>
                <a:gd name="csX3" fmla="*/ 515071 w 1075017"/>
                <a:gd name="csY3" fmla="*/ 260821 h 1130146"/>
                <a:gd name="csX4" fmla="*/ 501366 w 1075017"/>
                <a:gd name="csY4" fmla="*/ 250474 h 1130146"/>
                <a:gd name="csX5" fmla="*/ 496162 w 1075017"/>
                <a:gd name="csY5" fmla="*/ 234120 h 1130146"/>
                <a:gd name="csX6" fmla="*/ 501366 w 1075017"/>
                <a:gd name="csY6" fmla="*/ 217764 h 1130146"/>
                <a:gd name="csX7" fmla="*/ 515071 w 1075017"/>
                <a:gd name="csY7" fmla="*/ 207418 h 1130146"/>
                <a:gd name="csX8" fmla="*/ 586808 w 1075017"/>
                <a:gd name="csY8" fmla="*/ 184121 h 1130146"/>
                <a:gd name="csX9" fmla="*/ 643875 w 1075017"/>
                <a:gd name="csY9" fmla="*/ 148148 h 1130146"/>
                <a:gd name="csX10" fmla="*/ 678394 w 1075017"/>
                <a:gd name="csY10" fmla="*/ 92351 h 1130146"/>
                <a:gd name="csX11" fmla="*/ 678990 w 1075017"/>
                <a:gd name="csY11" fmla="*/ 90577 h 1130146"/>
                <a:gd name="csX12" fmla="*/ 702304 w 1075017"/>
                <a:gd name="csY12" fmla="*/ 18895 h 1130146"/>
                <a:gd name="csX13" fmla="*/ 712660 w 1075017"/>
                <a:gd name="csY13" fmla="*/ 5201 h 1130146"/>
                <a:gd name="csX14" fmla="*/ 729028 w 1075017"/>
                <a:gd name="csY14" fmla="*/ 0 h 1130146"/>
                <a:gd name="csX15" fmla="*/ 745393 w 1075017"/>
                <a:gd name="csY15" fmla="*/ 5201 h 1130146"/>
                <a:gd name="csX16" fmla="*/ 755749 w 1075017"/>
                <a:gd name="csY16" fmla="*/ 18895 h 1130146"/>
                <a:gd name="csX17" fmla="*/ 779063 w 1075017"/>
                <a:gd name="csY17" fmla="*/ 90577 h 1130146"/>
                <a:gd name="csX18" fmla="*/ 814800 w 1075017"/>
                <a:gd name="csY18" fmla="*/ 148411 h 1130146"/>
                <a:gd name="csX19" fmla="*/ 872680 w 1075017"/>
                <a:gd name="csY19" fmla="*/ 184121 h 1130146"/>
                <a:gd name="csX20" fmla="*/ 944417 w 1075017"/>
                <a:gd name="csY20" fmla="*/ 207418 h 1130146"/>
                <a:gd name="csX21" fmla="*/ 945850 w 1075017"/>
                <a:gd name="csY21" fmla="*/ 207776 h 1130146"/>
                <a:gd name="csX22" fmla="*/ 959556 w 1075017"/>
                <a:gd name="csY22" fmla="*/ 218123 h 1130146"/>
                <a:gd name="csX23" fmla="*/ 964760 w 1075017"/>
                <a:gd name="csY23" fmla="*/ 234478 h 1130146"/>
                <a:gd name="csX24" fmla="*/ 959556 w 1075017"/>
                <a:gd name="csY24" fmla="*/ 250832 h 1130146"/>
                <a:gd name="csX25" fmla="*/ 945850 w 1075017"/>
                <a:gd name="csY25" fmla="*/ 261180 h 1130146"/>
                <a:gd name="csX26" fmla="*/ 874114 w 1075017"/>
                <a:gd name="csY26" fmla="*/ 284477 h 1130146"/>
                <a:gd name="csX27" fmla="*/ 816236 w 1075017"/>
                <a:gd name="csY27" fmla="*/ 320187 h 1130146"/>
                <a:gd name="csX28" fmla="*/ 780496 w 1075017"/>
                <a:gd name="csY28" fmla="*/ 378020 h 1130146"/>
                <a:gd name="csX29" fmla="*/ 757182 w 1075017"/>
                <a:gd name="csY29" fmla="*/ 449702 h 1130146"/>
                <a:gd name="csX30" fmla="*/ 756493 w 1075017"/>
                <a:gd name="csY30" fmla="*/ 451463 h 1130146"/>
                <a:gd name="csX31" fmla="*/ 746829 w 1075017"/>
                <a:gd name="csY31" fmla="*/ 463396 h 1130146"/>
                <a:gd name="csX32" fmla="*/ 730461 w 1075017"/>
                <a:gd name="csY32" fmla="*/ 468598 h 1130146"/>
                <a:gd name="csX33" fmla="*/ 714093 w 1075017"/>
                <a:gd name="csY33" fmla="*/ 463396 h 1130146"/>
                <a:gd name="csX34" fmla="*/ 703740 w 1075017"/>
                <a:gd name="csY34" fmla="*/ 449702 h 1130146"/>
                <a:gd name="csX35" fmla="*/ 680426 w 1075017"/>
                <a:gd name="csY35" fmla="*/ 378020 h 1130146"/>
                <a:gd name="csX36" fmla="*/ 656957 w 1075017"/>
                <a:gd name="csY36" fmla="*/ 333865 h 1130146"/>
                <a:gd name="csX37" fmla="*/ 1064248 w 1075017"/>
                <a:gd name="csY37" fmla="*/ 523277 h 1130146"/>
                <a:gd name="csX38" fmla="*/ 1026270 w 1075017"/>
                <a:gd name="csY38" fmla="*/ 510945 h 1130146"/>
                <a:gd name="csX39" fmla="*/ 995629 w 1075017"/>
                <a:gd name="csY39" fmla="*/ 492039 h 1130146"/>
                <a:gd name="csX40" fmla="*/ 976709 w 1075017"/>
                <a:gd name="csY40" fmla="*/ 461420 h 1130146"/>
                <a:gd name="csX41" fmla="*/ 964366 w 1075017"/>
                <a:gd name="csY41" fmla="*/ 423472 h 1130146"/>
                <a:gd name="csX42" fmla="*/ 958883 w 1075017"/>
                <a:gd name="csY42" fmla="*/ 416222 h 1130146"/>
                <a:gd name="csX43" fmla="*/ 950217 w 1075017"/>
                <a:gd name="csY43" fmla="*/ 413468 h 1130146"/>
                <a:gd name="csX44" fmla="*/ 941553 w 1075017"/>
                <a:gd name="csY44" fmla="*/ 416222 h 1130146"/>
                <a:gd name="csX45" fmla="*/ 936071 w 1075017"/>
                <a:gd name="csY45" fmla="*/ 423472 h 1130146"/>
                <a:gd name="csX46" fmla="*/ 923727 w 1075017"/>
                <a:gd name="csY46" fmla="*/ 461420 h 1130146"/>
                <a:gd name="csX47" fmla="*/ 905138 w 1075017"/>
                <a:gd name="csY47" fmla="*/ 491901 h 1130146"/>
                <a:gd name="csX48" fmla="*/ 874927 w 1075017"/>
                <a:gd name="csY48" fmla="*/ 510945 h 1130146"/>
                <a:gd name="csX49" fmla="*/ 836948 w 1075017"/>
                <a:gd name="csY49" fmla="*/ 523277 h 1130146"/>
                <a:gd name="csX50" fmla="*/ 829693 w 1075017"/>
                <a:gd name="csY50" fmla="*/ 528754 h 1130146"/>
                <a:gd name="csX51" fmla="*/ 826937 w 1075017"/>
                <a:gd name="csY51" fmla="*/ 537415 h 1130146"/>
                <a:gd name="csX52" fmla="*/ 829693 w 1075017"/>
                <a:gd name="csY52" fmla="*/ 546073 h 1130146"/>
                <a:gd name="csX53" fmla="*/ 836948 w 1075017"/>
                <a:gd name="csY53" fmla="*/ 551550 h 1130146"/>
                <a:gd name="csX54" fmla="*/ 874927 w 1075017"/>
                <a:gd name="csY54" fmla="*/ 563883 h 1130146"/>
                <a:gd name="csX55" fmla="*/ 886992 w 1075017"/>
                <a:gd name="csY55" fmla="*/ 569065 h 1130146"/>
                <a:gd name="csX56" fmla="*/ 887072 w 1075017"/>
                <a:gd name="csY56" fmla="*/ 569484 h 1130146"/>
                <a:gd name="csX57" fmla="*/ 905551 w 1075017"/>
                <a:gd name="csY57" fmla="*/ 583181 h 1130146"/>
                <a:gd name="csX58" fmla="*/ 924482 w 1075017"/>
                <a:gd name="csY58" fmla="*/ 613863 h 1130146"/>
                <a:gd name="csX59" fmla="*/ 936831 w 1075017"/>
                <a:gd name="csY59" fmla="*/ 651819 h 1130146"/>
                <a:gd name="csX60" fmla="*/ 942311 w 1075017"/>
                <a:gd name="csY60" fmla="*/ 659072 h 1130146"/>
                <a:gd name="csX61" fmla="*/ 950972 w 1075017"/>
                <a:gd name="csY61" fmla="*/ 661825 h 1130146"/>
                <a:gd name="csX62" fmla="*/ 959635 w 1075017"/>
                <a:gd name="csY62" fmla="*/ 659072 h 1130146"/>
                <a:gd name="csX63" fmla="*/ 964694 w 1075017"/>
                <a:gd name="csY63" fmla="*/ 652880 h 1130146"/>
                <a:gd name="csX64" fmla="*/ 964688 w 1075017"/>
                <a:gd name="csY64" fmla="*/ 652641 h 1130146"/>
                <a:gd name="csX65" fmla="*/ 965124 w 1075017"/>
                <a:gd name="csY65" fmla="*/ 651546 h 1130146"/>
                <a:gd name="csX66" fmla="*/ 977467 w 1075017"/>
                <a:gd name="csY66" fmla="*/ 613598 h 1130146"/>
                <a:gd name="csX67" fmla="*/ 996387 w 1075017"/>
                <a:gd name="csY67" fmla="*/ 582979 h 1130146"/>
                <a:gd name="csX68" fmla="*/ 1027028 w 1075017"/>
                <a:gd name="csY68" fmla="*/ 564073 h 1130146"/>
                <a:gd name="csX69" fmla="*/ 1065007 w 1075017"/>
                <a:gd name="csY69" fmla="*/ 551741 h 1130146"/>
                <a:gd name="csX70" fmla="*/ 1072262 w 1075017"/>
                <a:gd name="csY70" fmla="*/ 546264 h 1130146"/>
                <a:gd name="csX71" fmla="*/ 1075018 w 1075017"/>
                <a:gd name="csY71" fmla="*/ 537603 h 1130146"/>
                <a:gd name="csX72" fmla="*/ 1072262 w 1075017"/>
                <a:gd name="csY72" fmla="*/ 528945 h 1130146"/>
                <a:gd name="csX73" fmla="*/ 1065007 w 1075017"/>
                <a:gd name="csY73" fmla="*/ 523468 h 1130146"/>
                <a:gd name="csX74" fmla="*/ 1064248 w 1075017"/>
                <a:gd name="csY74" fmla="*/ 523277 h 1130146"/>
                <a:gd name="csX75" fmla="*/ 385904 w 1075017"/>
                <a:gd name="csY75" fmla="*/ 137823 h 1130146"/>
                <a:gd name="csX76" fmla="*/ 500316 w 1075017"/>
                <a:gd name="csY76" fmla="*/ 155066 h 1130146"/>
                <a:gd name="csX77" fmla="*/ 498188 w 1075017"/>
                <a:gd name="csY77" fmla="*/ 155752 h 1130146"/>
                <a:gd name="csX78" fmla="*/ 456566 w 1075017"/>
                <a:gd name="csY78" fmla="*/ 186625 h 1130146"/>
                <a:gd name="csX79" fmla="*/ 444233 w 1075017"/>
                <a:gd name="csY79" fmla="*/ 212089 h 1130146"/>
                <a:gd name="csX80" fmla="*/ 385904 w 1075017"/>
                <a:gd name="csY80" fmla="*/ 206734 h 1130146"/>
                <a:gd name="csX81" fmla="*/ 68911 w 1075017"/>
                <a:gd name="csY81" fmla="*/ 523727 h 1130146"/>
                <a:gd name="csX82" fmla="*/ 385904 w 1075017"/>
                <a:gd name="csY82" fmla="*/ 840719 h 1130146"/>
                <a:gd name="csX83" fmla="*/ 702896 w 1075017"/>
                <a:gd name="csY83" fmla="*/ 523727 h 1130146"/>
                <a:gd name="csX84" fmla="*/ 702847 w 1075017"/>
                <a:gd name="csY84" fmla="*/ 518054 h 1130146"/>
                <a:gd name="csX85" fmla="*/ 730971 w 1075017"/>
                <a:gd name="csY85" fmla="*/ 522985 h 1130146"/>
                <a:gd name="csX86" fmla="*/ 771642 w 1075017"/>
                <a:gd name="csY86" fmla="*/ 512293 h 1130146"/>
                <a:gd name="csX87" fmla="*/ 771808 w 1075017"/>
                <a:gd name="csY87" fmla="*/ 523727 h 1130146"/>
                <a:gd name="csX88" fmla="*/ 682060 w 1075017"/>
                <a:gd name="csY88" fmla="*/ 771154 h 1130146"/>
                <a:gd name="csX89" fmla="*/ 982233 w 1075017"/>
                <a:gd name="csY89" fmla="*/ 1071327 h 1130146"/>
                <a:gd name="csX90" fmla="*/ 982233 w 1075017"/>
                <a:gd name="csY90" fmla="*/ 1120056 h 1130146"/>
                <a:gd name="csX91" fmla="*/ 933507 w 1075017"/>
                <a:gd name="csY91" fmla="*/ 1120056 h 1130146"/>
                <a:gd name="csX92" fmla="*/ 633332 w 1075017"/>
                <a:gd name="csY92" fmla="*/ 819883 h 1130146"/>
                <a:gd name="csX93" fmla="*/ 385904 w 1075017"/>
                <a:gd name="csY93" fmla="*/ 909631 h 1130146"/>
                <a:gd name="csX94" fmla="*/ 0 w 1075017"/>
                <a:gd name="csY94" fmla="*/ 523727 h 1130146"/>
                <a:gd name="csX95" fmla="*/ 385904 w 1075017"/>
                <a:gd name="csY95" fmla="*/ 137823 h 113014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Lst>
              <a:rect l="l" t="t" r="r" b="b"/>
              <a:pathLst>
                <a:path w="1075017" h="1130146">
                  <a:moveTo>
                    <a:pt x="656957" y="333865"/>
                  </a:moveTo>
                  <a:cubicBezTo>
                    <a:pt x="653192" y="329000"/>
                    <a:pt x="649118" y="324363"/>
                    <a:pt x="644752" y="319983"/>
                  </a:cubicBezTo>
                  <a:cubicBezTo>
                    <a:pt x="628500" y="303679"/>
                    <a:pt x="608656" y="291399"/>
                    <a:pt x="586808" y="284119"/>
                  </a:cubicBezTo>
                  <a:lnTo>
                    <a:pt x="515071" y="260821"/>
                  </a:lnTo>
                  <a:cubicBezTo>
                    <a:pt x="509542" y="258873"/>
                    <a:pt x="504754" y="255256"/>
                    <a:pt x="501366" y="250474"/>
                  </a:cubicBezTo>
                  <a:cubicBezTo>
                    <a:pt x="497981" y="245693"/>
                    <a:pt x="496162" y="239978"/>
                    <a:pt x="496162" y="234120"/>
                  </a:cubicBezTo>
                  <a:cubicBezTo>
                    <a:pt x="496162" y="228261"/>
                    <a:pt x="497981" y="222547"/>
                    <a:pt x="501366" y="217764"/>
                  </a:cubicBezTo>
                  <a:cubicBezTo>
                    <a:pt x="504754" y="212982"/>
                    <a:pt x="509542" y="209367"/>
                    <a:pt x="515071" y="207418"/>
                  </a:cubicBezTo>
                  <a:lnTo>
                    <a:pt x="586808" y="184121"/>
                  </a:lnTo>
                  <a:cubicBezTo>
                    <a:pt x="608353" y="176688"/>
                    <a:pt x="627882" y="164376"/>
                    <a:pt x="643875" y="148148"/>
                  </a:cubicBezTo>
                  <a:cubicBezTo>
                    <a:pt x="659427" y="132365"/>
                    <a:pt x="671222" y="113294"/>
                    <a:pt x="678394" y="92351"/>
                  </a:cubicBezTo>
                  <a:lnTo>
                    <a:pt x="678990" y="90577"/>
                  </a:lnTo>
                  <a:lnTo>
                    <a:pt x="702304" y="18895"/>
                  </a:lnTo>
                  <a:cubicBezTo>
                    <a:pt x="704255" y="13370"/>
                    <a:pt x="707872" y="8586"/>
                    <a:pt x="712660" y="5201"/>
                  </a:cubicBezTo>
                  <a:cubicBezTo>
                    <a:pt x="717445" y="1817"/>
                    <a:pt x="723162" y="0"/>
                    <a:pt x="729028" y="0"/>
                  </a:cubicBezTo>
                  <a:cubicBezTo>
                    <a:pt x="734891" y="0"/>
                    <a:pt x="740607" y="1817"/>
                    <a:pt x="745393" y="5201"/>
                  </a:cubicBezTo>
                  <a:cubicBezTo>
                    <a:pt x="750181" y="8586"/>
                    <a:pt x="753797" y="13370"/>
                    <a:pt x="755749" y="18895"/>
                  </a:cubicBezTo>
                  <a:lnTo>
                    <a:pt x="779063" y="90577"/>
                  </a:lnTo>
                  <a:cubicBezTo>
                    <a:pt x="786312" y="112369"/>
                    <a:pt x="798548" y="132172"/>
                    <a:pt x="814800" y="148411"/>
                  </a:cubicBezTo>
                  <a:cubicBezTo>
                    <a:pt x="831052" y="164650"/>
                    <a:pt x="850868" y="176877"/>
                    <a:pt x="872680" y="184121"/>
                  </a:cubicBezTo>
                  <a:lnTo>
                    <a:pt x="944417" y="207418"/>
                  </a:lnTo>
                  <a:lnTo>
                    <a:pt x="945850" y="207776"/>
                  </a:lnTo>
                  <a:cubicBezTo>
                    <a:pt x="951380" y="209726"/>
                    <a:pt x="956168" y="213340"/>
                    <a:pt x="959556" y="218123"/>
                  </a:cubicBezTo>
                  <a:cubicBezTo>
                    <a:pt x="962940" y="222905"/>
                    <a:pt x="964760" y="228619"/>
                    <a:pt x="964760" y="234478"/>
                  </a:cubicBezTo>
                  <a:cubicBezTo>
                    <a:pt x="964760" y="240337"/>
                    <a:pt x="962940" y="246051"/>
                    <a:pt x="959556" y="250832"/>
                  </a:cubicBezTo>
                  <a:cubicBezTo>
                    <a:pt x="956168" y="255614"/>
                    <a:pt x="951380" y="259231"/>
                    <a:pt x="945850" y="261180"/>
                  </a:cubicBezTo>
                  <a:lnTo>
                    <a:pt x="874114" y="284477"/>
                  </a:lnTo>
                  <a:cubicBezTo>
                    <a:pt x="852305" y="291721"/>
                    <a:pt x="832486" y="303949"/>
                    <a:pt x="816236" y="320187"/>
                  </a:cubicBezTo>
                  <a:cubicBezTo>
                    <a:pt x="799984" y="336425"/>
                    <a:pt x="787748" y="356228"/>
                    <a:pt x="780496" y="378020"/>
                  </a:cubicBezTo>
                  <a:lnTo>
                    <a:pt x="757182" y="449702"/>
                  </a:lnTo>
                  <a:cubicBezTo>
                    <a:pt x="756973" y="450300"/>
                    <a:pt x="756744" y="450887"/>
                    <a:pt x="756493" y="451463"/>
                  </a:cubicBezTo>
                  <a:cubicBezTo>
                    <a:pt x="754439" y="456243"/>
                    <a:pt x="751099" y="460378"/>
                    <a:pt x="746829" y="463396"/>
                  </a:cubicBezTo>
                  <a:cubicBezTo>
                    <a:pt x="742044" y="466781"/>
                    <a:pt x="736324" y="468598"/>
                    <a:pt x="730461" y="468598"/>
                  </a:cubicBezTo>
                  <a:cubicBezTo>
                    <a:pt x="724598" y="468598"/>
                    <a:pt x="718878" y="466781"/>
                    <a:pt x="714093" y="463396"/>
                  </a:cubicBezTo>
                  <a:cubicBezTo>
                    <a:pt x="709308" y="460011"/>
                    <a:pt x="705689" y="455229"/>
                    <a:pt x="703740" y="449702"/>
                  </a:cubicBezTo>
                  <a:lnTo>
                    <a:pt x="680426" y="378020"/>
                  </a:lnTo>
                  <a:cubicBezTo>
                    <a:pt x="675158" y="362033"/>
                    <a:pt x="667209" y="347107"/>
                    <a:pt x="656957" y="333865"/>
                  </a:cubicBezTo>
                  <a:close/>
                  <a:moveTo>
                    <a:pt x="1064248" y="523277"/>
                  </a:moveTo>
                  <a:lnTo>
                    <a:pt x="1026270" y="510945"/>
                  </a:lnTo>
                  <a:cubicBezTo>
                    <a:pt x="1014723" y="507108"/>
                    <a:pt x="1004232" y="500636"/>
                    <a:pt x="995629" y="492039"/>
                  </a:cubicBezTo>
                  <a:cubicBezTo>
                    <a:pt x="987024" y="483441"/>
                    <a:pt x="980546" y="472958"/>
                    <a:pt x="976709" y="461420"/>
                  </a:cubicBezTo>
                  <a:lnTo>
                    <a:pt x="964366" y="423472"/>
                  </a:lnTo>
                  <a:cubicBezTo>
                    <a:pt x="963332" y="420547"/>
                    <a:pt x="961416" y="418014"/>
                    <a:pt x="958883" y="416222"/>
                  </a:cubicBezTo>
                  <a:cubicBezTo>
                    <a:pt x="956350" y="414430"/>
                    <a:pt x="953323" y="413468"/>
                    <a:pt x="950217" y="413468"/>
                  </a:cubicBezTo>
                  <a:cubicBezTo>
                    <a:pt x="947113" y="413468"/>
                    <a:pt x="944086" y="414430"/>
                    <a:pt x="941553" y="416222"/>
                  </a:cubicBezTo>
                  <a:cubicBezTo>
                    <a:pt x="939020" y="418014"/>
                    <a:pt x="937104" y="420547"/>
                    <a:pt x="936071" y="423472"/>
                  </a:cubicBezTo>
                  <a:lnTo>
                    <a:pt x="923727" y="461420"/>
                  </a:lnTo>
                  <a:cubicBezTo>
                    <a:pt x="919967" y="472878"/>
                    <a:pt x="913603" y="483309"/>
                    <a:pt x="905138" y="491901"/>
                  </a:cubicBezTo>
                  <a:cubicBezTo>
                    <a:pt x="896672" y="500493"/>
                    <a:pt x="886330" y="507009"/>
                    <a:pt x="874927" y="510945"/>
                  </a:cubicBezTo>
                  <a:lnTo>
                    <a:pt x="836948" y="523277"/>
                  </a:lnTo>
                  <a:cubicBezTo>
                    <a:pt x="834021" y="524311"/>
                    <a:pt x="831485" y="526224"/>
                    <a:pt x="829693" y="528754"/>
                  </a:cubicBezTo>
                  <a:cubicBezTo>
                    <a:pt x="827899" y="531288"/>
                    <a:pt x="826937" y="534312"/>
                    <a:pt x="826937" y="537415"/>
                  </a:cubicBezTo>
                  <a:cubicBezTo>
                    <a:pt x="826937" y="540516"/>
                    <a:pt x="827899" y="543540"/>
                    <a:pt x="829693" y="546073"/>
                  </a:cubicBezTo>
                  <a:cubicBezTo>
                    <a:pt x="831485" y="548604"/>
                    <a:pt x="834021" y="550519"/>
                    <a:pt x="836948" y="551550"/>
                  </a:cubicBezTo>
                  <a:lnTo>
                    <a:pt x="874927" y="563883"/>
                  </a:lnTo>
                  <a:cubicBezTo>
                    <a:pt x="879100" y="565275"/>
                    <a:pt x="883133" y="567009"/>
                    <a:pt x="886992" y="569065"/>
                  </a:cubicBezTo>
                  <a:lnTo>
                    <a:pt x="887072" y="569484"/>
                  </a:lnTo>
                  <a:cubicBezTo>
                    <a:pt x="893853" y="573103"/>
                    <a:pt x="900082" y="577712"/>
                    <a:pt x="905551" y="583181"/>
                  </a:cubicBezTo>
                  <a:cubicBezTo>
                    <a:pt x="914165" y="591795"/>
                    <a:pt x="920648" y="602300"/>
                    <a:pt x="924482" y="613863"/>
                  </a:cubicBezTo>
                  <a:lnTo>
                    <a:pt x="936831" y="651819"/>
                  </a:lnTo>
                  <a:cubicBezTo>
                    <a:pt x="937865" y="654744"/>
                    <a:pt x="939778" y="657277"/>
                    <a:pt x="942311" y="659072"/>
                  </a:cubicBezTo>
                  <a:cubicBezTo>
                    <a:pt x="944844" y="660863"/>
                    <a:pt x="947871" y="661825"/>
                    <a:pt x="950972" y="661825"/>
                  </a:cubicBezTo>
                  <a:cubicBezTo>
                    <a:pt x="954076" y="661825"/>
                    <a:pt x="957102" y="660863"/>
                    <a:pt x="959635" y="659072"/>
                  </a:cubicBezTo>
                  <a:cubicBezTo>
                    <a:pt x="961854" y="657500"/>
                    <a:pt x="963602" y="655359"/>
                    <a:pt x="964694" y="652880"/>
                  </a:cubicBezTo>
                  <a:lnTo>
                    <a:pt x="964688" y="652641"/>
                  </a:lnTo>
                  <a:cubicBezTo>
                    <a:pt x="964848" y="652282"/>
                    <a:pt x="964994" y="651918"/>
                    <a:pt x="965124" y="651546"/>
                  </a:cubicBezTo>
                  <a:lnTo>
                    <a:pt x="977467" y="613598"/>
                  </a:lnTo>
                  <a:cubicBezTo>
                    <a:pt x="981307" y="602060"/>
                    <a:pt x="987784" y="591577"/>
                    <a:pt x="996387" y="582979"/>
                  </a:cubicBezTo>
                  <a:cubicBezTo>
                    <a:pt x="1004990" y="574382"/>
                    <a:pt x="1015484" y="567910"/>
                    <a:pt x="1027028" y="564073"/>
                  </a:cubicBezTo>
                  <a:lnTo>
                    <a:pt x="1065007" y="551741"/>
                  </a:lnTo>
                  <a:cubicBezTo>
                    <a:pt x="1067934" y="550707"/>
                    <a:pt x="1070470" y="548794"/>
                    <a:pt x="1072262" y="546264"/>
                  </a:cubicBezTo>
                  <a:cubicBezTo>
                    <a:pt x="1074056" y="543730"/>
                    <a:pt x="1075018" y="540706"/>
                    <a:pt x="1075018" y="537603"/>
                  </a:cubicBezTo>
                  <a:cubicBezTo>
                    <a:pt x="1075018" y="534502"/>
                    <a:pt x="1074056" y="531478"/>
                    <a:pt x="1072262" y="528945"/>
                  </a:cubicBezTo>
                  <a:cubicBezTo>
                    <a:pt x="1070470" y="526414"/>
                    <a:pt x="1067934" y="524499"/>
                    <a:pt x="1065007" y="523468"/>
                  </a:cubicBezTo>
                  <a:lnTo>
                    <a:pt x="1064248" y="523277"/>
                  </a:lnTo>
                  <a:close/>
                  <a:moveTo>
                    <a:pt x="385904" y="137823"/>
                  </a:moveTo>
                  <a:cubicBezTo>
                    <a:pt x="425740" y="137823"/>
                    <a:pt x="464165" y="143859"/>
                    <a:pt x="500316" y="155066"/>
                  </a:cubicBezTo>
                  <a:lnTo>
                    <a:pt x="498188" y="155752"/>
                  </a:lnTo>
                  <a:cubicBezTo>
                    <a:pt x="481437" y="161454"/>
                    <a:pt x="466883" y="172247"/>
                    <a:pt x="456566" y="186625"/>
                  </a:cubicBezTo>
                  <a:cubicBezTo>
                    <a:pt x="451009" y="194361"/>
                    <a:pt x="446844" y="202979"/>
                    <a:pt x="444233" y="212089"/>
                  </a:cubicBezTo>
                  <a:cubicBezTo>
                    <a:pt x="425327" y="208573"/>
                    <a:pt x="405830" y="206734"/>
                    <a:pt x="385904" y="206734"/>
                  </a:cubicBezTo>
                  <a:cubicBezTo>
                    <a:pt x="210833" y="206734"/>
                    <a:pt x="68911" y="348656"/>
                    <a:pt x="68911" y="523727"/>
                  </a:cubicBezTo>
                  <a:cubicBezTo>
                    <a:pt x="68911" y="698798"/>
                    <a:pt x="210833" y="840719"/>
                    <a:pt x="385904" y="840719"/>
                  </a:cubicBezTo>
                  <a:cubicBezTo>
                    <a:pt x="560975" y="840719"/>
                    <a:pt x="702896" y="698798"/>
                    <a:pt x="702896" y="523727"/>
                  </a:cubicBezTo>
                  <a:cubicBezTo>
                    <a:pt x="702896" y="521833"/>
                    <a:pt x="702880" y="519942"/>
                    <a:pt x="702847" y="518054"/>
                  </a:cubicBezTo>
                  <a:cubicBezTo>
                    <a:pt x="711814" y="521296"/>
                    <a:pt x="721326" y="522985"/>
                    <a:pt x="730971" y="522985"/>
                  </a:cubicBezTo>
                  <a:cubicBezTo>
                    <a:pt x="745271" y="522985"/>
                    <a:pt x="759274" y="519278"/>
                    <a:pt x="771642" y="512293"/>
                  </a:cubicBezTo>
                  <a:cubicBezTo>
                    <a:pt x="771753" y="516091"/>
                    <a:pt x="771808" y="519901"/>
                    <a:pt x="771808" y="523727"/>
                  </a:cubicBezTo>
                  <a:cubicBezTo>
                    <a:pt x="771808" y="617884"/>
                    <a:pt x="738085" y="704167"/>
                    <a:pt x="682060" y="771154"/>
                  </a:cubicBezTo>
                  <a:lnTo>
                    <a:pt x="982233" y="1071327"/>
                  </a:lnTo>
                  <a:cubicBezTo>
                    <a:pt x="995690" y="1084784"/>
                    <a:pt x="995690" y="1106599"/>
                    <a:pt x="982233" y="1120056"/>
                  </a:cubicBezTo>
                  <a:cubicBezTo>
                    <a:pt x="968779" y="1133510"/>
                    <a:pt x="946961" y="1133510"/>
                    <a:pt x="933507" y="1120056"/>
                  </a:cubicBezTo>
                  <a:lnTo>
                    <a:pt x="633332" y="819883"/>
                  </a:lnTo>
                  <a:cubicBezTo>
                    <a:pt x="566344" y="875908"/>
                    <a:pt x="480062" y="909631"/>
                    <a:pt x="385904" y="909631"/>
                  </a:cubicBezTo>
                  <a:cubicBezTo>
                    <a:pt x="172775" y="909631"/>
                    <a:pt x="0" y="736856"/>
                    <a:pt x="0" y="523727"/>
                  </a:cubicBezTo>
                  <a:cubicBezTo>
                    <a:pt x="0" y="310597"/>
                    <a:pt x="172775" y="137823"/>
                    <a:pt x="385904" y="137823"/>
                  </a:cubicBezTo>
                  <a:close/>
                </a:path>
              </a:pathLst>
            </a:custGeom>
            <a:solidFill>
              <a:schemeClr val="tx1"/>
            </a:solidFill>
            <a:ln w="2738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36795B97-B25A-F9D1-6384-A90390DD5F3C}"/>
              </a:ext>
              <a:ext uri="{C183D7F6-B498-43B3-948B-1728B52AA6E4}">
                <adec:decorative xmlns:adec="http://schemas.microsoft.com/office/drawing/2017/decorative" val="1"/>
              </a:ext>
            </a:extLst>
          </p:cNvPr>
          <p:cNvGrpSpPr/>
          <p:nvPr/>
        </p:nvGrpSpPr>
        <p:grpSpPr>
          <a:xfrm>
            <a:off x="3588713" y="3794163"/>
            <a:ext cx="654710" cy="654710"/>
            <a:chOff x="3588713" y="4316018"/>
            <a:chExt cx="654710" cy="654710"/>
          </a:xfrm>
        </p:grpSpPr>
        <p:sp>
          <p:nvSpPr>
            <p:cNvPr id="167" name="Box">
              <a:extLst>
                <a:ext uri="{FF2B5EF4-FFF2-40B4-BE49-F238E27FC236}">
                  <a16:creationId xmlns:a16="http://schemas.microsoft.com/office/drawing/2014/main" id="{E15CBF85-8AAC-A438-9B83-A86C0D08CB38}"/>
                </a:ext>
                <a:ext uri="{C183D7F6-B498-43B3-948B-1728B52AA6E4}">
                  <adec:decorative xmlns:adec="http://schemas.microsoft.com/office/drawing/2017/decorative" val="1"/>
                </a:ext>
              </a:extLst>
            </p:cNvPr>
            <p:cNvSpPr>
              <a:spLocks noChangeAspect="1"/>
            </p:cNvSpPr>
            <p:nvPr/>
          </p:nvSpPr>
          <p:spPr bwMode="auto">
            <a:xfrm>
              <a:off x="358871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6" name="Graphic 152">
              <a:extLst>
                <a:ext uri="{FF2B5EF4-FFF2-40B4-BE49-F238E27FC236}">
                  <a16:creationId xmlns:a16="http://schemas.microsoft.com/office/drawing/2014/main" id="{A7015066-88EA-454D-BF8E-DD0875255E26}"/>
                </a:ext>
              </a:extLst>
            </p:cNvPr>
            <p:cNvSpPr/>
            <p:nvPr/>
          </p:nvSpPr>
          <p:spPr>
            <a:xfrm>
              <a:off x="3727066" y="4492126"/>
              <a:ext cx="378004" cy="302496"/>
            </a:xfrm>
            <a:custGeom>
              <a:avLst/>
              <a:gdLst>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398507 w 1028405"/>
                <a:gd name="csY18" fmla="*/ 437072 h 822981"/>
                <a:gd name="csX19" fmla="*/ 437072 w 1028405"/>
                <a:gd name="csY19" fmla="*/ 475637 h 822981"/>
                <a:gd name="csX20" fmla="*/ 437072 w 1028405"/>
                <a:gd name="csY20" fmla="*/ 500988 h 822981"/>
                <a:gd name="csX21" fmla="*/ 436661 w 1028405"/>
                <a:gd name="csY21" fmla="*/ 506541 h 822981"/>
                <a:gd name="csX22" fmla="*/ 308522 w 1028405"/>
                <a:gd name="csY22" fmla="*/ 591384 h 822981"/>
                <a:gd name="csX23" fmla="*/ 180382 w 1028405"/>
                <a:gd name="csY23" fmla="*/ 506541 h 822981"/>
                <a:gd name="csX24" fmla="*/ 179971 w 1028405"/>
                <a:gd name="csY24" fmla="*/ 500885 h 822981"/>
                <a:gd name="csX25" fmla="*/ 179971 w 1028405"/>
                <a:gd name="csY25" fmla="*/ 475637 h 822981"/>
                <a:gd name="csX26" fmla="*/ 218536 w 1028405"/>
                <a:gd name="csY26" fmla="*/ 437072 h 822981"/>
                <a:gd name="csX27" fmla="*/ 398507 w 1028405"/>
                <a:gd name="csY27" fmla="*/ 437072 h 822981"/>
                <a:gd name="csX28" fmla="*/ 578581 w 1028405"/>
                <a:gd name="csY28" fmla="*/ 462577 h 822981"/>
                <a:gd name="csX29" fmla="*/ 809869 w 1028405"/>
                <a:gd name="csY29" fmla="*/ 462577 h 822981"/>
                <a:gd name="csX30" fmla="*/ 848424 w 1028405"/>
                <a:gd name="csY30" fmla="*/ 501152 h 822981"/>
                <a:gd name="csX31" fmla="*/ 815114 w 1028405"/>
                <a:gd name="csY31" fmla="*/ 539347 h 822981"/>
                <a:gd name="csX32" fmla="*/ 809869 w 1028405"/>
                <a:gd name="csY32" fmla="*/ 539707 h 822981"/>
                <a:gd name="csX33" fmla="*/ 578581 w 1028405"/>
                <a:gd name="csY33" fmla="*/ 539707 h 822981"/>
                <a:gd name="csX34" fmla="*/ 540026 w 1028405"/>
                <a:gd name="csY34" fmla="*/ 501131 h 822981"/>
                <a:gd name="csX35" fmla="*/ 573336 w 1028405"/>
                <a:gd name="csY35" fmla="*/ 462937 h 822981"/>
                <a:gd name="csX36" fmla="*/ 578581 w 1028405"/>
                <a:gd name="csY36" fmla="*/ 462577 h 822981"/>
                <a:gd name="csX37" fmla="*/ 809869 w 1028405"/>
                <a:gd name="csY37" fmla="*/ 462577 h 822981"/>
                <a:gd name="csX38" fmla="*/ 578581 w 1028405"/>
                <a:gd name="csY38" fmla="*/ 462577 h 822981"/>
                <a:gd name="csX39" fmla="*/ 308522 w 1028405"/>
                <a:gd name="csY39" fmla="*/ 231494 h 822981"/>
                <a:gd name="csX40" fmla="*/ 385652 w 1028405"/>
                <a:gd name="csY40" fmla="*/ 308624 h 822981"/>
                <a:gd name="csX41" fmla="*/ 308522 w 1028405"/>
                <a:gd name="csY41" fmla="*/ 385755 h 822981"/>
                <a:gd name="csX42" fmla="*/ 231391 w 1028405"/>
                <a:gd name="csY42" fmla="*/ 308624 h 822981"/>
                <a:gd name="csX43" fmla="*/ 308522 w 1028405"/>
                <a:gd name="csY43" fmla="*/ 231494 h 822981"/>
                <a:gd name="csX44" fmla="*/ 578581 w 1028405"/>
                <a:gd name="csY44" fmla="*/ 282811 h 822981"/>
                <a:gd name="csX45" fmla="*/ 809869 w 1028405"/>
                <a:gd name="csY45" fmla="*/ 282811 h 822981"/>
                <a:gd name="csX46" fmla="*/ 848424 w 1028405"/>
                <a:gd name="csY46" fmla="*/ 321387 h 822981"/>
                <a:gd name="csX47" fmla="*/ 815114 w 1028405"/>
                <a:gd name="csY47" fmla="*/ 359582 h 822981"/>
                <a:gd name="csX48" fmla="*/ 809869 w 1028405"/>
                <a:gd name="csY48" fmla="*/ 359942 h 822981"/>
                <a:gd name="csX49" fmla="*/ 578581 w 1028405"/>
                <a:gd name="csY49" fmla="*/ 359942 h 822981"/>
                <a:gd name="csX50" fmla="*/ 540026 w 1028405"/>
                <a:gd name="csY50" fmla="*/ 321366 h 822981"/>
                <a:gd name="csX51" fmla="*/ 573336 w 1028405"/>
                <a:gd name="csY51" fmla="*/ 283171 h 822981"/>
                <a:gd name="csX52" fmla="*/ 578581 w 1028405"/>
                <a:gd name="csY52" fmla="*/ 282811 h 822981"/>
                <a:gd name="csX53" fmla="*/ 809869 w 1028405"/>
                <a:gd name="csY53" fmla="*/ 282811 h 822981"/>
                <a:gd name="csX54" fmla="*/ 578581 w 1028405"/>
                <a:gd name="csY54" fmla="*/ 282811 h 82298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Lst>
              <a:rect l="l" t="t" r="r" b="b"/>
              <a:pathLst>
                <a:path w="1028405" h="822981">
                  <a:moveTo>
                    <a:pt x="912709" y="0"/>
                  </a:moveTo>
                  <a:cubicBezTo>
                    <a:pt x="976604" y="0"/>
                    <a:pt x="1028405" y="51799"/>
                    <a:pt x="1028405" y="115696"/>
                  </a:cubicBezTo>
                  <a:lnTo>
                    <a:pt x="1028405" y="707286"/>
                  </a:lnTo>
                  <a:cubicBezTo>
                    <a:pt x="1028405" y="771180"/>
                    <a:pt x="976604" y="822981"/>
                    <a:pt x="912709" y="822981"/>
                  </a:cubicBezTo>
                  <a:lnTo>
                    <a:pt x="115696" y="822981"/>
                  </a:lnTo>
                  <a:cubicBezTo>
                    <a:pt x="51799" y="822981"/>
                    <a:pt x="0" y="771180"/>
                    <a:pt x="0" y="707286"/>
                  </a:cubicBezTo>
                  <a:lnTo>
                    <a:pt x="0" y="115696"/>
                  </a:lnTo>
                  <a:cubicBezTo>
                    <a:pt x="0" y="51799"/>
                    <a:pt x="51799" y="0"/>
                    <a:pt x="115696" y="0"/>
                  </a:cubicBezTo>
                  <a:lnTo>
                    <a:pt x="912709" y="0"/>
                  </a:lnTo>
                  <a:close/>
                  <a:moveTo>
                    <a:pt x="912709" y="77130"/>
                  </a:moveTo>
                  <a:lnTo>
                    <a:pt x="115696" y="77130"/>
                  </a:lnTo>
                  <a:cubicBezTo>
                    <a:pt x="94397" y="77130"/>
                    <a:pt x="77130" y="94397"/>
                    <a:pt x="77130" y="115696"/>
                  </a:cubicBezTo>
                  <a:lnTo>
                    <a:pt x="77130" y="707286"/>
                  </a:lnTo>
                  <a:cubicBezTo>
                    <a:pt x="77130" y="728574"/>
                    <a:pt x="94408" y="745851"/>
                    <a:pt x="115696" y="745851"/>
                  </a:cubicBezTo>
                  <a:lnTo>
                    <a:pt x="912709" y="745851"/>
                  </a:lnTo>
                  <a:cubicBezTo>
                    <a:pt x="934008" y="745851"/>
                    <a:pt x="951275" y="728584"/>
                    <a:pt x="951275" y="707286"/>
                  </a:cubicBezTo>
                  <a:lnTo>
                    <a:pt x="951275" y="115696"/>
                  </a:lnTo>
                  <a:cubicBezTo>
                    <a:pt x="951275" y="94397"/>
                    <a:pt x="934008" y="77130"/>
                    <a:pt x="912709" y="77130"/>
                  </a:cubicBezTo>
                  <a:close/>
                  <a:moveTo>
                    <a:pt x="398507" y="437072"/>
                  </a:moveTo>
                  <a:cubicBezTo>
                    <a:pt x="419805" y="437072"/>
                    <a:pt x="437072" y="454339"/>
                    <a:pt x="437072" y="475637"/>
                  </a:cubicBezTo>
                  <a:lnTo>
                    <a:pt x="437072" y="500988"/>
                  </a:lnTo>
                  <a:lnTo>
                    <a:pt x="436661" y="506541"/>
                  </a:lnTo>
                  <a:cubicBezTo>
                    <a:pt x="428279" y="563772"/>
                    <a:pt x="380407" y="591384"/>
                    <a:pt x="308522" y="591384"/>
                  </a:cubicBezTo>
                  <a:cubicBezTo>
                    <a:pt x="236636" y="591384"/>
                    <a:pt x="188712" y="563772"/>
                    <a:pt x="180382" y="506541"/>
                  </a:cubicBezTo>
                  <a:lnTo>
                    <a:pt x="179971" y="500885"/>
                  </a:lnTo>
                  <a:lnTo>
                    <a:pt x="179971" y="475637"/>
                  </a:lnTo>
                  <a:cubicBezTo>
                    <a:pt x="179971" y="454339"/>
                    <a:pt x="197237" y="437072"/>
                    <a:pt x="218536" y="437072"/>
                  </a:cubicBezTo>
                  <a:lnTo>
                    <a:pt x="398507" y="437072"/>
                  </a:lnTo>
                  <a:close/>
                  <a:moveTo>
                    <a:pt x="578581" y="462577"/>
                  </a:moveTo>
                  <a:lnTo>
                    <a:pt x="809869" y="462577"/>
                  </a:lnTo>
                  <a:cubicBezTo>
                    <a:pt x="831167" y="462582"/>
                    <a:pt x="848429" y="479854"/>
                    <a:pt x="848424" y="501152"/>
                  </a:cubicBezTo>
                  <a:cubicBezTo>
                    <a:pt x="848419" y="520419"/>
                    <a:pt x="834196" y="536719"/>
                    <a:pt x="815114" y="539347"/>
                  </a:cubicBezTo>
                  <a:lnTo>
                    <a:pt x="809869" y="539707"/>
                  </a:lnTo>
                  <a:lnTo>
                    <a:pt x="578581" y="539707"/>
                  </a:lnTo>
                  <a:cubicBezTo>
                    <a:pt x="557282" y="539702"/>
                    <a:pt x="540021" y="522430"/>
                    <a:pt x="540026" y="501131"/>
                  </a:cubicBezTo>
                  <a:cubicBezTo>
                    <a:pt x="540031" y="481864"/>
                    <a:pt x="554254" y="465564"/>
                    <a:pt x="573336" y="462937"/>
                  </a:cubicBezTo>
                  <a:lnTo>
                    <a:pt x="578581" y="462577"/>
                  </a:lnTo>
                  <a:lnTo>
                    <a:pt x="809869" y="462577"/>
                  </a:lnTo>
                  <a:lnTo>
                    <a:pt x="578581" y="462577"/>
                  </a:lnTo>
                  <a:close/>
                  <a:moveTo>
                    <a:pt x="308522" y="231494"/>
                  </a:moveTo>
                  <a:cubicBezTo>
                    <a:pt x="351120" y="231494"/>
                    <a:pt x="385652" y="266026"/>
                    <a:pt x="385652" y="308624"/>
                  </a:cubicBezTo>
                  <a:cubicBezTo>
                    <a:pt x="385652" y="351221"/>
                    <a:pt x="351120" y="385755"/>
                    <a:pt x="308522" y="385755"/>
                  </a:cubicBezTo>
                  <a:cubicBezTo>
                    <a:pt x="265923" y="385755"/>
                    <a:pt x="231391" y="351221"/>
                    <a:pt x="231391" y="308624"/>
                  </a:cubicBezTo>
                  <a:cubicBezTo>
                    <a:pt x="231391" y="266026"/>
                    <a:pt x="265923" y="231494"/>
                    <a:pt x="308522" y="231494"/>
                  </a:cubicBezTo>
                  <a:close/>
                  <a:moveTo>
                    <a:pt x="578581" y="282811"/>
                  </a:moveTo>
                  <a:lnTo>
                    <a:pt x="809869" y="282811"/>
                  </a:lnTo>
                  <a:cubicBezTo>
                    <a:pt x="831167" y="282818"/>
                    <a:pt x="848429" y="300090"/>
                    <a:pt x="848424" y="321387"/>
                  </a:cubicBezTo>
                  <a:cubicBezTo>
                    <a:pt x="848419" y="340654"/>
                    <a:pt x="834196" y="356954"/>
                    <a:pt x="815114" y="359582"/>
                  </a:cubicBezTo>
                  <a:lnTo>
                    <a:pt x="809869" y="359942"/>
                  </a:lnTo>
                  <a:lnTo>
                    <a:pt x="578581" y="359942"/>
                  </a:lnTo>
                  <a:cubicBezTo>
                    <a:pt x="557282" y="359937"/>
                    <a:pt x="540021" y="342665"/>
                    <a:pt x="540026" y="321366"/>
                  </a:cubicBezTo>
                  <a:cubicBezTo>
                    <a:pt x="540031" y="302102"/>
                    <a:pt x="554254" y="285797"/>
                    <a:pt x="573336" y="283171"/>
                  </a:cubicBezTo>
                  <a:lnTo>
                    <a:pt x="578581" y="282811"/>
                  </a:lnTo>
                  <a:lnTo>
                    <a:pt x="809869" y="282811"/>
                  </a:lnTo>
                  <a:lnTo>
                    <a:pt x="578581" y="282811"/>
                  </a:lnTo>
                  <a:close/>
                </a:path>
              </a:pathLst>
            </a:custGeom>
            <a:solidFill>
              <a:schemeClr val="tx1"/>
            </a:solidFill>
            <a:ln w="54372"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D125F83C-5F33-7858-4D93-AEAEDAF7FBDF}"/>
              </a:ext>
              <a:ext uri="{C183D7F6-B498-43B3-948B-1728B52AA6E4}">
                <adec:decorative xmlns:adec="http://schemas.microsoft.com/office/drawing/2017/decorative" val="1"/>
              </a:ext>
            </a:extLst>
          </p:cNvPr>
          <p:cNvGrpSpPr/>
          <p:nvPr/>
        </p:nvGrpSpPr>
        <p:grpSpPr>
          <a:xfrm>
            <a:off x="10128503" y="4457611"/>
            <a:ext cx="654710" cy="654710"/>
            <a:chOff x="10128503" y="4316018"/>
            <a:chExt cx="654710" cy="654710"/>
          </a:xfrm>
        </p:grpSpPr>
        <p:sp>
          <p:nvSpPr>
            <p:cNvPr id="170" name="Box">
              <a:extLst>
                <a:ext uri="{FF2B5EF4-FFF2-40B4-BE49-F238E27FC236}">
                  <a16:creationId xmlns:a16="http://schemas.microsoft.com/office/drawing/2014/main" id="{D81D4B5E-E630-76A7-C903-517A5767A3DF}"/>
                </a:ext>
                <a:ext uri="{C183D7F6-B498-43B3-948B-1728B52AA6E4}">
                  <adec:decorative xmlns:adec="http://schemas.microsoft.com/office/drawing/2017/decorative" val="1"/>
                </a:ext>
              </a:extLst>
            </p:cNvPr>
            <p:cNvSpPr>
              <a:spLocks noChangeAspect="1"/>
            </p:cNvSpPr>
            <p:nvPr/>
          </p:nvSpPr>
          <p:spPr bwMode="auto">
            <a:xfrm>
              <a:off x="1012850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7" name="Graphic 140">
              <a:extLst>
                <a:ext uri="{FF2B5EF4-FFF2-40B4-BE49-F238E27FC236}">
                  <a16:creationId xmlns:a16="http://schemas.microsoft.com/office/drawing/2014/main" id="{69757BCF-8B5D-CE26-62CC-07DAB4BCE1DA}"/>
                </a:ext>
              </a:extLst>
            </p:cNvPr>
            <p:cNvSpPr/>
            <p:nvPr/>
          </p:nvSpPr>
          <p:spPr>
            <a:xfrm>
              <a:off x="10312238" y="4483794"/>
              <a:ext cx="287240" cy="319158"/>
            </a:xfrm>
            <a:custGeom>
              <a:avLst/>
              <a:gdLst>
                <a:gd name="csX0" fmla="*/ 0 w 859618"/>
                <a:gd name="csY0" fmla="*/ 179087 h 955142"/>
                <a:gd name="csX1" fmla="*/ 35817 w 859618"/>
                <a:gd name="csY1" fmla="*/ 143270 h 955142"/>
                <a:gd name="csX2" fmla="*/ 408319 w 859618"/>
                <a:gd name="csY2" fmla="*/ 7163 h 955142"/>
                <a:gd name="csX3" fmla="*/ 451300 w 859618"/>
                <a:gd name="csY3" fmla="*/ 7163 h 955142"/>
                <a:gd name="csX4" fmla="*/ 823801 w 859618"/>
                <a:gd name="csY4" fmla="*/ 143270 h 955142"/>
                <a:gd name="csX5" fmla="*/ 859619 w 859618"/>
                <a:gd name="csY5" fmla="*/ 179087 h 955142"/>
                <a:gd name="csX6" fmla="*/ 859619 w 859618"/>
                <a:gd name="csY6" fmla="*/ 429809 h 955142"/>
                <a:gd name="csX7" fmla="*/ 442942 w 859618"/>
                <a:gd name="csY7" fmla="*/ 952648 h 955142"/>
                <a:gd name="csX8" fmla="*/ 416676 w 859618"/>
                <a:gd name="csY8" fmla="*/ 952648 h 955142"/>
                <a:gd name="csX9" fmla="*/ 0 w 859618"/>
                <a:gd name="csY9" fmla="*/ 429809 h 955142"/>
                <a:gd name="csX10" fmla="*/ 0 w 859618"/>
                <a:gd name="csY10" fmla="*/ 179087 h 955142"/>
                <a:gd name="csX11" fmla="*/ 71635 w 859618"/>
                <a:gd name="csY11" fmla="*/ 213854 h 955142"/>
                <a:gd name="csX12" fmla="*/ 71635 w 859618"/>
                <a:gd name="csY12" fmla="*/ 429809 h 955142"/>
                <a:gd name="csX13" fmla="*/ 429809 w 859618"/>
                <a:gd name="csY13" fmla="*/ 880727 h 955142"/>
                <a:gd name="csX14" fmla="*/ 787984 w 859618"/>
                <a:gd name="csY14" fmla="*/ 429809 h 955142"/>
                <a:gd name="csX15" fmla="*/ 787984 w 859618"/>
                <a:gd name="csY15" fmla="*/ 213854 h 955142"/>
                <a:gd name="csX16" fmla="*/ 429809 w 859618"/>
                <a:gd name="csY16" fmla="*/ 80136 h 955142"/>
                <a:gd name="csX17" fmla="*/ 71635 w 859618"/>
                <a:gd name="csY17" fmla="*/ 213854 h 95514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859618" h="955142">
                  <a:moveTo>
                    <a:pt x="0" y="179087"/>
                  </a:moveTo>
                  <a:cubicBezTo>
                    <a:pt x="0" y="159306"/>
                    <a:pt x="16036" y="143270"/>
                    <a:pt x="35817" y="143270"/>
                  </a:cubicBezTo>
                  <a:cubicBezTo>
                    <a:pt x="162993" y="143270"/>
                    <a:pt x="286922" y="98235"/>
                    <a:pt x="408319" y="7163"/>
                  </a:cubicBezTo>
                  <a:cubicBezTo>
                    <a:pt x="421054" y="-2388"/>
                    <a:pt x="438565" y="-2388"/>
                    <a:pt x="451300" y="7163"/>
                  </a:cubicBezTo>
                  <a:cubicBezTo>
                    <a:pt x="572697" y="98235"/>
                    <a:pt x="696625" y="143270"/>
                    <a:pt x="823801" y="143270"/>
                  </a:cubicBezTo>
                  <a:cubicBezTo>
                    <a:pt x="843583" y="143270"/>
                    <a:pt x="859619" y="159306"/>
                    <a:pt x="859619" y="179087"/>
                  </a:cubicBezTo>
                  <a:lnTo>
                    <a:pt x="859619" y="429809"/>
                  </a:lnTo>
                  <a:cubicBezTo>
                    <a:pt x="859619" y="668640"/>
                    <a:pt x="718355" y="844145"/>
                    <a:pt x="442942" y="952648"/>
                  </a:cubicBezTo>
                  <a:cubicBezTo>
                    <a:pt x="434503" y="955974"/>
                    <a:pt x="425116" y="955974"/>
                    <a:pt x="416676" y="952648"/>
                  </a:cubicBezTo>
                  <a:cubicBezTo>
                    <a:pt x="141264" y="844145"/>
                    <a:pt x="0" y="668592"/>
                    <a:pt x="0" y="429809"/>
                  </a:cubicBezTo>
                  <a:lnTo>
                    <a:pt x="0" y="179087"/>
                  </a:lnTo>
                  <a:close/>
                  <a:moveTo>
                    <a:pt x="71635" y="213854"/>
                  </a:moveTo>
                  <a:lnTo>
                    <a:pt x="71635" y="429809"/>
                  </a:lnTo>
                  <a:cubicBezTo>
                    <a:pt x="71635" y="633061"/>
                    <a:pt x="188782" y="782205"/>
                    <a:pt x="429809" y="880727"/>
                  </a:cubicBezTo>
                  <a:cubicBezTo>
                    <a:pt x="670837" y="782205"/>
                    <a:pt x="787984" y="633061"/>
                    <a:pt x="787984" y="429809"/>
                  </a:cubicBezTo>
                  <a:lnTo>
                    <a:pt x="787984" y="213854"/>
                  </a:lnTo>
                  <a:cubicBezTo>
                    <a:pt x="664915" y="206595"/>
                    <a:pt x="545380" y="161799"/>
                    <a:pt x="429809" y="80136"/>
                  </a:cubicBezTo>
                  <a:cubicBezTo>
                    <a:pt x="314238" y="161799"/>
                    <a:pt x="194704" y="206595"/>
                    <a:pt x="71635" y="213854"/>
                  </a:cubicBezTo>
                  <a:close/>
                </a:path>
              </a:pathLst>
            </a:custGeom>
            <a:solidFill>
              <a:schemeClr val="tx1"/>
            </a:solidFill>
            <a:ln w="54372"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23" name="TextBox 322">
            <a:extLst>
              <a:ext uri="{FF2B5EF4-FFF2-40B4-BE49-F238E27FC236}">
                <a16:creationId xmlns:a16="http://schemas.microsoft.com/office/drawing/2014/main" id="{1D79E6C3-BF96-5925-E9B9-78FE18F210C4}"/>
              </a:ext>
            </a:extLst>
          </p:cNvPr>
          <p:cNvSpPr txBox="1"/>
          <p:nvPr/>
        </p:nvSpPr>
        <p:spPr>
          <a:xfrm>
            <a:off x="818342" y="4580326"/>
            <a:ext cx="1835592" cy="14383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a:ln>
                  <a:noFill/>
                </a:ln>
                <a:solidFill>
                  <a:srgbClr val="2A446F"/>
                </a:solidFill>
                <a:effectLst/>
                <a:uLnTx/>
                <a:uFillTx/>
                <a:latin typeface="Segoe UI Semibold"/>
                <a:cs typeface="Segoe UI" pitchFamily="34" charset="0"/>
              </a:rPr>
              <a:t>Registre</a:t>
            </a:r>
            <a:r>
              <a:rPr lang="fr-fr" sz="1600">
                <a:solidFill>
                  <a:srgbClr val="2A446F"/>
                </a:solidFill>
                <a:latin typeface="Segoe UI Semibold"/>
              </a:rPr>
              <a:t> </a:t>
            </a:r>
            <a:r>
              <a:rPr kumimoji="0" lang="fr-fr" sz="1600" b="1" i="0" u="none" strike="noStrike" kern="1200" cap="none" spc="0" normalizeH="0" baseline="0" noProof="0">
                <a:ln>
                  <a:noFill/>
                </a:ln>
                <a:solidFill>
                  <a:srgbClr val="2A446F"/>
                </a:solidFill>
                <a:effectLst/>
                <a:uLnTx/>
                <a:uFillTx/>
                <a:latin typeface="Segoe UI Semibold"/>
                <a:cs typeface="Segoe UI" pitchFamily="34" charset="0"/>
              </a:rPr>
              <a:t>Vue complète des agents qui existent dans l’ensemble de votre organisation. </a:t>
            </a:r>
          </a:p>
        </p:txBody>
      </p:sp>
      <p:sp>
        <p:nvSpPr>
          <p:cNvPr id="324" name="TextBox 323">
            <a:extLst>
              <a:ext uri="{FF2B5EF4-FFF2-40B4-BE49-F238E27FC236}">
                <a16:creationId xmlns:a16="http://schemas.microsoft.com/office/drawing/2014/main" id="{1B898104-789F-0B8E-427F-369EC7C5EB3E}"/>
              </a:ext>
            </a:extLst>
          </p:cNvPr>
          <p:cNvSpPr txBox="1"/>
          <p:nvPr/>
        </p:nvSpPr>
        <p:spPr>
          <a:xfrm>
            <a:off x="2997096" y="4580326"/>
            <a:ext cx="1837944" cy="1438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a:ln>
                  <a:noFill/>
                </a:ln>
                <a:solidFill>
                  <a:srgbClr val="2A446F"/>
                </a:solidFill>
                <a:effectLst/>
                <a:uLnTx/>
                <a:uFillTx/>
                <a:latin typeface="Segoe UI Semibold"/>
                <a:cs typeface="Segoe UI" pitchFamily="34" charset="0"/>
              </a:rPr>
              <a:t>Contrôle des accès</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a:ln>
                  <a:noFill/>
                </a:ln>
                <a:solidFill>
                  <a:srgbClr val="2A446F"/>
                </a:solidFill>
                <a:effectLst/>
                <a:uLnTx/>
                <a:uFillTx/>
                <a:latin typeface="Segoe UI Semibold"/>
                <a:cs typeface="Segoe UI" pitchFamily="34" charset="0"/>
              </a:rPr>
              <a:t>Accès au moindre privilège pour l’agent, basé sur </a:t>
            </a:r>
            <a:br>
              <a:rPr kumimoji="0" lang="fr-fr" sz="1600" b="0" i="0" u="none" strike="noStrike" kern="1200" cap="none" spc="0" normalizeH="0" baseline="0" noProof="0">
                <a:ln>
                  <a:noFill/>
                </a:ln>
                <a:solidFill>
                  <a:srgbClr val="2A446F"/>
                </a:solidFill>
                <a:effectLst/>
                <a:uLnTx/>
                <a:uFillTx/>
                <a:latin typeface="Segoe UI Semibold"/>
                <a:cs typeface="Segoe UI" pitchFamily="34" charset="0"/>
              </a:rPr>
            </a:br>
            <a:r>
              <a:rPr kumimoji="0" lang="fr-fr" sz="1600" b="0" i="0" u="none" strike="noStrike" kern="1200" cap="none" spc="0" normalizeH="0" baseline="0" noProof="0">
                <a:ln>
                  <a:noFill/>
                </a:ln>
                <a:solidFill>
                  <a:srgbClr val="2A446F"/>
                </a:solidFill>
                <a:effectLst/>
                <a:uLnTx/>
                <a:uFillTx/>
                <a:latin typeface="Segoe UI Semibold"/>
                <a:cs typeface="Segoe UI" pitchFamily="34" charset="0"/>
              </a:rPr>
              <a:t>le JTBD. </a:t>
            </a:r>
          </a:p>
        </p:txBody>
      </p:sp>
      <p:sp>
        <p:nvSpPr>
          <p:cNvPr id="325" name="TextBox 324">
            <a:extLst>
              <a:ext uri="{FF2B5EF4-FFF2-40B4-BE49-F238E27FC236}">
                <a16:creationId xmlns:a16="http://schemas.microsoft.com/office/drawing/2014/main" id="{9221D9A9-9214-9706-488F-711B4F7EA0AF}"/>
              </a:ext>
            </a:extLst>
          </p:cNvPr>
          <p:cNvSpPr txBox="1"/>
          <p:nvPr/>
        </p:nvSpPr>
        <p:spPr>
          <a:xfrm>
            <a:off x="5177026" y="5274294"/>
            <a:ext cx="1837944" cy="7443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a:ln>
                  <a:noFill/>
                </a:ln>
                <a:solidFill>
                  <a:srgbClr val="2A446F"/>
                </a:solidFill>
                <a:effectLst/>
                <a:uLnTx/>
                <a:uFillTx/>
                <a:latin typeface="Segoe UI Semibold"/>
                <a:cs typeface="Segoe UI" pitchFamily="34" charset="0"/>
              </a:rPr>
              <a:t>Visualisation</a:t>
            </a:r>
          </a:p>
        </p:txBody>
      </p:sp>
      <p:sp>
        <p:nvSpPr>
          <p:cNvPr id="326" name="TextBox 325">
            <a:extLst>
              <a:ext uri="{FF2B5EF4-FFF2-40B4-BE49-F238E27FC236}">
                <a16:creationId xmlns:a16="http://schemas.microsoft.com/office/drawing/2014/main" id="{AEBDA907-FA79-5FC9-453C-B35F1DBD3DC4}"/>
              </a:ext>
            </a:extLst>
          </p:cNvPr>
          <p:cNvSpPr txBox="1"/>
          <p:nvPr/>
        </p:nvSpPr>
        <p:spPr>
          <a:xfrm>
            <a:off x="7356956" y="5274294"/>
            <a:ext cx="1837944" cy="7443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a:ln>
                  <a:noFill/>
                </a:ln>
                <a:solidFill>
                  <a:srgbClr val="2A446F"/>
                </a:solidFill>
                <a:effectLst/>
                <a:uLnTx/>
                <a:uFillTx/>
                <a:latin typeface="Segoe UI Semibold"/>
                <a:cs typeface="Segoe UI" pitchFamily="34" charset="0"/>
              </a:rPr>
              <a:t>Interopérabilité</a:t>
            </a:r>
          </a:p>
        </p:txBody>
      </p:sp>
      <p:sp>
        <p:nvSpPr>
          <p:cNvPr id="327" name="TextBox 326">
            <a:extLst>
              <a:ext uri="{FF2B5EF4-FFF2-40B4-BE49-F238E27FC236}">
                <a16:creationId xmlns:a16="http://schemas.microsoft.com/office/drawing/2014/main" id="{4AB468CC-76F8-E870-2BB2-5854257CA60F}"/>
              </a:ext>
            </a:extLst>
          </p:cNvPr>
          <p:cNvSpPr txBox="1"/>
          <p:nvPr/>
        </p:nvSpPr>
        <p:spPr>
          <a:xfrm>
            <a:off x="9536887" y="5274294"/>
            <a:ext cx="1837944" cy="7443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a:ln>
                  <a:noFill/>
                </a:ln>
                <a:solidFill>
                  <a:srgbClr val="2A446F"/>
                </a:solidFill>
                <a:effectLst/>
                <a:uLnTx/>
                <a:uFillTx/>
                <a:latin typeface="Segoe UI Semibold"/>
                <a:cs typeface="Segoe UI" pitchFamily="34" charset="0"/>
              </a:rPr>
              <a:t>Sécurité</a:t>
            </a:r>
          </a:p>
        </p:txBody>
      </p:sp>
      <p:sp>
        <p:nvSpPr>
          <p:cNvPr id="7" name="Rounded Rectangle 5">
            <a:extLst>
              <a:ext uri="{FF2B5EF4-FFF2-40B4-BE49-F238E27FC236}">
                <a16:creationId xmlns:a16="http://schemas.microsoft.com/office/drawing/2014/main" id="{512E3C7A-FF91-E74E-9CC5-7209EE43BCF5}"/>
              </a:ext>
            </a:extLst>
          </p:cNvPr>
          <p:cNvSpPr txBox="1">
            <a:spLocks/>
          </p:cNvSpPr>
          <p:nvPr/>
        </p:nvSpPr>
        <p:spPr bwMode="auto">
          <a:xfrm>
            <a:off x="4381498" y="486496"/>
            <a:ext cx="3429004" cy="609682"/>
          </a:xfrm>
          <a:prstGeom prst="roundRect">
            <a:avLst>
              <a:gd name="adj" fmla="val 50000"/>
            </a:avLst>
          </a:prstGeom>
          <a:gradFill flip="none" rotWithShape="1">
            <a:gsLst>
              <a:gs pos="100000">
                <a:srgbClr val="BABAFF">
                  <a:lumMod val="90000"/>
                </a:srgbClr>
              </a:gs>
              <a:gs pos="29400">
                <a:srgbClr val="58AAFE">
                  <a:lumMod val="40000"/>
                  <a:lumOff val="60000"/>
                </a:srgbClr>
              </a:gs>
              <a:gs pos="0">
                <a:srgbClr val="FECBE6"/>
              </a:gs>
            </a:gsLst>
            <a:path path="circle">
              <a:fillToRect l="100000" t="100000"/>
            </a:path>
            <a:tileRect r="-100000" b="-100000"/>
          </a:gradFill>
          <a:ln w="76200" cap="flat" cmpd="sng" algn="ctr">
            <a:noFill/>
            <a:prstDash val="solid"/>
            <a:headEnd type="none" w="med" len="med"/>
            <a:tailEnd type="none" w="med" len="med"/>
          </a:ln>
          <a:effectLst>
            <a:outerShdw blurRad="375109" dist="101600" dir="5400000" sx="105000" sy="105000" algn="t" rotWithShape="0">
              <a:prstClr val="black">
                <a:alpha val="2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400" b="0" i="0" u="none" strike="noStrike" kern="1200" cap="none" spc="0" normalizeH="0" baseline="0" noProof="0">
                <a:ln w="3175">
                  <a:noFill/>
                </a:ln>
                <a:solidFill>
                  <a:srgbClr val="002060"/>
                </a:solidFill>
                <a:effectLst/>
                <a:uLnTx/>
                <a:uFillTx/>
                <a:latin typeface="Segoe Sans Display Semibold"/>
                <a:ea typeface="+mn-ea"/>
                <a:cs typeface="Segoe Sans Display Semibold" pitchFamily="2" charset="0"/>
              </a:rPr>
              <a:t>Microsoft Agent 365</a:t>
            </a:r>
          </a:p>
        </p:txBody>
      </p:sp>
    </p:spTree>
    <p:custDataLst>
      <p:tags r:id="rId1"/>
    </p:custDataLst>
    <p:extLst>
      <p:ext uri="{BB962C8B-B14F-4D97-AF65-F5344CB8AC3E}">
        <p14:creationId xmlns:p14="http://schemas.microsoft.com/office/powerpoint/2010/main" val="9560529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E548DE-E650-D8B7-1894-855ABCD19E49}"/>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1A3D176-C4B1-74B2-E8FB-AEAED15763D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0" progId="TCLayout.ActiveDocument.1">
                  <p:embed/>
                </p:oleObj>
              </mc:Choice>
              <mc:Fallback>
                <p:oleObj name="think-cell Slide" r:id="rId5" imgW="532" imgH="530" progId="TCLayout.ActiveDocument.1">
                  <p:embed/>
                  <p:pic>
                    <p:nvPicPr>
                      <p:cNvPr id="8" name="think-cell data - do not delete" hidden="1">
                        <a:extLst>
                          <a:ext uri="{FF2B5EF4-FFF2-40B4-BE49-F238E27FC236}">
                            <a16:creationId xmlns:a16="http://schemas.microsoft.com/office/drawing/2014/main" id="{B1A3D176-C4B1-74B2-E8FB-AEAED1576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4" name="Rectangle: Rounded Corners 173">
            <a:extLst>
              <a:ext uri="{FF2B5EF4-FFF2-40B4-BE49-F238E27FC236}">
                <a16:creationId xmlns:a16="http://schemas.microsoft.com/office/drawing/2014/main" id="{8038AEB2-F784-3C5B-BED2-3C4DD164CF82}"/>
              </a:ext>
              <a:ext uri="{C183D7F6-B498-43B3-948B-1728B52AA6E4}">
                <adec:decorative xmlns:adec="http://schemas.microsoft.com/office/drawing/2017/decorative" val="1"/>
              </a:ext>
            </a:extLst>
          </p:cNvPr>
          <p:cNvSpPr>
            <a:spLocks/>
          </p:cNvSpPr>
          <p:nvPr/>
        </p:nvSpPr>
        <p:spPr bwMode="auto">
          <a:xfrm>
            <a:off x="571498" y="807678"/>
            <a:ext cx="11049001" cy="5555837"/>
          </a:xfrm>
          <a:prstGeom prst="roundRect">
            <a:avLst>
              <a:gd name="adj" fmla="val 4215"/>
            </a:avLst>
          </a:prstGeom>
          <a:gradFill>
            <a:gsLst>
              <a:gs pos="0">
                <a:srgbClr val="FECBE6">
                  <a:alpha val="58000"/>
                </a:srgbClr>
              </a:gs>
              <a:gs pos="33000">
                <a:srgbClr val="BABAFF">
                  <a:alpha val="58000"/>
                </a:srgbClr>
              </a:gs>
              <a:gs pos="82000">
                <a:schemeClr val="accent6">
                  <a:lumMod val="25000"/>
                  <a:lumOff val="75000"/>
                  <a:alpha val="70000"/>
                </a:schemeClr>
              </a:gs>
              <a:gs pos="98165">
                <a:schemeClr val="bg1">
                  <a:alpha val="33000"/>
                </a:schemeClr>
              </a:gs>
            </a:gsLst>
            <a:lin ang="15600000" scaled="0"/>
          </a:gradFill>
          <a:ln w="6350">
            <a:solidFill>
              <a:schemeClr val="bg2">
                <a:lumMod val="90000"/>
              </a:schemeClr>
            </a:solidFill>
            <a:headEnd type="none" w="med" len="med"/>
            <a:tailEnd type="none" w="med" len="med"/>
          </a:ln>
          <a:effectLst>
            <a:outerShdw blurRad="152400" algn="ctr" rotWithShape="0">
              <a:schemeClr val="bg1">
                <a:alpha val="4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85" name="Freeform 170">
            <a:extLst>
              <a:ext uri="{FF2B5EF4-FFF2-40B4-BE49-F238E27FC236}">
                <a16:creationId xmlns:a16="http://schemas.microsoft.com/office/drawing/2014/main" id="{FB02FA3F-72F4-CF8E-D6C9-92479C3FEF0F}"/>
              </a:ext>
              <a:ext uri="{C183D7F6-B498-43B3-948B-1728B52AA6E4}">
                <adec:decorative xmlns:adec="http://schemas.microsoft.com/office/drawing/2017/decorative" val="1"/>
              </a:ext>
            </a:extLst>
          </p:cNvPr>
          <p:cNvSpPr/>
          <p:nvPr/>
        </p:nvSpPr>
        <p:spPr bwMode="auto">
          <a:xfrm>
            <a:off x="8175209" y="3965305"/>
            <a:ext cx="657087" cy="798081"/>
          </a:xfrm>
          <a:custGeom>
            <a:avLst/>
            <a:gdLst>
              <a:gd name="connsiteX0" fmla="*/ 0 w 1306286"/>
              <a:gd name="connsiteY0" fmla="*/ 298580 h 1268963"/>
              <a:gd name="connsiteX1" fmla="*/ 1306286 w 1306286"/>
              <a:gd name="connsiteY1" fmla="*/ 0 h 1268963"/>
              <a:gd name="connsiteX2" fmla="*/ 765110 w 1306286"/>
              <a:gd name="connsiteY2" fmla="*/ 1268963 h 1268963"/>
            </a:gdLst>
            <a:ahLst/>
            <a:cxnLst>
              <a:cxn ang="0">
                <a:pos x="connsiteX0" y="connsiteY0"/>
              </a:cxn>
              <a:cxn ang="0">
                <a:pos x="connsiteX1" y="connsiteY1"/>
              </a:cxn>
              <a:cxn ang="0">
                <a:pos x="connsiteX2" y="connsiteY2"/>
              </a:cxn>
            </a:cxnLst>
            <a:rect l="l" t="t" r="r" b="b"/>
            <a:pathLst>
              <a:path w="1306286" h="1268963">
                <a:moveTo>
                  <a:pt x="0" y="298580"/>
                </a:moveTo>
                <a:lnTo>
                  <a:pt x="1306286" y="0"/>
                </a:lnTo>
                <a:lnTo>
                  <a:pt x="765110" y="126896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lt"/>
              <a:cs typeface="Segoe UI"/>
              <a:sym typeface="+mn-lt"/>
            </a:endParaRPr>
          </a:p>
        </p:txBody>
      </p:sp>
      <p:sp>
        <p:nvSpPr>
          <p:cNvPr id="286" name="Freeform 171">
            <a:extLst>
              <a:ext uri="{FF2B5EF4-FFF2-40B4-BE49-F238E27FC236}">
                <a16:creationId xmlns:a16="http://schemas.microsoft.com/office/drawing/2014/main" id="{0F81D894-1258-9766-EC68-8AACA4199895}"/>
              </a:ext>
              <a:ext uri="{C183D7F6-B498-43B3-948B-1728B52AA6E4}">
                <adec:decorative xmlns:adec="http://schemas.microsoft.com/office/drawing/2017/decorative" val="1"/>
              </a:ext>
            </a:extLst>
          </p:cNvPr>
          <p:cNvSpPr/>
          <p:nvPr/>
        </p:nvSpPr>
        <p:spPr bwMode="auto">
          <a:xfrm>
            <a:off x="576066" y="2803393"/>
            <a:ext cx="746664" cy="1631372"/>
          </a:xfrm>
          <a:custGeom>
            <a:avLst/>
            <a:gdLst>
              <a:gd name="connsiteX0" fmla="*/ 167951 w 1455575"/>
              <a:gd name="connsiteY0" fmla="*/ 0 h 2593910"/>
              <a:gd name="connsiteX1" fmla="*/ 1063690 w 1455575"/>
              <a:gd name="connsiteY1" fmla="*/ 167951 h 2593910"/>
              <a:gd name="connsiteX2" fmla="*/ 783771 w 1455575"/>
              <a:gd name="connsiteY2" fmla="*/ 895739 h 2593910"/>
              <a:gd name="connsiteX3" fmla="*/ 0 w 1455575"/>
              <a:gd name="connsiteY3" fmla="*/ 1063690 h 2593910"/>
              <a:gd name="connsiteX4" fmla="*/ 298579 w 1455575"/>
              <a:gd name="connsiteY4" fmla="*/ 2593910 h 2593910"/>
              <a:gd name="connsiteX5" fmla="*/ 1455575 w 1455575"/>
              <a:gd name="connsiteY5" fmla="*/ 2146041 h 2593910"/>
              <a:gd name="connsiteX0" fmla="*/ 0 w 1497801"/>
              <a:gd name="connsiteY0" fmla="*/ 0 h 2593910"/>
              <a:gd name="connsiteX1" fmla="*/ 1105916 w 1497801"/>
              <a:gd name="connsiteY1" fmla="*/ 167951 h 2593910"/>
              <a:gd name="connsiteX2" fmla="*/ 825997 w 1497801"/>
              <a:gd name="connsiteY2" fmla="*/ 895739 h 2593910"/>
              <a:gd name="connsiteX3" fmla="*/ 42226 w 1497801"/>
              <a:gd name="connsiteY3" fmla="*/ 1063690 h 2593910"/>
              <a:gd name="connsiteX4" fmla="*/ 340805 w 1497801"/>
              <a:gd name="connsiteY4" fmla="*/ 2593910 h 2593910"/>
              <a:gd name="connsiteX5" fmla="*/ 1497801 w 1497801"/>
              <a:gd name="connsiteY5" fmla="*/ 2146041 h 2593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7801" h="2593910">
                <a:moveTo>
                  <a:pt x="0" y="0"/>
                </a:moveTo>
                <a:lnTo>
                  <a:pt x="1105916" y="167951"/>
                </a:lnTo>
                <a:lnTo>
                  <a:pt x="825997" y="895739"/>
                </a:lnTo>
                <a:lnTo>
                  <a:pt x="42226" y="1063690"/>
                </a:lnTo>
                <a:lnTo>
                  <a:pt x="340805" y="2593910"/>
                </a:lnTo>
                <a:lnTo>
                  <a:pt x="1497801" y="2146041"/>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87" name="Freeform 176">
            <a:extLst>
              <a:ext uri="{FF2B5EF4-FFF2-40B4-BE49-F238E27FC236}">
                <a16:creationId xmlns:a16="http://schemas.microsoft.com/office/drawing/2014/main" id="{A9B8157D-9195-A142-05F5-BDFEC8E92A8D}"/>
              </a:ext>
              <a:ext uri="{C183D7F6-B498-43B3-948B-1728B52AA6E4}">
                <adec:decorative xmlns:adec="http://schemas.microsoft.com/office/drawing/2017/decorative" val="1"/>
              </a:ext>
            </a:extLst>
          </p:cNvPr>
          <p:cNvSpPr/>
          <p:nvPr/>
        </p:nvSpPr>
        <p:spPr bwMode="auto">
          <a:xfrm>
            <a:off x="10568884" y="3249379"/>
            <a:ext cx="1047475" cy="1588110"/>
          </a:xfrm>
          <a:custGeom>
            <a:avLst/>
            <a:gdLst>
              <a:gd name="connsiteX0" fmla="*/ 2052735 w 2052735"/>
              <a:gd name="connsiteY0" fmla="*/ 0 h 2463282"/>
              <a:gd name="connsiteX1" fmla="*/ 877078 w 2052735"/>
              <a:gd name="connsiteY1" fmla="*/ 93306 h 2463282"/>
              <a:gd name="connsiteX2" fmla="*/ 0 w 2052735"/>
              <a:gd name="connsiteY2" fmla="*/ 2220686 h 2463282"/>
              <a:gd name="connsiteX3" fmla="*/ 1754156 w 2052735"/>
              <a:gd name="connsiteY3" fmla="*/ 2463282 h 2463282"/>
              <a:gd name="connsiteX0" fmla="*/ 2052735 w 2120245"/>
              <a:gd name="connsiteY0" fmla="*/ 0 h 2513765"/>
              <a:gd name="connsiteX1" fmla="*/ 877078 w 2120245"/>
              <a:gd name="connsiteY1" fmla="*/ 93306 h 2513765"/>
              <a:gd name="connsiteX2" fmla="*/ 0 w 2120245"/>
              <a:gd name="connsiteY2" fmla="*/ 2220686 h 2513765"/>
              <a:gd name="connsiteX3" fmla="*/ 2120245 w 2120245"/>
              <a:gd name="connsiteY3" fmla="*/ 2513765 h 2513765"/>
              <a:gd name="connsiteX0" fmla="*/ 2052735 w 2082374"/>
              <a:gd name="connsiteY0" fmla="*/ 0 h 2525124"/>
              <a:gd name="connsiteX1" fmla="*/ 877078 w 2082374"/>
              <a:gd name="connsiteY1" fmla="*/ 93306 h 2525124"/>
              <a:gd name="connsiteX2" fmla="*/ 0 w 2082374"/>
              <a:gd name="connsiteY2" fmla="*/ 2220686 h 2525124"/>
              <a:gd name="connsiteX3" fmla="*/ 2082374 w 2082374"/>
              <a:gd name="connsiteY3" fmla="*/ 2525124 h 2525124"/>
            </a:gdLst>
            <a:ahLst/>
            <a:cxnLst>
              <a:cxn ang="0">
                <a:pos x="connsiteX0" y="connsiteY0"/>
              </a:cxn>
              <a:cxn ang="0">
                <a:pos x="connsiteX1" y="connsiteY1"/>
              </a:cxn>
              <a:cxn ang="0">
                <a:pos x="connsiteX2" y="connsiteY2"/>
              </a:cxn>
              <a:cxn ang="0">
                <a:pos x="connsiteX3" y="connsiteY3"/>
              </a:cxn>
            </a:cxnLst>
            <a:rect l="l" t="t" r="r" b="b"/>
            <a:pathLst>
              <a:path w="2082374" h="2525124">
                <a:moveTo>
                  <a:pt x="2052735" y="0"/>
                </a:moveTo>
                <a:lnTo>
                  <a:pt x="877078" y="93306"/>
                </a:lnTo>
                <a:lnTo>
                  <a:pt x="0" y="2220686"/>
                </a:lnTo>
                <a:lnTo>
                  <a:pt x="2082374" y="2525124"/>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88" name="Freeform 177">
            <a:extLst>
              <a:ext uri="{FF2B5EF4-FFF2-40B4-BE49-F238E27FC236}">
                <a16:creationId xmlns:a16="http://schemas.microsoft.com/office/drawing/2014/main" id="{68BED8ED-00FC-DBE8-9C9A-65E74D78B591}"/>
              </a:ext>
              <a:ext uri="{C183D7F6-B498-43B3-948B-1728B52AA6E4}">
                <adec:decorative xmlns:adec="http://schemas.microsoft.com/office/drawing/2017/decorative" val="1"/>
              </a:ext>
            </a:extLst>
          </p:cNvPr>
          <p:cNvSpPr/>
          <p:nvPr/>
        </p:nvSpPr>
        <p:spPr bwMode="auto">
          <a:xfrm>
            <a:off x="4129429" y="1829264"/>
            <a:ext cx="1417431" cy="2323825"/>
          </a:xfrm>
          <a:custGeom>
            <a:avLst/>
            <a:gdLst>
              <a:gd name="connsiteX0" fmla="*/ 2817845 w 2817845"/>
              <a:gd name="connsiteY0" fmla="*/ 0 h 3694923"/>
              <a:gd name="connsiteX1" fmla="*/ 877078 w 2817845"/>
              <a:gd name="connsiteY1" fmla="*/ 1530221 h 3694923"/>
              <a:gd name="connsiteX2" fmla="*/ 2108719 w 2817845"/>
              <a:gd name="connsiteY2" fmla="*/ 1250302 h 3694923"/>
              <a:gd name="connsiteX3" fmla="*/ 0 w 2817845"/>
              <a:gd name="connsiteY3" fmla="*/ 2202025 h 3694923"/>
              <a:gd name="connsiteX4" fmla="*/ 2164702 w 2817845"/>
              <a:gd name="connsiteY4" fmla="*/ 2481943 h 3694923"/>
              <a:gd name="connsiteX5" fmla="*/ 1026368 w 2817845"/>
              <a:gd name="connsiteY5" fmla="*/ 3116425 h 3694923"/>
              <a:gd name="connsiteX6" fmla="*/ 503854 w 2817845"/>
              <a:gd name="connsiteY6" fmla="*/ 3694923 h 3694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7845" h="3694923">
                <a:moveTo>
                  <a:pt x="2817845" y="0"/>
                </a:moveTo>
                <a:lnTo>
                  <a:pt x="877078" y="1530221"/>
                </a:lnTo>
                <a:lnTo>
                  <a:pt x="2108719" y="1250302"/>
                </a:lnTo>
                <a:lnTo>
                  <a:pt x="0" y="2202025"/>
                </a:lnTo>
                <a:lnTo>
                  <a:pt x="2164702" y="2481943"/>
                </a:lnTo>
                <a:lnTo>
                  <a:pt x="1026368" y="3116425"/>
                </a:lnTo>
                <a:lnTo>
                  <a:pt x="503854" y="369492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89" name="Freeform 178">
            <a:extLst>
              <a:ext uri="{FF2B5EF4-FFF2-40B4-BE49-F238E27FC236}">
                <a16:creationId xmlns:a16="http://schemas.microsoft.com/office/drawing/2014/main" id="{AFFC2210-D18D-AF4D-9282-36DA79C153DB}"/>
              </a:ext>
              <a:ext uri="{C183D7F6-B498-43B3-948B-1728B52AA6E4}">
                <adec:decorative xmlns:adec="http://schemas.microsoft.com/office/drawing/2017/decorative" val="1"/>
              </a:ext>
            </a:extLst>
          </p:cNvPr>
          <p:cNvSpPr/>
          <p:nvPr/>
        </p:nvSpPr>
        <p:spPr bwMode="auto">
          <a:xfrm>
            <a:off x="2589968" y="2803393"/>
            <a:ext cx="1539461" cy="2288615"/>
          </a:xfrm>
          <a:custGeom>
            <a:avLst/>
            <a:gdLst>
              <a:gd name="connsiteX0" fmla="*/ 317240 w 3060440"/>
              <a:gd name="connsiteY0" fmla="*/ 839755 h 3638939"/>
              <a:gd name="connsiteX1" fmla="*/ 1194318 w 3060440"/>
              <a:gd name="connsiteY1" fmla="*/ 298579 h 3638939"/>
              <a:gd name="connsiteX2" fmla="*/ 2444620 w 3060440"/>
              <a:gd name="connsiteY2" fmla="*/ 0 h 3638939"/>
              <a:gd name="connsiteX3" fmla="*/ 1343608 w 3060440"/>
              <a:gd name="connsiteY3" fmla="*/ 1810139 h 3638939"/>
              <a:gd name="connsiteX4" fmla="*/ 466530 w 3060440"/>
              <a:gd name="connsiteY4" fmla="*/ 877077 h 3638939"/>
              <a:gd name="connsiteX5" fmla="*/ 0 w 3060440"/>
              <a:gd name="connsiteY5" fmla="*/ 1623526 h 3638939"/>
              <a:gd name="connsiteX6" fmla="*/ 3060440 w 3060440"/>
              <a:gd name="connsiteY6" fmla="*/ 3638939 h 3638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0440" h="3638939">
                <a:moveTo>
                  <a:pt x="317240" y="839755"/>
                </a:moveTo>
                <a:lnTo>
                  <a:pt x="1194318" y="298579"/>
                </a:lnTo>
                <a:lnTo>
                  <a:pt x="2444620" y="0"/>
                </a:lnTo>
                <a:lnTo>
                  <a:pt x="1343608" y="1810139"/>
                </a:lnTo>
                <a:lnTo>
                  <a:pt x="466530" y="877077"/>
                </a:lnTo>
                <a:lnTo>
                  <a:pt x="0" y="1623526"/>
                </a:lnTo>
                <a:lnTo>
                  <a:pt x="3060440" y="3638939"/>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0" name="Freeform 179">
            <a:extLst>
              <a:ext uri="{FF2B5EF4-FFF2-40B4-BE49-F238E27FC236}">
                <a16:creationId xmlns:a16="http://schemas.microsoft.com/office/drawing/2014/main" id="{F66E7580-8CA7-9D13-8343-975962ECCFB8}"/>
              </a:ext>
              <a:ext uri="{C183D7F6-B498-43B3-948B-1728B52AA6E4}">
                <adec:decorative xmlns:adec="http://schemas.microsoft.com/office/drawing/2017/decorative" val="1"/>
              </a:ext>
            </a:extLst>
          </p:cNvPr>
          <p:cNvSpPr/>
          <p:nvPr/>
        </p:nvSpPr>
        <p:spPr bwMode="auto">
          <a:xfrm>
            <a:off x="1557403" y="2181359"/>
            <a:ext cx="1163983" cy="845027"/>
          </a:xfrm>
          <a:custGeom>
            <a:avLst/>
            <a:gdLst>
              <a:gd name="connsiteX0" fmla="*/ 0 w 2313992"/>
              <a:gd name="connsiteY0" fmla="*/ 1007706 h 1343608"/>
              <a:gd name="connsiteX1" fmla="*/ 1045029 w 2313992"/>
              <a:gd name="connsiteY1" fmla="*/ 1343608 h 1343608"/>
              <a:gd name="connsiteX2" fmla="*/ 2108718 w 2313992"/>
              <a:gd name="connsiteY2" fmla="*/ 0 h 1343608"/>
              <a:gd name="connsiteX3" fmla="*/ 2108718 w 2313992"/>
              <a:gd name="connsiteY3" fmla="*/ 0 h 1343608"/>
              <a:gd name="connsiteX4" fmla="*/ 2313992 w 2313992"/>
              <a:gd name="connsiteY4" fmla="*/ 653143 h 1343608"/>
              <a:gd name="connsiteX5" fmla="*/ 1082351 w 2313992"/>
              <a:gd name="connsiteY5" fmla="*/ 1324947 h 134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3992" h="1343608">
                <a:moveTo>
                  <a:pt x="0" y="1007706"/>
                </a:moveTo>
                <a:lnTo>
                  <a:pt x="1045029" y="1343608"/>
                </a:lnTo>
                <a:lnTo>
                  <a:pt x="2108718" y="0"/>
                </a:lnTo>
                <a:lnTo>
                  <a:pt x="2108718" y="0"/>
                </a:lnTo>
                <a:lnTo>
                  <a:pt x="2313992" y="653143"/>
                </a:lnTo>
                <a:lnTo>
                  <a:pt x="1082351" y="1324947"/>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1" name="Freeform 180">
            <a:extLst>
              <a:ext uri="{FF2B5EF4-FFF2-40B4-BE49-F238E27FC236}">
                <a16:creationId xmlns:a16="http://schemas.microsoft.com/office/drawing/2014/main" id="{D55D6D45-03E2-1AB1-9F48-57515AE3DEBC}"/>
              </a:ext>
              <a:ext uri="{C183D7F6-B498-43B3-948B-1728B52AA6E4}">
                <adec:decorative xmlns:adec="http://schemas.microsoft.com/office/drawing/2017/decorative" val="1"/>
              </a:ext>
            </a:extLst>
          </p:cNvPr>
          <p:cNvSpPr/>
          <p:nvPr/>
        </p:nvSpPr>
        <p:spPr bwMode="auto">
          <a:xfrm>
            <a:off x="1116215" y="2615609"/>
            <a:ext cx="3050762" cy="2441189"/>
          </a:xfrm>
          <a:custGeom>
            <a:avLst/>
            <a:gdLst>
              <a:gd name="connsiteX0" fmla="*/ 6064898 w 6064898"/>
              <a:gd name="connsiteY0" fmla="*/ 3881535 h 3881535"/>
              <a:gd name="connsiteX1" fmla="*/ 4348066 w 6064898"/>
              <a:gd name="connsiteY1" fmla="*/ 2164702 h 3881535"/>
              <a:gd name="connsiteX2" fmla="*/ 6027576 w 6064898"/>
              <a:gd name="connsiteY2" fmla="*/ 989045 h 3881535"/>
              <a:gd name="connsiteX3" fmla="*/ 6027576 w 6064898"/>
              <a:gd name="connsiteY3" fmla="*/ 186612 h 3881535"/>
              <a:gd name="connsiteX4" fmla="*/ 5299788 w 6064898"/>
              <a:gd name="connsiteY4" fmla="*/ 317241 h 3881535"/>
              <a:gd name="connsiteX5" fmla="*/ 3209731 w 6064898"/>
              <a:gd name="connsiteY5" fmla="*/ 0 h 3881535"/>
              <a:gd name="connsiteX6" fmla="*/ 3359021 w 6064898"/>
              <a:gd name="connsiteY6" fmla="*/ 1119674 h 3881535"/>
              <a:gd name="connsiteX7" fmla="*/ 317241 w 6064898"/>
              <a:gd name="connsiteY7" fmla="*/ 2463282 h 3881535"/>
              <a:gd name="connsiteX8" fmla="*/ 1306286 w 6064898"/>
              <a:gd name="connsiteY8" fmla="*/ 1287625 h 3881535"/>
              <a:gd name="connsiteX9" fmla="*/ 0 w 6064898"/>
              <a:gd name="connsiteY9" fmla="*/ 466531 h 3881535"/>
              <a:gd name="connsiteX10" fmla="*/ 858417 w 6064898"/>
              <a:gd name="connsiteY10" fmla="*/ 354563 h 3881535"/>
              <a:gd name="connsiteX11" fmla="*/ 1268964 w 6064898"/>
              <a:gd name="connsiteY11" fmla="*/ 1250302 h 3881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64898" h="3881535">
                <a:moveTo>
                  <a:pt x="6064898" y="3881535"/>
                </a:moveTo>
                <a:lnTo>
                  <a:pt x="4348066" y="2164702"/>
                </a:lnTo>
                <a:lnTo>
                  <a:pt x="6027576" y="989045"/>
                </a:lnTo>
                <a:lnTo>
                  <a:pt x="6027576" y="186612"/>
                </a:lnTo>
                <a:lnTo>
                  <a:pt x="5299788" y="317241"/>
                </a:lnTo>
                <a:lnTo>
                  <a:pt x="3209731" y="0"/>
                </a:lnTo>
                <a:lnTo>
                  <a:pt x="3359021" y="1119674"/>
                </a:lnTo>
                <a:lnTo>
                  <a:pt x="317241" y="2463282"/>
                </a:lnTo>
                <a:lnTo>
                  <a:pt x="1306286" y="1287625"/>
                </a:lnTo>
                <a:lnTo>
                  <a:pt x="0" y="466531"/>
                </a:lnTo>
                <a:lnTo>
                  <a:pt x="858417" y="354563"/>
                </a:lnTo>
                <a:lnTo>
                  <a:pt x="1268964" y="1250302"/>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2" name="Freeform 181">
            <a:extLst>
              <a:ext uri="{FF2B5EF4-FFF2-40B4-BE49-F238E27FC236}">
                <a16:creationId xmlns:a16="http://schemas.microsoft.com/office/drawing/2014/main" id="{1F9CCFE4-0902-8071-D8AE-C957F9280545}"/>
              </a:ext>
              <a:ext uri="{C183D7F6-B498-43B3-948B-1728B52AA6E4}">
                <adec:decorative xmlns:adec="http://schemas.microsoft.com/office/drawing/2017/decorative" val="1"/>
              </a:ext>
            </a:extLst>
          </p:cNvPr>
          <p:cNvSpPr/>
          <p:nvPr/>
        </p:nvSpPr>
        <p:spPr bwMode="auto">
          <a:xfrm>
            <a:off x="4176365" y="2709501"/>
            <a:ext cx="7425085" cy="2370770"/>
          </a:xfrm>
          <a:custGeom>
            <a:avLst/>
            <a:gdLst>
              <a:gd name="connsiteX0" fmla="*/ 14481110 w 14481110"/>
              <a:gd name="connsiteY0" fmla="*/ 0 h 3769567"/>
              <a:gd name="connsiteX1" fmla="*/ 11961844 w 14481110"/>
              <a:gd name="connsiteY1" fmla="*/ 895739 h 3769567"/>
              <a:gd name="connsiteX2" fmla="*/ 10599575 w 14481110"/>
              <a:gd name="connsiteY2" fmla="*/ 989045 h 3769567"/>
              <a:gd name="connsiteX3" fmla="*/ 9050693 w 14481110"/>
              <a:gd name="connsiteY3" fmla="*/ 914400 h 3769567"/>
              <a:gd name="connsiteX4" fmla="*/ 6699379 w 14481110"/>
              <a:gd name="connsiteY4" fmla="*/ 1212980 h 3769567"/>
              <a:gd name="connsiteX5" fmla="*/ 6736702 w 14481110"/>
              <a:gd name="connsiteY5" fmla="*/ 2052735 h 3769567"/>
              <a:gd name="connsiteX6" fmla="*/ 5710334 w 14481110"/>
              <a:gd name="connsiteY6" fmla="*/ 2799184 h 3769567"/>
              <a:gd name="connsiteX7" fmla="*/ 6736702 w 14481110"/>
              <a:gd name="connsiteY7" fmla="*/ 1212980 h 3769567"/>
              <a:gd name="connsiteX8" fmla="*/ 4348065 w 14481110"/>
              <a:gd name="connsiteY8" fmla="*/ 1660849 h 3769567"/>
              <a:gd name="connsiteX9" fmla="*/ 3750906 w 14481110"/>
              <a:gd name="connsiteY9" fmla="*/ 3321698 h 3769567"/>
              <a:gd name="connsiteX10" fmla="*/ 5710334 w 14481110"/>
              <a:gd name="connsiteY10" fmla="*/ 2761861 h 3769567"/>
              <a:gd name="connsiteX11" fmla="*/ 3097763 w 14481110"/>
              <a:gd name="connsiteY11" fmla="*/ 1474237 h 3769567"/>
              <a:gd name="connsiteX12" fmla="*/ 0 w 14481110"/>
              <a:gd name="connsiteY12" fmla="*/ 3769567 h 3769567"/>
              <a:gd name="connsiteX13" fmla="*/ 2575249 w 14481110"/>
              <a:gd name="connsiteY13" fmla="*/ 2313992 h 3769567"/>
              <a:gd name="connsiteX14" fmla="*/ 3676261 w 14481110"/>
              <a:gd name="connsiteY14" fmla="*/ 3247053 h 3769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81110" h="3769567">
                <a:moveTo>
                  <a:pt x="14481110" y="0"/>
                </a:moveTo>
                <a:lnTo>
                  <a:pt x="11961844" y="895739"/>
                </a:lnTo>
                <a:lnTo>
                  <a:pt x="10599575" y="989045"/>
                </a:lnTo>
                <a:lnTo>
                  <a:pt x="9050693" y="914400"/>
                </a:lnTo>
                <a:lnTo>
                  <a:pt x="6699379" y="1212980"/>
                </a:lnTo>
                <a:lnTo>
                  <a:pt x="6736702" y="2052735"/>
                </a:lnTo>
                <a:lnTo>
                  <a:pt x="5710334" y="2799184"/>
                </a:lnTo>
                <a:lnTo>
                  <a:pt x="6736702" y="1212980"/>
                </a:lnTo>
                <a:lnTo>
                  <a:pt x="4348065" y="1660849"/>
                </a:lnTo>
                <a:lnTo>
                  <a:pt x="3750906" y="3321698"/>
                </a:lnTo>
                <a:lnTo>
                  <a:pt x="5710334" y="2761861"/>
                </a:lnTo>
                <a:lnTo>
                  <a:pt x="3097763" y="1474237"/>
                </a:lnTo>
                <a:lnTo>
                  <a:pt x="0" y="3769567"/>
                </a:lnTo>
                <a:lnTo>
                  <a:pt x="2575249" y="2313992"/>
                </a:lnTo>
                <a:lnTo>
                  <a:pt x="3676261" y="324705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3" name="Freeform 182">
            <a:extLst>
              <a:ext uri="{FF2B5EF4-FFF2-40B4-BE49-F238E27FC236}">
                <a16:creationId xmlns:a16="http://schemas.microsoft.com/office/drawing/2014/main" id="{3041BFE6-A1ED-5D09-4FDA-6D0959AF1799}"/>
              </a:ext>
              <a:ext uri="{C183D7F6-B498-43B3-948B-1728B52AA6E4}">
                <adec:decorative xmlns:adec="http://schemas.microsoft.com/office/drawing/2017/decorative" val="1"/>
              </a:ext>
            </a:extLst>
          </p:cNvPr>
          <p:cNvSpPr/>
          <p:nvPr/>
        </p:nvSpPr>
        <p:spPr bwMode="auto">
          <a:xfrm>
            <a:off x="590546" y="1817528"/>
            <a:ext cx="10400751" cy="3251007"/>
          </a:xfrm>
          <a:custGeom>
            <a:avLst/>
            <a:gdLst>
              <a:gd name="connsiteX0" fmla="*/ 0 w 20266090"/>
              <a:gd name="connsiteY0" fmla="*/ 1101012 h 5169159"/>
              <a:gd name="connsiteX1" fmla="*/ 1511559 w 20266090"/>
              <a:gd name="connsiteY1" fmla="*/ 1642188 h 5169159"/>
              <a:gd name="connsiteX2" fmla="*/ 3732245 w 20266090"/>
              <a:gd name="connsiteY2" fmla="*/ 522514 h 5169159"/>
              <a:gd name="connsiteX3" fmla="*/ 5952930 w 20266090"/>
              <a:gd name="connsiteY3" fmla="*/ 1604865 h 5169159"/>
              <a:gd name="connsiteX4" fmla="*/ 6643396 w 20266090"/>
              <a:gd name="connsiteY4" fmla="*/ 2220686 h 5169159"/>
              <a:gd name="connsiteX5" fmla="*/ 6400800 w 20266090"/>
              <a:gd name="connsiteY5" fmla="*/ 3452326 h 5169159"/>
              <a:gd name="connsiteX6" fmla="*/ 5001208 w 20266090"/>
              <a:gd name="connsiteY6" fmla="*/ 3433665 h 5169159"/>
              <a:gd name="connsiteX7" fmla="*/ 3564294 w 20266090"/>
              <a:gd name="connsiteY7" fmla="*/ 3228392 h 5169159"/>
              <a:gd name="connsiteX8" fmla="*/ 1007706 w 20266090"/>
              <a:gd name="connsiteY8" fmla="*/ 3732245 h 5169159"/>
              <a:gd name="connsiteX9" fmla="*/ 391885 w 20266090"/>
              <a:gd name="connsiteY9" fmla="*/ 2444620 h 5169159"/>
              <a:gd name="connsiteX10" fmla="*/ 1884783 w 20266090"/>
              <a:gd name="connsiteY10" fmla="*/ 2593910 h 5169159"/>
              <a:gd name="connsiteX11" fmla="*/ 2500604 w 20266090"/>
              <a:gd name="connsiteY11" fmla="*/ 1922106 h 5169159"/>
              <a:gd name="connsiteX12" fmla="*/ 3993502 w 20266090"/>
              <a:gd name="connsiteY12" fmla="*/ 2425959 h 5169159"/>
              <a:gd name="connsiteX13" fmla="*/ 6662057 w 20266090"/>
              <a:gd name="connsiteY13" fmla="*/ 2239347 h 5169159"/>
              <a:gd name="connsiteX14" fmla="*/ 7613779 w 20266090"/>
              <a:gd name="connsiteY14" fmla="*/ 1530220 h 5169159"/>
              <a:gd name="connsiteX15" fmla="*/ 6662057 w 20266090"/>
              <a:gd name="connsiteY15" fmla="*/ 1455575 h 5169159"/>
              <a:gd name="connsiteX16" fmla="*/ 9386596 w 20266090"/>
              <a:gd name="connsiteY16" fmla="*/ 18661 h 5169159"/>
              <a:gd name="connsiteX17" fmla="*/ 8714792 w 20266090"/>
              <a:gd name="connsiteY17" fmla="*/ 1287624 h 5169159"/>
              <a:gd name="connsiteX18" fmla="*/ 7651102 w 20266090"/>
              <a:gd name="connsiteY18" fmla="*/ 3135086 h 5169159"/>
              <a:gd name="connsiteX19" fmla="*/ 6680718 w 20266090"/>
              <a:gd name="connsiteY19" fmla="*/ 2239347 h 5169159"/>
              <a:gd name="connsiteX20" fmla="*/ 7109926 w 20266090"/>
              <a:gd name="connsiteY20" fmla="*/ 3769567 h 5169159"/>
              <a:gd name="connsiteX21" fmla="*/ 6680718 w 20266090"/>
              <a:gd name="connsiteY21" fmla="*/ 5169159 h 5169159"/>
              <a:gd name="connsiteX22" fmla="*/ 6400800 w 20266090"/>
              <a:gd name="connsiteY22" fmla="*/ 3452326 h 5169159"/>
              <a:gd name="connsiteX23" fmla="*/ 7091265 w 20266090"/>
              <a:gd name="connsiteY23" fmla="*/ 3769567 h 5169159"/>
              <a:gd name="connsiteX24" fmla="*/ 9797143 w 20266090"/>
              <a:gd name="connsiteY24" fmla="*/ 2873828 h 5169159"/>
              <a:gd name="connsiteX25" fmla="*/ 9274628 w 20266090"/>
              <a:gd name="connsiteY25" fmla="*/ 3732245 h 5169159"/>
              <a:gd name="connsiteX26" fmla="*/ 12465698 w 20266090"/>
              <a:gd name="connsiteY26" fmla="*/ 4217437 h 5169159"/>
              <a:gd name="connsiteX27" fmla="*/ 11122090 w 20266090"/>
              <a:gd name="connsiteY27" fmla="*/ 3041779 h 5169159"/>
              <a:gd name="connsiteX28" fmla="*/ 9815804 w 20266090"/>
              <a:gd name="connsiteY28" fmla="*/ 2911151 h 5169159"/>
              <a:gd name="connsiteX29" fmla="*/ 12092473 w 20266090"/>
              <a:gd name="connsiteY29" fmla="*/ 2444620 h 5169159"/>
              <a:gd name="connsiteX30" fmla="*/ 13566710 w 20266090"/>
              <a:gd name="connsiteY30" fmla="*/ 1810139 h 5169159"/>
              <a:gd name="connsiteX31" fmla="*/ 16272588 w 20266090"/>
              <a:gd name="connsiteY31" fmla="*/ 895739 h 5169159"/>
              <a:gd name="connsiteX32" fmla="*/ 18773192 w 20266090"/>
              <a:gd name="connsiteY32" fmla="*/ 2276669 h 5169159"/>
              <a:gd name="connsiteX33" fmla="*/ 19127755 w 20266090"/>
              <a:gd name="connsiteY33" fmla="*/ 2967135 h 5169159"/>
              <a:gd name="connsiteX34" fmla="*/ 19426334 w 20266090"/>
              <a:gd name="connsiteY34" fmla="*/ 4478694 h 5169159"/>
              <a:gd name="connsiteX35" fmla="*/ 18325322 w 20266090"/>
              <a:gd name="connsiteY35" fmla="*/ 3228392 h 5169159"/>
              <a:gd name="connsiteX36" fmla="*/ 19146416 w 20266090"/>
              <a:gd name="connsiteY36" fmla="*/ 3004457 h 5169159"/>
              <a:gd name="connsiteX37" fmla="*/ 20266090 w 20266090"/>
              <a:gd name="connsiteY37" fmla="*/ 2369975 h 5169159"/>
              <a:gd name="connsiteX38" fmla="*/ 18717208 w 20266090"/>
              <a:gd name="connsiteY38" fmla="*/ 2220686 h 5169159"/>
              <a:gd name="connsiteX39" fmla="*/ 18306661 w 20266090"/>
              <a:gd name="connsiteY39" fmla="*/ 3172408 h 5169159"/>
              <a:gd name="connsiteX40" fmla="*/ 17354939 w 20266090"/>
              <a:gd name="connsiteY40" fmla="*/ 2425959 h 5169159"/>
              <a:gd name="connsiteX41" fmla="*/ 16272588 w 20266090"/>
              <a:gd name="connsiteY41" fmla="*/ 858416 h 5169159"/>
              <a:gd name="connsiteX42" fmla="*/ 15787396 w 20266090"/>
              <a:gd name="connsiteY42" fmla="*/ 2276669 h 5169159"/>
              <a:gd name="connsiteX43" fmla="*/ 14518432 w 20266090"/>
              <a:gd name="connsiteY43" fmla="*/ 2220686 h 5169159"/>
              <a:gd name="connsiteX44" fmla="*/ 13604032 w 20266090"/>
              <a:gd name="connsiteY44" fmla="*/ 1772816 h 5169159"/>
              <a:gd name="connsiteX45" fmla="*/ 13417420 w 20266090"/>
              <a:gd name="connsiteY45" fmla="*/ 2687216 h 5169159"/>
              <a:gd name="connsiteX46" fmla="*/ 12185779 w 20266090"/>
              <a:gd name="connsiteY46" fmla="*/ 2407298 h 5169159"/>
              <a:gd name="connsiteX47" fmla="*/ 10767526 w 20266090"/>
              <a:gd name="connsiteY47" fmla="*/ 1660849 h 5169159"/>
              <a:gd name="connsiteX48" fmla="*/ 9778481 w 20266090"/>
              <a:gd name="connsiteY48" fmla="*/ 2873828 h 5169159"/>
              <a:gd name="connsiteX49" fmla="*/ 8733453 w 20266090"/>
              <a:gd name="connsiteY49" fmla="*/ 2481943 h 5169159"/>
              <a:gd name="connsiteX50" fmla="*/ 8733453 w 20266090"/>
              <a:gd name="connsiteY50" fmla="*/ 1250302 h 5169159"/>
              <a:gd name="connsiteX51" fmla="*/ 9815804 w 20266090"/>
              <a:gd name="connsiteY51" fmla="*/ 2873828 h 5169159"/>
              <a:gd name="connsiteX52" fmla="*/ 9367934 w 20266090"/>
              <a:gd name="connsiteY52" fmla="*/ 0 h 5169159"/>
              <a:gd name="connsiteX53" fmla="*/ 10804849 w 20266090"/>
              <a:gd name="connsiteY53" fmla="*/ 1660849 h 5169159"/>
              <a:gd name="connsiteX54" fmla="*/ 13585371 w 20266090"/>
              <a:gd name="connsiteY54" fmla="*/ 1791477 h 5169159"/>
              <a:gd name="connsiteX55" fmla="*/ 11532636 w 20266090"/>
              <a:gd name="connsiteY55" fmla="*/ 1399592 h 5169159"/>
              <a:gd name="connsiteX56" fmla="*/ 9367934 w 20266090"/>
              <a:gd name="connsiteY56" fmla="*/ 18661 h 5169159"/>
              <a:gd name="connsiteX57" fmla="*/ 13604032 w 20266090"/>
              <a:gd name="connsiteY57" fmla="*/ 1810139 h 516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0266090" h="5169159">
                <a:moveTo>
                  <a:pt x="0" y="1101012"/>
                </a:moveTo>
                <a:lnTo>
                  <a:pt x="1511559" y="1642188"/>
                </a:lnTo>
                <a:lnTo>
                  <a:pt x="3732245" y="522514"/>
                </a:lnTo>
                <a:lnTo>
                  <a:pt x="5952930" y="1604865"/>
                </a:lnTo>
                <a:lnTo>
                  <a:pt x="6643396" y="2220686"/>
                </a:lnTo>
                <a:lnTo>
                  <a:pt x="6400800" y="3452326"/>
                </a:lnTo>
                <a:lnTo>
                  <a:pt x="5001208" y="3433665"/>
                </a:lnTo>
                <a:lnTo>
                  <a:pt x="3564294" y="3228392"/>
                </a:lnTo>
                <a:lnTo>
                  <a:pt x="1007706" y="3732245"/>
                </a:lnTo>
                <a:lnTo>
                  <a:pt x="391885" y="2444620"/>
                </a:lnTo>
                <a:lnTo>
                  <a:pt x="1884783" y="2593910"/>
                </a:lnTo>
                <a:lnTo>
                  <a:pt x="2500604" y="1922106"/>
                </a:lnTo>
                <a:lnTo>
                  <a:pt x="3993502" y="2425959"/>
                </a:lnTo>
                <a:lnTo>
                  <a:pt x="6662057" y="2239347"/>
                </a:lnTo>
                <a:lnTo>
                  <a:pt x="7613779" y="1530220"/>
                </a:lnTo>
                <a:lnTo>
                  <a:pt x="6662057" y="1455575"/>
                </a:lnTo>
                <a:lnTo>
                  <a:pt x="9386596" y="18661"/>
                </a:lnTo>
                <a:lnTo>
                  <a:pt x="8714792" y="1287624"/>
                </a:lnTo>
                <a:lnTo>
                  <a:pt x="7651102" y="3135086"/>
                </a:lnTo>
                <a:lnTo>
                  <a:pt x="6680718" y="2239347"/>
                </a:lnTo>
                <a:lnTo>
                  <a:pt x="7109926" y="3769567"/>
                </a:lnTo>
                <a:lnTo>
                  <a:pt x="6680718" y="5169159"/>
                </a:lnTo>
                <a:lnTo>
                  <a:pt x="6400800" y="3452326"/>
                </a:lnTo>
                <a:lnTo>
                  <a:pt x="7091265" y="3769567"/>
                </a:lnTo>
                <a:lnTo>
                  <a:pt x="9797143" y="2873828"/>
                </a:lnTo>
                <a:lnTo>
                  <a:pt x="9274628" y="3732245"/>
                </a:lnTo>
                <a:lnTo>
                  <a:pt x="12465698" y="4217437"/>
                </a:lnTo>
                <a:lnTo>
                  <a:pt x="11122090" y="3041779"/>
                </a:lnTo>
                <a:lnTo>
                  <a:pt x="9815804" y="2911151"/>
                </a:lnTo>
                <a:lnTo>
                  <a:pt x="12092473" y="2444620"/>
                </a:lnTo>
                <a:lnTo>
                  <a:pt x="13566710" y="1810139"/>
                </a:lnTo>
                <a:lnTo>
                  <a:pt x="16272588" y="895739"/>
                </a:lnTo>
                <a:lnTo>
                  <a:pt x="18773192" y="2276669"/>
                </a:lnTo>
                <a:lnTo>
                  <a:pt x="19127755" y="2967135"/>
                </a:lnTo>
                <a:lnTo>
                  <a:pt x="19426334" y="4478694"/>
                </a:lnTo>
                <a:lnTo>
                  <a:pt x="18325322" y="3228392"/>
                </a:lnTo>
                <a:lnTo>
                  <a:pt x="19146416" y="3004457"/>
                </a:lnTo>
                <a:lnTo>
                  <a:pt x="20266090" y="2369975"/>
                </a:lnTo>
                <a:lnTo>
                  <a:pt x="18717208" y="2220686"/>
                </a:lnTo>
                <a:lnTo>
                  <a:pt x="18306661" y="3172408"/>
                </a:lnTo>
                <a:lnTo>
                  <a:pt x="17354939" y="2425959"/>
                </a:lnTo>
                <a:lnTo>
                  <a:pt x="16272588" y="858416"/>
                </a:lnTo>
                <a:lnTo>
                  <a:pt x="15787396" y="2276669"/>
                </a:lnTo>
                <a:lnTo>
                  <a:pt x="14518432" y="2220686"/>
                </a:lnTo>
                <a:lnTo>
                  <a:pt x="13604032" y="1772816"/>
                </a:lnTo>
                <a:lnTo>
                  <a:pt x="13417420" y="2687216"/>
                </a:lnTo>
                <a:lnTo>
                  <a:pt x="12185779" y="2407298"/>
                </a:lnTo>
                <a:lnTo>
                  <a:pt x="10767526" y="1660849"/>
                </a:lnTo>
                <a:lnTo>
                  <a:pt x="9778481" y="2873828"/>
                </a:lnTo>
                <a:lnTo>
                  <a:pt x="8733453" y="2481943"/>
                </a:lnTo>
                <a:lnTo>
                  <a:pt x="8733453" y="1250302"/>
                </a:lnTo>
                <a:lnTo>
                  <a:pt x="9815804" y="2873828"/>
                </a:lnTo>
                <a:lnTo>
                  <a:pt x="9367934" y="0"/>
                </a:lnTo>
                <a:lnTo>
                  <a:pt x="10804849" y="1660849"/>
                </a:lnTo>
                <a:lnTo>
                  <a:pt x="13585371" y="1791477"/>
                </a:lnTo>
                <a:lnTo>
                  <a:pt x="11532636" y="1399592"/>
                </a:lnTo>
                <a:lnTo>
                  <a:pt x="9367934" y="18661"/>
                </a:lnTo>
                <a:lnTo>
                  <a:pt x="13604032" y="1810139"/>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4" name="Freeform 183">
            <a:extLst>
              <a:ext uri="{FF2B5EF4-FFF2-40B4-BE49-F238E27FC236}">
                <a16:creationId xmlns:a16="http://schemas.microsoft.com/office/drawing/2014/main" id="{87287DBB-0BAC-F0A6-D147-1479C6D218D1}"/>
              </a:ext>
              <a:ext uri="{C183D7F6-B498-43B3-948B-1728B52AA6E4}">
                <adec:decorative xmlns:adec="http://schemas.microsoft.com/office/drawing/2017/decorative" val="1"/>
              </a:ext>
            </a:extLst>
          </p:cNvPr>
          <p:cNvSpPr/>
          <p:nvPr/>
        </p:nvSpPr>
        <p:spPr bwMode="auto">
          <a:xfrm>
            <a:off x="7546282" y="2380879"/>
            <a:ext cx="3031988" cy="2359034"/>
          </a:xfrm>
          <a:custGeom>
            <a:avLst/>
            <a:gdLst>
              <a:gd name="connsiteX0" fmla="*/ 6027576 w 6027576"/>
              <a:gd name="connsiteY0" fmla="*/ 3526971 h 3750906"/>
              <a:gd name="connsiteX1" fmla="*/ 3862874 w 6027576"/>
              <a:gd name="connsiteY1" fmla="*/ 2463281 h 3750906"/>
              <a:gd name="connsiteX2" fmla="*/ 2556588 w 6027576"/>
              <a:gd name="connsiteY2" fmla="*/ 2519265 h 3750906"/>
              <a:gd name="connsiteX3" fmla="*/ 2369976 w 6027576"/>
              <a:gd name="connsiteY3" fmla="*/ 1380930 h 3750906"/>
              <a:gd name="connsiteX4" fmla="*/ 3918857 w 6027576"/>
              <a:gd name="connsiteY4" fmla="*/ 2444620 h 3750906"/>
              <a:gd name="connsiteX5" fmla="*/ 4870580 w 6027576"/>
              <a:gd name="connsiteY5" fmla="*/ 2388636 h 3750906"/>
              <a:gd name="connsiteX6" fmla="*/ 2369976 w 6027576"/>
              <a:gd name="connsiteY6" fmla="*/ 1380930 h 3750906"/>
              <a:gd name="connsiteX7" fmla="*/ 1250302 w 6027576"/>
              <a:gd name="connsiteY7" fmla="*/ 2799183 h 3750906"/>
              <a:gd name="connsiteX8" fmla="*/ 2071396 w 6027576"/>
              <a:gd name="connsiteY8" fmla="*/ 3750906 h 3750906"/>
              <a:gd name="connsiteX9" fmla="*/ 0 w 6027576"/>
              <a:gd name="connsiteY9" fmla="*/ 2575249 h 3750906"/>
              <a:gd name="connsiteX10" fmla="*/ 1250302 w 6027576"/>
              <a:gd name="connsiteY10" fmla="*/ 2836506 h 3750906"/>
              <a:gd name="connsiteX11" fmla="*/ 74645 w 6027576"/>
              <a:gd name="connsiteY11" fmla="*/ 1791477 h 3750906"/>
              <a:gd name="connsiteX12" fmla="*/ 1101012 w 6027576"/>
              <a:gd name="connsiteY12" fmla="*/ 1343608 h 3750906"/>
              <a:gd name="connsiteX13" fmla="*/ 2892490 w 6027576"/>
              <a:gd name="connsiteY13" fmla="*/ 0 h 375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27576" h="3750906">
                <a:moveTo>
                  <a:pt x="6027576" y="3526971"/>
                </a:moveTo>
                <a:lnTo>
                  <a:pt x="3862874" y="2463281"/>
                </a:lnTo>
                <a:lnTo>
                  <a:pt x="2556588" y="2519265"/>
                </a:lnTo>
                <a:lnTo>
                  <a:pt x="2369976" y="1380930"/>
                </a:lnTo>
                <a:lnTo>
                  <a:pt x="3918857" y="2444620"/>
                </a:lnTo>
                <a:lnTo>
                  <a:pt x="4870580" y="2388636"/>
                </a:lnTo>
                <a:lnTo>
                  <a:pt x="2369976" y="1380930"/>
                </a:lnTo>
                <a:lnTo>
                  <a:pt x="1250302" y="2799183"/>
                </a:lnTo>
                <a:lnTo>
                  <a:pt x="2071396" y="3750906"/>
                </a:lnTo>
                <a:lnTo>
                  <a:pt x="0" y="2575249"/>
                </a:lnTo>
                <a:lnTo>
                  <a:pt x="1250302" y="2836506"/>
                </a:lnTo>
                <a:lnTo>
                  <a:pt x="74645" y="1791477"/>
                </a:lnTo>
                <a:lnTo>
                  <a:pt x="1101012" y="1343608"/>
                </a:lnTo>
                <a:lnTo>
                  <a:pt x="2892490" y="0"/>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37" name="Freeform 122">
            <a:extLst>
              <a:ext uri="{FF2B5EF4-FFF2-40B4-BE49-F238E27FC236}">
                <a16:creationId xmlns:a16="http://schemas.microsoft.com/office/drawing/2014/main" id="{9CDE6D16-40EE-7C98-789F-62D2E33F8287}"/>
              </a:ext>
              <a:ext uri="{C183D7F6-B498-43B3-948B-1728B52AA6E4}">
                <adec:decorative xmlns:adec="http://schemas.microsoft.com/office/drawing/2017/decorative" val="1"/>
              </a:ext>
            </a:extLst>
          </p:cNvPr>
          <p:cNvSpPr/>
          <p:nvPr/>
        </p:nvSpPr>
        <p:spPr>
          <a:xfrm>
            <a:off x="7955528" y="310186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a:ea typeface="+mn-lt"/>
              <a:cs typeface="Segoe UI"/>
              <a:sym typeface="+mn-lt"/>
            </a:endParaRPr>
          </a:p>
        </p:txBody>
      </p:sp>
      <p:sp>
        <p:nvSpPr>
          <p:cNvPr id="238" name="Freeform 123">
            <a:extLst>
              <a:ext uri="{FF2B5EF4-FFF2-40B4-BE49-F238E27FC236}">
                <a16:creationId xmlns:a16="http://schemas.microsoft.com/office/drawing/2014/main" id="{01C04AE7-A268-546A-A499-6437B5F757D9}"/>
              </a:ext>
              <a:ext uri="{C183D7F6-B498-43B3-948B-1728B52AA6E4}">
                <adec:decorative xmlns:adec="http://schemas.microsoft.com/office/drawing/2017/decorative" val="1"/>
              </a:ext>
            </a:extLst>
          </p:cNvPr>
          <p:cNvSpPr/>
          <p:nvPr/>
        </p:nvSpPr>
        <p:spPr>
          <a:xfrm>
            <a:off x="6055006" y="2769220"/>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7000">
                <a:srgbClr val="7A46B2"/>
              </a:gs>
              <a:gs pos="91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39" name="Freeform 124">
            <a:extLst>
              <a:ext uri="{FF2B5EF4-FFF2-40B4-BE49-F238E27FC236}">
                <a16:creationId xmlns:a16="http://schemas.microsoft.com/office/drawing/2014/main" id="{E07C89E2-A6C5-EAF9-72C0-D8C7445EB6FF}"/>
              </a:ext>
              <a:ext uri="{C183D7F6-B498-43B3-948B-1728B52AA6E4}">
                <adec:decorative xmlns:adec="http://schemas.microsoft.com/office/drawing/2017/decorative" val="1"/>
              </a:ext>
            </a:extLst>
          </p:cNvPr>
          <p:cNvSpPr/>
          <p:nvPr/>
        </p:nvSpPr>
        <p:spPr>
          <a:xfrm>
            <a:off x="2475527" y="3657136"/>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0" name="Freeform 125">
            <a:extLst>
              <a:ext uri="{FF2B5EF4-FFF2-40B4-BE49-F238E27FC236}">
                <a16:creationId xmlns:a16="http://schemas.microsoft.com/office/drawing/2014/main" id="{0F628F3E-D51E-A539-F8AE-5855D726224E}"/>
              </a:ext>
              <a:ext uri="{C183D7F6-B498-43B3-948B-1728B52AA6E4}">
                <adec:decorative xmlns:adec="http://schemas.microsoft.com/office/drawing/2017/decorative" val="1"/>
              </a:ext>
            </a:extLst>
          </p:cNvPr>
          <p:cNvSpPr/>
          <p:nvPr/>
        </p:nvSpPr>
        <p:spPr>
          <a:xfrm>
            <a:off x="1623143" y="3298238"/>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1" name="Freeform 126">
            <a:extLst>
              <a:ext uri="{FF2B5EF4-FFF2-40B4-BE49-F238E27FC236}">
                <a16:creationId xmlns:a16="http://schemas.microsoft.com/office/drawing/2014/main" id="{C7A5EDBF-909C-1419-0E8E-51F6611B6504}"/>
              </a:ext>
              <a:ext uri="{C183D7F6-B498-43B3-948B-1728B52AA6E4}">
                <adec:decorative xmlns:adec="http://schemas.microsoft.com/office/drawing/2017/decorative" val="1"/>
              </a:ext>
            </a:extLst>
          </p:cNvPr>
          <p:cNvSpPr/>
          <p:nvPr/>
        </p:nvSpPr>
        <p:spPr>
          <a:xfrm>
            <a:off x="4094400" y="2597386"/>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2" name="Freeform 127">
            <a:extLst>
              <a:ext uri="{FF2B5EF4-FFF2-40B4-BE49-F238E27FC236}">
                <a16:creationId xmlns:a16="http://schemas.microsoft.com/office/drawing/2014/main" id="{76B1A65E-36AD-1777-E9B8-CEC0E6A7D673}"/>
              </a:ext>
              <a:ext uri="{C183D7F6-B498-43B3-948B-1728B52AA6E4}">
                <adec:decorative xmlns:adec="http://schemas.microsoft.com/office/drawing/2017/decorative" val="1"/>
              </a:ext>
            </a:extLst>
          </p:cNvPr>
          <p:cNvSpPr/>
          <p:nvPr/>
        </p:nvSpPr>
        <p:spPr>
          <a:xfrm>
            <a:off x="4269673" y="4059567"/>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4" name="Freeform 129">
            <a:extLst>
              <a:ext uri="{FF2B5EF4-FFF2-40B4-BE49-F238E27FC236}">
                <a16:creationId xmlns:a16="http://schemas.microsoft.com/office/drawing/2014/main" id="{A5C0A4E7-8F57-7065-4321-95E51147729C}"/>
              </a:ext>
              <a:ext uri="{C183D7F6-B498-43B3-948B-1728B52AA6E4}">
                <adec:decorative xmlns:adec="http://schemas.microsoft.com/office/drawing/2017/decorative" val="1"/>
              </a:ext>
            </a:extLst>
          </p:cNvPr>
          <p:cNvSpPr/>
          <p:nvPr/>
        </p:nvSpPr>
        <p:spPr>
          <a:xfrm>
            <a:off x="6268992" y="3619079"/>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5" name="Freeform 130">
            <a:extLst>
              <a:ext uri="{FF2B5EF4-FFF2-40B4-BE49-F238E27FC236}">
                <a16:creationId xmlns:a16="http://schemas.microsoft.com/office/drawing/2014/main" id="{E77126FA-6710-52A6-CEAF-54D4A241DBAD}"/>
              </a:ext>
              <a:ext uri="{C183D7F6-B498-43B3-948B-1728B52AA6E4}">
                <adec:decorative xmlns:adec="http://schemas.microsoft.com/office/drawing/2017/decorative" val="1"/>
              </a:ext>
            </a:extLst>
          </p:cNvPr>
          <p:cNvSpPr/>
          <p:nvPr/>
        </p:nvSpPr>
        <p:spPr>
          <a:xfrm>
            <a:off x="3461701" y="3135252"/>
            <a:ext cx="288287" cy="2882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6" name="Freeform 131">
            <a:extLst>
              <a:ext uri="{FF2B5EF4-FFF2-40B4-BE49-F238E27FC236}">
                <a16:creationId xmlns:a16="http://schemas.microsoft.com/office/drawing/2014/main" id="{7E31508C-16DC-38BA-6713-A4D240C92979}"/>
              </a:ext>
              <a:ext uri="{C183D7F6-B498-43B3-948B-1728B52AA6E4}">
                <adec:decorative xmlns:adec="http://schemas.microsoft.com/office/drawing/2017/decorative" val="1"/>
              </a:ext>
            </a:extLst>
          </p:cNvPr>
          <p:cNvSpPr/>
          <p:nvPr/>
        </p:nvSpPr>
        <p:spPr>
          <a:xfrm>
            <a:off x="2653935" y="2552445"/>
            <a:ext cx="143410" cy="1433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7" name="Freeform 132">
            <a:extLst>
              <a:ext uri="{FF2B5EF4-FFF2-40B4-BE49-F238E27FC236}">
                <a16:creationId xmlns:a16="http://schemas.microsoft.com/office/drawing/2014/main" id="{1538FA9E-C357-1086-B42E-6D22C165CC63}"/>
              </a:ext>
              <a:ext uri="{C183D7F6-B498-43B3-948B-1728B52AA6E4}">
                <adec:decorative xmlns:adec="http://schemas.microsoft.com/office/drawing/2017/decorative" val="1"/>
              </a:ext>
            </a:extLst>
          </p:cNvPr>
          <p:cNvSpPr/>
          <p:nvPr/>
        </p:nvSpPr>
        <p:spPr>
          <a:xfrm>
            <a:off x="2714272" y="3227520"/>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8" name="Freeform 133">
            <a:extLst>
              <a:ext uri="{FF2B5EF4-FFF2-40B4-BE49-F238E27FC236}">
                <a16:creationId xmlns:a16="http://schemas.microsoft.com/office/drawing/2014/main" id="{9BAE468F-79BA-6171-3BF3-92B054835D44}"/>
              </a:ext>
              <a:ext uri="{C183D7F6-B498-43B3-948B-1728B52AA6E4}">
                <adec:decorative xmlns:adec="http://schemas.microsoft.com/office/drawing/2017/decorative" val="1"/>
              </a:ext>
            </a:extLst>
          </p:cNvPr>
          <p:cNvSpPr/>
          <p:nvPr/>
        </p:nvSpPr>
        <p:spPr>
          <a:xfrm>
            <a:off x="905306" y="326872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9" name="Freeform 134">
            <a:extLst>
              <a:ext uri="{FF2B5EF4-FFF2-40B4-BE49-F238E27FC236}">
                <a16:creationId xmlns:a16="http://schemas.microsoft.com/office/drawing/2014/main" id="{7F62D23D-8149-22AB-51C0-B8CDD93E554B}"/>
              </a:ext>
              <a:ext uri="{C183D7F6-B498-43B3-948B-1728B52AA6E4}">
                <adec:decorative xmlns:adec="http://schemas.microsoft.com/office/drawing/2017/decorative" val="1"/>
              </a:ext>
            </a:extLst>
          </p:cNvPr>
          <p:cNvSpPr/>
          <p:nvPr/>
        </p:nvSpPr>
        <p:spPr>
          <a:xfrm>
            <a:off x="3722628" y="2735383"/>
            <a:ext cx="180961" cy="18091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0" name="Freeform 135">
            <a:extLst>
              <a:ext uri="{FF2B5EF4-FFF2-40B4-BE49-F238E27FC236}">
                <a16:creationId xmlns:a16="http://schemas.microsoft.com/office/drawing/2014/main" id="{AF76A124-285C-F3DB-F93A-1939F3890EA2}"/>
              </a:ext>
              <a:ext uri="{C183D7F6-B498-43B3-948B-1728B52AA6E4}">
                <adec:decorative xmlns:adec="http://schemas.microsoft.com/office/drawing/2017/decorative" val="1"/>
              </a:ext>
            </a:extLst>
          </p:cNvPr>
          <p:cNvSpPr/>
          <p:nvPr/>
        </p:nvSpPr>
        <p:spPr>
          <a:xfrm>
            <a:off x="6475640" y="2608750"/>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7000">
                <a:srgbClr val="7A46B2"/>
              </a:gs>
              <a:gs pos="91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1" name="Freeform 136">
            <a:extLst>
              <a:ext uri="{FF2B5EF4-FFF2-40B4-BE49-F238E27FC236}">
                <a16:creationId xmlns:a16="http://schemas.microsoft.com/office/drawing/2014/main" id="{EF69BB83-454D-4B45-6C3D-7739FA43B654}"/>
              </a:ext>
              <a:ext uri="{C183D7F6-B498-43B3-948B-1728B52AA6E4}">
                <adec:decorative xmlns:adec="http://schemas.microsoft.com/office/drawing/2017/decorative" val="1"/>
              </a:ext>
            </a:extLst>
          </p:cNvPr>
          <p:cNvSpPr/>
          <p:nvPr/>
        </p:nvSpPr>
        <p:spPr>
          <a:xfrm>
            <a:off x="4078048" y="3141518"/>
            <a:ext cx="181970" cy="18191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2" name="Freeform 137">
            <a:extLst>
              <a:ext uri="{FF2B5EF4-FFF2-40B4-BE49-F238E27FC236}">
                <a16:creationId xmlns:a16="http://schemas.microsoft.com/office/drawing/2014/main" id="{D5B7986A-22FC-9206-14B9-BF83F61CD671}"/>
              </a:ext>
              <a:ext uri="{C183D7F6-B498-43B3-948B-1728B52AA6E4}">
                <adec:decorative xmlns:adec="http://schemas.microsoft.com/office/drawing/2017/decorative" val="1"/>
              </a:ext>
            </a:extLst>
          </p:cNvPr>
          <p:cNvSpPr/>
          <p:nvPr/>
        </p:nvSpPr>
        <p:spPr>
          <a:xfrm>
            <a:off x="8641112" y="3779222"/>
            <a:ext cx="372271" cy="37216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4" name="Freeform 139">
            <a:extLst>
              <a:ext uri="{FF2B5EF4-FFF2-40B4-BE49-F238E27FC236}">
                <a16:creationId xmlns:a16="http://schemas.microsoft.com/office/drawing/2014/main" id="{1F822804-CCDD-C847-246D-9120EC0C85CB}"/>
              </a:ext>
              <a:ext uri="{C183D7F6-B498-43B3-948B-1728B52AA6E4}">
                <adec:decorative xmlns:adec="http://schemas.microsoft.com/office/drawing/2017/decorative" val="1"/>
              </a:ext>
            </a:extLst>
          </p:cNvPr>
          <p:cNvSpPr/>
          <p:nvPr/>
        </p:nvSpPr>
        <p:spPr>
          <a:xfrm>
            <a:off x="6829081" y="3201011"/>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5" name="Freeform 140">
            <a:extLst>
              <a:ext uri="{FF2B5EF4-FFF2-40B4-BE49-F238E27FC236}">
                <a16:creationId xmlns:a16="http://schemas.microsoft.com/office/drawing/2014/main" id="{D0A8547E-31B9-1100-767B-97B324B588EF}"/>
              </a:ext>
              <a:ext uri="{C183D7F6-B498-43B3-948B-1728B52AA6E4}">
                <adec:decorative xmlns:adec="http://schemas.microsoft.com/office/drawing/2017/decorative" val="1"/>
              </a:ext>
            </a:extLst>
          </p:cNvPr>
          <p:cNvSpPr/>
          <p:nvPr/>
        </p:nvSpPr>
        <p:spPr>
          <a:xfrm>
            <a:off x="7459231" y="3937024"/>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6" name="Freeform 141">
            <a:extLst>
              <a:ext uri="{FF2B5EF4-FFF2-40B4-BE49-F238E27FC236}">
                <a16:creationId xmlns:a16="http://schemas.microsoft.com/office/drawing/2014/main" id="{2627C4E4-2976-8B87-5E95-7CF3E9B1FFBD}"/>
              </a:ext>
              <a:ext uri="{C183D7F6-B498-43B3-948B-1728B52AA6E4}">
                <adec:decorative xmlns:adec="http://schemas.microsoft.com/office/drawing/2017/decorative" val="1"/>
              </a:ext>
            </a:extLst>
          </p:cNvPr>
          <p:cNvSpPr/>
          <p:nvPr/>
        </p:nvSpPr>
        <p:spPr>
          <a:xfrm>
            <a:off x="9880877" y="3668144"/>
            <a:ext cx="298434" cy="29835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E14C7B"/>
              </a:gs>
              <a:gs pos="20000">
                <a:srgbClr val="B5429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7" name="Freeform 142">
            <a:extLst>
              <a:ext uri="{FF2B5EF4-FFF2-40B4-BE49-F238E27FC236}">
                <a16:creationId xmlns:a16="http://schemas.microsoft.com/office/drawing/2014/main" id="{A848A7EC-8CF3-AF63-6734-8E7BF00C6FF4}"/>
              </a:ext>
              <a:ext uri="{C183D7F6-B498-43B3-948B-1728B52AA6E4}">
                <adec:decorative xmlns:adec="http://schemas.microsoft.com/office/drawing/2017/decorative" val="1"/>
              </a:ext>
            </a:extLst>
          </p:cNvPr>
          <p:cNvSpPr/>
          <p:nvPr/>
        </p:nvSpPr>
        <p:spPr>
          <a:xfrm>
            <a:off x="3107756" y="2877703"/>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8" name="Freeform 143">
            <a:extLst>
              <a:ext uri="{FF2B5EF4-FFF2-40B4-BE49-F238E27FC236}">
                <a16:creationId xmlns:a16="http://schemas.microsoft.com/office/drawing/2014/main" id="{93FD3AAE-2DF5-B1DB-7BD6-54E29A4149AA}"/>
              </a:ext>
              <a:ext uri="{C183D7F6-B498-43B3-948B-1728B52AA6E4}">
                <adec:decorative xmlns:adec="http://schemas.microsoft.com/office/drawing/2017/decorative" val="1"/>
              </a:ext>
            </a:extLst>
          </p:cNvPr>
          <p:cNvSpPr/>
          <p:nvPr/>
        </p:nvSpPr>
        <p:spPr>
          <a:xfrm>
            <a:off x="5310103" y="1765570"/>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9" name="Freeform 144">
            <a:extLst>
              <a:ext uri="{FF2B5EF4-FFF2-40B4-BE49-F238E27FC236}">
                <a16:creationId xmlns:a16="http://schemas.microsoft.com/office/drawing/2014/main" id="{C812CAD3-BF9B-6B1B-6868-187DBBFA8B59}"/>
              </a:ext>
              <a:ext uri="{C183D7F6-B498-43B3-948B-1728B52AA6E4}">
                <adec:decorative xmlns:adec="http://schemas.microsoft.com/office/drawing/2017/decorative" val="1"/>
              </a:ext>
            </a:extLst>
          </p:cNvPr>
          <p:cNvSpPr/>
          <p:nvPr/>
        </p:nvSpPr>
        <p:spPr>
          <a:xfrm>
            <a:off x="1417675" y="2689997"/>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0" name="Freeform 145">
            <a:extLst>
              <a:ext uri="{FF2B5EF4-FFF2-40B4-BE49-F238E27FC236}">
                <a16:creationId xmlns:a16="http://schemas.microsoft.com/office/drawing/2014/main" id="{0DF72B63-2CD1-42B4-6520-485E5EEE5F0E}"/>
              </a:ext>
              <a:ext uri="{C183D7F6-B498-43B3-948B-1728B52AA6E4}">
                <adec:decorative xmlns:adec="http://schemas.microsoft.com/office/drawing/2017/decorative" val="1"/>
              </a:ext>
            </a:extLst>
          </p:cNvPr>
          <p:cNvSpPr/>
          <p:nvPr/>
        </p:nvSpPr>
        <p:spPr>
          <a:xfrm>
            <a:off x="1015943" y="2844081"/>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1" name="Freeform 146">
            <a:extLst>
              <a:ext uri="{FF2B5EF4-FFF2-40B4-BE49-F238E27FC236}">
                <a16:creationId xmlns:a16="http://schemas.microsoft.com/office/drawing/2014/main" id="{C7DD3E80-D056-C269-4AD4-B5D6B00D5EF3}"/>
              </a:ext>
              <a:ext uri="{C183D7F6-B498-43B3-948B-1728B52AA6E4}">
                <adec:decorative xmlns:adec="http://schemas.microsoft.com/office/drawing/2017/decorative" val="1"/>
              </a:ext>
            </a:extLst>
          </p:cNvPr>
          <p:cNvSpPr/>
          <p:nvPr/>
        </p:nvSpPr>
        <p:spPr>
          <a:xfrm>
            <a:off x="2486912" y="2075375"/>
            <a:ext cx="282465" cy="28238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2" name="Freeform 147">
            <a:extLst>
              <a:ext uri="{FF2B5EF4-FFF2-40B4-BE49-F238E27FC236}">
                <a16:creationId xmlns:a16="http://schemas.microsoft.com/office/drawing/2014/main" id="{4A0B5964-CBF6-2EE3-4948-70276FE54506}"/>
              </a:ext>
              <a:ext uri="{C183D7F6-B498-43B3-948B-1728B52AA6E4}">
                <adec:decorative xmlns:adec="http://schemas.microsoft.com/office/drawing/2017/decorative" val="1"/>
              </a:ext>
            </a:extLst>
          </p:cNvPr>
          <p:cNvSpPr/>
          <p:nvPr/>
        </p:nvSpPr>
        <p:spPr>
          <a:xfrm>
            <a:off x="9311846" y="3149193"/>
            <a:ext cx="372271" cy="37216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3" name="Freeform 148">
            <a:extLst>
              <a:ext uri="{FF2B5EF4-FFF2-40B4-BE49-F238E27FC236}">
                <a16:creationId xmlns:a16="http://schemas.microsoft.com/office/drawing/2014/main" id="{C49B5849-FA49-4D60-1ECA-1FC59A388DE6}"/>
              </a:ext>
              <a:ext uri="{C183D7F6-B498-43B3-948B-1728B52AA6E4}">
                <adec:decorative xmlns:adec="http://schemas.microsoft.com/office/drawing/2017/decorative" val="1"/>
              </a:ext>
            </a:extLst>
          </p:cNvPr>
          <p:cNvSpPr/>
          <p:nvPr/>
        </p:nvSpPr>
        <p:spPr>
          <a:xfrm>
            <a:off x="8602398" y="3161303"/>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4" name="Freeform 149">
            <a:extLst>
              <a:ext uri="{FF2B5EF4-FFF2-40B4-BE49-F238E27FC236}">
                <a16:creationId xmlns:a16="http://schemas.microsoft.com/office/drawing/2014/main" id="{C85AAAA8-004C-6755-A73B-92B3B6B3A418}"/>
              </a:ext>
              <a:ext uri="{C183D7F6-B498-43B3-948B-1728B52AA6E4}">
                <adec:decorative xmlns:adec="http://schemas.microsoft.com/office/drawing/2017/decorative" val="1"/>
              </a:ext>
            </a:extLst>
          </p:cNvPr>
          <p:cNvSpPr/>
          <p:nvPr/>
        </p:nvSpPr>
        <p:spPr>
          <a:xfrm>
            <a:off x="8845615" y="227744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5" name="Freeform 150">
            <a:extLst>
              <a:ext uri="{FF2B5EF4-FFF2-40B4-BE49-F238E27FC236}">
                <a16:creationId xmlns:a16="http://schemas.microsoft.com/office/drawing/2014/main" id="{A2E59A49-220F-A0E5-E832-A99653EB616F}"/>
              </a:ext>
              <a:ext uri="{C183D7F6-B498-43B3-948B-1728B52AA6E4}">
                <adec:decorative xmlns:adec="http://schemas.microsoft.com/office/drawing/2017/decorative" val="1"/>
              </a:ext>
            </a:extLst>
          </p:cNvPr>
          <p:cNvSpPr/>
          <p:nvPr/>
        </p:nvSpPr>
        <p:spPr>
          <a:xfrm>
            <a:off x="7499348" y="2821096"/>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6" name="Freeform 151">
            <a:extLst>
              <a:ext uri="{FF2B5EF4-FFF2-40B4-BE49-F238E27FC236}">
                <a16:creationId xmlns:a16="http://schemas.microsoft.com/office/drawing/2014/main" id="{612C9ACD-D93A-4E07-6C09-F017FDF95853}"/>
              </a:ext>
              <a:ext uri="{C183D7F6-B498-43B3-948B-1728B52AA6E4}">
                <adec:decorative xmlns:adec="http://schemas.microsoft.com/office/drawing/2017/decorative" val="1"/>
              </a:ext>
            </a:extLst>
          </p:cNvPr>
          <p:cNvSpPr/>
          <p:nvPr/>
        </p:nvSpPr>
        <p:spPr>
          <a:xfrm>
            <a:off x="9353513" y="3822045"/>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32000">
                <a:srgbClr val="CA429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7" name="Freeform 152">
            <a:extLst>
              <a:ext uri="{FF2B5EF4-FFF2-40B4-BE49-F238E27FC236}">
                <a16:creationId xmlns:a16="http://schemas.microsoft.com/office/drawing/2014/main" id="{1D226A7B-01D0-DB41-408A-CFF80D4C560D}"/>
              </a:ext>
              <a:ext uri="{C183D7F6-B498-43B3-948B-1728B52AA6E4}">
                <adec:decorative xmlns:adec="http://schemas.microsoft.com/office/drawing/2017/decorative" val="1"/>
              </a:ext>
            </a:extLst>
          </p:cNvPr>
          <p:cNvSpPr/>
          <p:nvPr/>
        </p:nvSpPr>
        <p:spPr>
          <a:xfrm>
            <a:off x="5617276" y="351276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67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8" name="Freeform 153">
            <a:extLst>
              <a:ext uri="{FF2B5EF4-FFF2-40B4-BE49-F238E27FC236}">
                <a16:creationId xmlns:a16="http://schemas.microsoft.com/office/drawing/2014/main" id="{0ED4D4C6-BD39-6ABA-1F01-E14D9C38F3E3}"/>
              </a:ext>
              <a:ext uri="{C183D7F6-B498-43B3-948B-1728B52AA6E4}">
                <adec:decorative xmlns:adec="http://schemas.microsoft.com/office/drawing/2017/decorative" val="1"/>
              </a:ext>
            </a:extLst>
          </p:cNvPr>
          <p:cNvSpPr/>
          <p:nvPr/>
        </p:nvSpPr>
        <p:spPr>
          <a:xfrm>
            <a:off x="5065466" y="3262225"/>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67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9" name="Freeform 154">
            <a:extLst>
              <a:ext uri="{FF2B5EF4-FFF2-40B4-BE49-F238E27FC236}">
                <a16:creationId xmlns:a16="http://schemas.microsoft.com/office/drawing/2014/main" id="{7B379FD2-10A8-A3B3-BAA6-D3395B3CFB7C}"/>
              </a:ext>
              <a:ext uri="{C183D7F6-B498-43B3-948B-1728B52AA6E4}">
                <adec:decorative xmlns:adec="http://schemas.microsoft.com/office/drawing/2017/decorative" val="1"/>
              </a:ext>
            </a:extLst>
          </p:cNvPr>
          <p:cNvSpPr/>
          <p:nvPr/>
        </p:nvSpPr>
        <p:spPr>
          <a:xfrm>
            <a:off x="3935940" y="3885741"/>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0" name="Freeform 155">
            <a:extLst>
              <a:ext uri="{FF2B5EF4-FFF2-40B4-BE49-F238E27FC236}">
                <a16:creationId xmlns:a16="http://schemas.microsoft.com/office/drawing/2014/main" id="{F0F63831-A843-E0D5-C5B6-24ACAA01B62F}"/>
              </a:ext>
              <a:ext uri="{C183D7F6-B498-43B3-948B-1728B52AA6E4}">
                <adec:decorative xmlns:adec="http://schemas.microsoft.com/office/drawing/2017/decorative" val="1"/>
              </a:ext>
            </a:extLst>
          </p:cNvPr>
          <p:cNvSpPr/>
          <p:nvPr/>
        </p:nvSpPr>
        <p:spPr>
          <a:xfrm>
            <a:off x="1205886" y="404363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2" name="Freeform 157">
            <a:extLst>
              <a:ext uri="{FF2B5EF4-FFF2-40B4-BE49-F238E27FC236}">
                <a16:creationId xmlns:a16="http://schemas.microsoft.com/office/drawing/2014/main" id="{EC16A654-5126-4F83-FB78-C3A59842CA8D}"/>
              </a:ext>
              <a:ext uri="{C183D7F6-B498-43B3-948B-1728B52AA6E4}">
                <adec:decorative xmlns:adec="http://schemas.microsoft.com/office/drawing/2017/decorative" val="1"/>
              </a:ext>
            </a:extLst>
          </p:cNvPr>
          <p:cNvSpPr/>
          <p:nvPr/>
        </p:nvSpPr>
        <p:spPr>
          <a:xfrm>
            <a:off x="7423815" y="3374095"/>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5" name="Freeform 160">
            <a:extLst>
              <a:ext uri="{FF2B5EF4-FFF2-40B4-BE49-F238E27FC236}">
                <a16:creationId xmlns:a16="http://schemas.microsoft.com/office/drawing/2014/main" id="{E8B21907-7C88-FC3D-8863-77BFA3AA36AA}"/>
              </a:ext>
              <a:ext uri="{C183D7F6-B498-43B3-948B-1728B52AA6E4}">
                <adec:decorative xmlns:adec="http://schemas.microsoft.com/office/drawing/2017/decorative" val="1"/>
              </a:ext>
            </a:extLst>
          </p:cNvPr>
          <p:cNvSpPr/>
          <p:nvPr/>
        </p:nvSpPr>
        <p:spPr>
          <a:xfrm>
            <a:off x="10127694" y="3159108"/>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500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6" name="Freeform 161">
            <a:extLst>
              <a:ext uri="{FF2B5EF4-FFF2-40B4-BE49-F238E27FC236}">
                <a16:creationId xmlns:a16="http://schemas.microsoft.com/office/drawing/2014/main" id="{0C58AA32-F3AA-07E1-1F30-D06F1550661C}"/>
              </a:ext>
              <a:ext uri="{C183D7F6-B498-43B3-948B-1728B52AA6E4}">
                <adec:decorative xmlns:adec="http://schemas.microsoft.com/office/drawing/2017/decorative" val="1"/>
              </a:ext>
            </a:extLst>
          </p:cNvPr>
          <p:cNvSpPr/>
          <p:nvPr/>
        </p:nvSpPr>
        <p:spPr>
          <a:xfrm>
            <a:off x="8032947" y="4037776"/>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7" name="Freeform 162">
            <a:extLst>
              <a:ext uri="{FF2B5EF4-FFF2-40B4-BE49-F238E27FC236}">
                <a16:creationId xmlns:a16="http://schemas.microsoft.com/office/drawing/2014/main" id="{E783A023-BDE6-12EE-4570-37B65BB0D4AC}"/>
              </a:ext>
              <a:ext uri="{C183D7F6-B498-43B3-948B-1728B52AA6E4}">
                <adec:decorative xmlns:adec="http://schemas.microsoft.com/office/drawing/2017/decorative" val="1"/>
              </a:ext>
            </a:extLst>
          </p:cNvPr>
          <p:cNvSpPr/>
          <p:nvPr/>
        </p:nvSpPr>
        <p:spPr>
          <a:xfrm>
            <a:off x="3141150" y="3820875"/>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8" name="Freeform 163">
            <a:extLst>
              <a:ext uri="{FF2B5EF4-FFF2-40B4-BE49-F238E27FC236}">
                <a16:creationId xmlns:a16="http://schemas.microsoft.com/office/drawing/2014/main" id="{AE4F2BC9-0078-7F5A-A4F4-EF7A6B694E8F}"/>
              </a:ext>
              <a:ext uri="{C183D7F6-B498-43B3-948B-1728B52AA6E4}">
                <adec:decorative xmlns:adec="http://schemas.microsoft.com/office/drawing/2017/decorative" val="1"/>
              </a:ext>
            </a:extLst>
          </p:cNvPr>
          <p:cNvSpPr/>
          <p:nvPr/>
        </p:nvSpPr>
        <p:spPr>
          <a:xfrm>
            <a:off x="10306093" y="3579197"/>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E14C7B"/>
              </a:gs>
              <a:gs pos="20000">
                <a:srgbClr val="B5429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9" name="Freeform 164">
            <a:extLst>
              <a:ext uri="{FF2B5EF4-FFF2-40B4-BE49-F238E27FC236}">
                <a16:creationId xmlns:a16="http://schemas.microsoft.com/office/drawing/2014/main" id="{723E1364-5F04-9D47-5EEE-9A48B6E406D6}"/>
              </a:ext>
              <a:ext uri="{C183D7F6-B498-43B3-948B-1728B52AA6E4}">
                <adec:decorative xmlns:adec="http://schemas.microsoft.com/office/drawing/2017/decorative" val="1"/>
              </a:ext>
            </a:extLst>
          </p:cNvPr>
          <p:cNvSpPr/>
          <p:nvPr/>
        </p:nvSpPr>
        <p:spPr>
          <a:xfrm>
            <a:off x="4481993" y="270078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0" name="Freeform 165">
            <a:extLst>
              <a:ext uri="{FF2B5EF4-FFF2-40B4-BE49-F238E27FC236}">
                <a16:creationId xmlns:a16="http://schemas.microsoft.com/office/drawing/2014/main" id="{8601D8C9-FB61-F902-22AF-78559FE3DC08}"/>
              </a:ext>
              <a:ext uri="{C183D7F6-B498-43B3-948B-1728B52AA6E4}">
                <adec:decorative xmlns:adec="http://schemas.microsoft.com/office/drawing/2017/decorative" val="1"/>
              </a:ext>
            </a:extLst>
          </p:cNvPr>
          <p:cNvSpPr/>
          <p:nvPr/>
        </p:nvSpPr>
        <p:spPr>
          <a:xfrm>
            <a:off x="4512249" y="3619079"/>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1" name="Freeform 166">
            <a:extLst>
              <a:ext uri="{FF2B5EF4-FFF2-40B4-BE49-F238E27FC236}">
                <a16:creationId xmlns:a16="http://schemas.microsoft.com/office/drawing/2014/main" id="{A0820F9C-28ED-B09F-3350-B43798D3BA61}"/>
              </a:ext>
              <a:ext uri="{C183D7F6-B498-43B3-948B-1728B52AA6E4}">
                <adec:decorative xmlns:adec="http://schemas.microsoft.com/office/drawing/2017/decorative" val="1"/>
              </a:ext>
            </a:extLst>
          </p:cNvPr>
          <p:cNvSpPr/>
          <p:nvPr/>
        </p:nvSpPr>
        <p:spPr>
          <a:xfrm>
            <a:off x="5077047" y="253698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2" name="Freeform 167">
            <a:extLst>
              <a:ext uri="{FF2B5EF4-FFF2-40B4-BE49-F238E27FC236}">
                <a16:creationId xmlns:a16="http://schemas.microsoft.com/office/drawing/2014/main" id="{1EB99ED3-615A-461A-6433-DE9D419DB286}"/>
              </a:ext>
              <a:ext uri="{C183D7F6-B498-43B3-948B-1728B52AA6E4}">
                <adec:decorative xmlns:adec="http://schemas.microsoft.com/office/drawing/2017/decorative" val="1"/>
              </a:ext>
            </a:extLst>
          </p:cNvPr>
          <p:cNvSpPr/>
          <p:nvPr/>
        </p:nvSpPr>
        <p:spPr>
          <a:xfrm>
            <a:off x="5355677" y="405450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67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4" name="Freeform 169">
            <a:extLst>
              <a:ext uri="{FF2B5EF4-FFF2-40B4-BE49-F238E27FC236}">
                <a16:creationId xmlns:a16="http://schemas.microsoft.com/office/drawing/2014/main" id="{D5973D21-3138-116B-A063-76A0D44EC85B}"/>
              </a:ext>
              <a:ext uri="{C183D7F6-B498-43B3-948B-1728B52AA6E4}">
                <adec:decorative xmlns:adec="http://schemas.microsoft.com/office/drawing/2017/decorative" val="1"/>
              </a:ext>
            </a:extLst>
          </p:cNvPr>
          <p:cNvSpPr/>
          <p:nvPr/>
        </p:nvSpPr>
        <p:spPr>
          <a:xfrm>
            <a:off x="1986071" y="2930368"/>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73" name="TextBox 172">
            <a:extLst>
              <a:ext uri="{FF2B5EF4-FFF2-40B4-BE49-F238E27FC236}">
                <a16:creationId xmlns:a16="http://schemas.microsoft.com/office/drawing/2014/main" id="{3267A779-379F-4D1B-919E-AACF517964F4}"/>
              </a:ext>
            </a:extLst>
          </p:cNvPr>
          <p:cNvSpPr txBox="1"/>
          <p:nvPr/>
        </p:nvSpPr>
        <p:spPr>
          <a:xfrm>
            <a:off x="3821708" y="1257050"/>
            <a:ext cx="4456922" cy="271613"/>
          </a:xfrm>
          <a:prstGeom prst="rect">
            <a:avLst/>
          </a:prstGeom>
          <a:noFill/>
        </p:spPr>
        <p:txBody>
          <a:bodyPr wrap="square" lIns="0" tIns="0" rIns="0" bIns="0" rtlCol="0" anchor="t">
            <a:spAutoFit/>
          </a:bodyPr>
          <a:lstStyle/>
          <a:p>
            <a:pPr marL="0" marR="0" lvl="0" indent="0" algn="ctr" defTabSz="750265" rtl="0" eaLnBrk="1" fontAlgn="auto" latinLnBrk="0" hangingPunct="1">
              <a:lnSpc>
                <a:spcPct val="100000"/>
              </a:lnSpc>
              <a:spcBef>
                <a:spcPts val="0"/>
              </a:spcBef>
              <a:spcAft>
                <a:spcPts val="0"/>
              </a:spcAft>
              <a:buClrTx/>
              <a:buSzTx/>
              <a:buFontTx/>
              <a:buNone/>
              <a:tabLst/>
              <a:defRPr/>
            </a:pPr>
            <a:r>
              <a:rPr kumimoji="0" lang="fr-fr" sz="1765" b="0" i="0" u="none" strike="noStrike" kern="1200" cap="none" spc="0" normalizeH="0" baseline="0" noProof="0">
                <a:ln>
                  <a:noFill/>
                </a:ln>
                <a:solidFill>
                  <a:srgbClr val="2A446F"/>
                </a:solidFill>
                <a:effectLst/>
                <a:uLnTx/>
                <a:uFillTx/>
                <a:latin typeface="Segoe UI Semibold"/>
                <a:ea typeface="+mn-ea"/>
                <a:cs typeface="Segoe UI Semibold" panose="020B0702040204020203" pitchFamily="34" charset="0"/>
              </a:rPr>
              <a:t>La plateforme de contrôle pour les agents</a:t>
            </a:r>
          </a:p>
        </p:txBody>
      </p:sp>
      <p:sp>
        <p:nvSpPr>
          <p:cNvPr id="243" name="Freeform 128">
            <a:extLst>
              <a:ext uri="{FF2B5EF4-FFF2-40B4-BE49-F238E27FC236}">
                <a16:creationId xmlns:a16="http://schemas.microsoft.com/office/drawing/2014/main" id="{C48D09F1-7CA4-C815-79F0-050904BF6079}"/>
              </a:ext>
              <a:ext uri="{C183D7F6-B498-43B3-948B-1728B52AA6E4}">
                <adec:decorative xmlns:adec="http://schemas.microsoft.com/office/drawing/2017/decorative" val="1"/>
              </a:ext>
            </a:extLst>
          </p:cNvPr>
          <p:cNvSpPr/>
          <p:nvPr/>
        </p:nvSpPr>
        <p:spPr>
          <a:xfrm>
            <a:off x="10486879" y="4652348"/>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E14C7B"/>
              </a:gs>
              <a:gs pos="17000">
                <a:srgbClr val="B54292">
                  <a:lumMod val="83000"/>
                </a:srgbClr>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3" name="Freeform 138">
            <a:extLst>
              <a:ext uri="{FF2B5EF4-FFF2-40B4-BE49-F238E27FC236}">
                <a16:creationId xmlns:a16="http://schemas.microsoft.com/office/drawing/2014/main" id="{959E803E-FBA4-C62B-E53A-D658723E4702}"/>
              </a:ext>
              <a:ext uri="{C183D7F6-B498-43B3-948B-1728B52AA6E4}">
                <adec:decorative xmlns:adec="http://schemas.microsoft.com/office/drawing/2017/decorative" val="1"/>
              </a:ext>
            </a:extLst>
          </p:cNvPr>
          <p:cNvSpPr/>
          <p:nvPr/>
        </p:nvSpPr>
        <p:spPr>
          <a:xfrm>
            <a:off x="8463962" y="4625283"/>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1" name="Freeform 156">
            <a:extLst>
              <a:ext uri="{FF2B5EF4-FFF2-40B4-BE49-F238E27FC236}">
                <a16:creationId xmlns:a16="http://schemas.microsoft.com/office/drawing/2014/main" id="{50EF0068-73B1-C4E4-C8F7-D605DB18E9EF}"/>
              </a:ext>
              <a:ext uri="{C183D7F6-B498-43B3-948B-1728B52AA6E4}">
                <adec:decorative xmlns:adec="http://schemas.microsoft.com/office/drawing/2017/decorative" val="1"/>
              </a:ext>
            </a:extLst>
          </p:cNvPr>
          <p:cNvSpPr/>
          <p:nvPr/>
        </p:nvSpPr>
        <p:spPr>
          <a:xfrm>
            <a:off x="6071522" y="4307976"/>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4" name="Freeform 159">
            <a:extLst>
              <a:ext uri="{FF2B5EF4-FFF2-40B4-BE49-F238E27FC236}">
                <a16:creationId xmlns:a16="http://schemas.microsoft.com/office/drawing/2014/main" id="{3BCDDCA2-1631-50E8-6206-525AF0C0E03F}"/>
              </a:ext>
              <a:ext uri="{C183D7F6-B498-43B3-948B-1728B52AA6E4}">
                <adec:decorative xmlns:adec="http://schemas.microsoft.com/office/drawing/2017/decorative" val="1"/>
              </a:ext>
            </a:extLst>
          </p:cNvPr>
          <p:cNvSpPr/>
          <p:nvPr/>
        </p:nvSpPr>
        <p:spPr>
          <a:xfrm>
            <a:off x="6916737" y="4332559"/>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3" name="Freeform 168">
            <a:extLst>
              <a:ext uri="{FF2B5EF4-FFF2-40B4-BE49-F238E27FC236}">
                <a16:creationId xmlns:a16="http://schemas.microsoft.com/office/drawing/2014/main" id="{DF3EF058-93EE-42B2-760D-35A65CDD05D4}"/>
              </a:ext>
              <a:ext uri="{C183D7F6-B498-43B3-948B-1728B52AA6E4}">
                <adec:decorative xmlns:adec="http://schemas.microsoft.com/office/drawing/2017/decorative" val="1"/>
              </a:ext>
            </a:extLst>
          </p:cNvPr>
          <p:cNvSpPr/>
          <p:nvPr/>
        </p:nvSpPr>
        <p:spPr>
          <a:xfrm>
            <a:off x="5903564" y="4732120"/>
            <a:ext cx="344060" cy="34396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alpha val="65000"/>
                </a:srgbClr>
              </a:gs>
              <a:gs pos="12000">
                <a:srgbClr val="AC35AF">
                  <a:alpha val="58000"/>
                </a:srgbClr>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308" name="Rectangle: Rounded Corners 307">
            <a:extLst>
              <a:ext uri="{FF2B5EF4-FFF2-40B4-BE49-F238E27FC236}">
                <a16:creationId xmlns:a16="http://schemas.microsoft.com/office/drawing/2014/main" id="{DA88D643-F907-E5D5-BC1C-A227EE1EB197}"/>
              </a:ext>
              <a:ext uri="{C183D7F6-B498-43B3-948B-1728B52AA6E4}">
                <adec:decorative xmlns:adec="http://schemas.microsoft.com/office/drawing/2017/decorative" val="1"/>
              </a:ext>
            </a:extLst>
          </p:cNvPr>
          <p:cNvSpPr>
            <a:spLocks/>
          </p:cNvSpPr>
          <p:nvPr/>
        </p:nvSpPr>
        <p:spPr bwMode="auto">
          <a:xfrm>
            <a:off x="723897" y="4151388"/>
            <a:ext cx="2024482" cy="2036051"/>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09" name="Rectangle: Rounded Corners 308">
            <a:extLst>
              <a:ext uri="{FF2B5EF4-FFF2-40B4-BE49-F238E27FC236}">
                <a16:creationId xmlns:a16="http://schemas.microsoft.com/office/drawing/2014/main" id="{96825CB9-0DE9-13A5-3ECA-ECFC34D143C1}"/>
              </a:ext>
              <a:ext uri="{C183D7F6-B498-43B3-948B-1728B52AA6E4}">
                <adec:decorative xmlns:adec="http://schemas.microsoft.com/office/drawing/2017/decorative" val="1"/>
              </a:ext>
            </a:extLst>
          </p:cNvPr>
          <p:cNvSpPr>
            <a:spLocks/>
          </p:cNvSpPr>
          <p:nvPr/>
        </p:nvSpPr>
        <p:spPr bwMode="auto">
          <a:xfrm>
            <a:off x="2903827" y="4126244"/>
            <a:ext cx="2024482" cy="2061195"/>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10" name="Rectangle: Rounded Corners 309">
            <a:extLst>
              <a:ext uri="{FF2B5EF4-FFF2-40B4-BE49-F238E27FC236}">
                <a16:creationId xmlns:a16="http://schemas.microsoft.com/office/drawing/2014/main" id="{F22AA114-7BE7-0885-135F-B2C4AB971046}"/>
              </a:ext>
              <a:ext uri="{C183D7F6-B498-43B3-948B-1728B52AA6E4}">
                <adec:decorative xmlns:adec="http://schemas.microsoft.com/office/drawing/2017/decorative" val="1"/>
              </a:ext>
            </a:extLst>
          </p:cNvPr>
          <p:cNvSpPr>
            <a:spLocks/>
          </p:cNvSpPr>
          <p:nvPr/>
        </p:nvSpPr>
        <p:spPr bwMode="auto">
          <a:xfrm>
            <a:off x="5083757" y="4126244"/>
            <a:ext cx="2024482" cy="2061195"/>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11" name="Rectangle: Rounded Corners 310">
            <a:extLst>
              <a:ext uri="{FF2B5EF4-FFF2-40B4-BE49-F238E27FC236}">
                <a16:creationId xmlns:a16="http://schemas.microsoft.com/office/drawing/2014/main" id="{6375E91B-0913-9327-4F83-8D56A00A93FB}"/>
              </a:ext>
              <a:ext uri="{C183D7F6-B498-43B3-948B-1728B52AA6E4}">
                <adec:decorative xmlns:adec="http://schemas.microsoft.com/office/drawing/2017/decorative" val="1"/>
              </a:ext>
            </a:extLst>
          </p:cNvPr>
          <p:cNvSpPr>
            <a:spLocks/>
          </p:cNvSpPr>
          <p:nvPr/>
        </p:nvSpPr>
        <p:spPr bwMode="auto">
          <a:xfrm>
            <a:off x="7263687" y="4769972"/>
            <a:ext cx="2024482" cy="1417467"/>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12" name="Rectangle: Rounded Corners 311">
            <a:extLst>
              <a:ext uri="{FF2B5EF4-FFF2-40B4-BE49-F238E27FC236}">
                <a16:creationId xmlns:a16="http://schemas.microsoft.com/office/drawing/2014/main" id="{C5CE28D4-E297-CC5E-863D-18BA6F9EC593}"/>
              </a:ext>
              <a:ext uri="{C183D7F6-B498-43B3-948B-1728B52AA6E4}">
                <adec:decorative xmlns:adec="http://schemas.microsoft.com/office/drawing/2017/decorative" val="1"/>
              </a:ext>
            </a:extLst>
          </p:cNvPr>
          <p:cNvSpPr>
            <a:spLocks/>
          </p:cNvSpPr>
          <p:nvPr/>
        </p:nvSpPr>
        <p:spPr bwMode="auto">
          <a:xfrm>
            <a:off x="9443617" y="4769972"/>
            <a:ext cx="2024482" cy="1417467"/>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grpSp>
        <p:nvGrpSpPr>
          <p:cNvPr id="6" name="Group 5">
            <a:extLst>
              <a:ext uri="{FF2B5EF4-FFF2-40B4-BE49-F238E27FC236}">
                <a16:creationId xmlns:a16="http://schemas.microsoft.com/office/drawing/2014/main" id="{078AC361-DEBE-EAD1-942F-9C2D7EFE4A95}"/>
              </a:ext>
              <a:ext uri="{C183D7F6-B498-43B3-948B-1728B52AA6E4}">
                <adec:decorative xmlns:adec="http://schemas.microsoft.com/office/drawing/2017/decorative" val="1"/>
              </a:ext>
            </a:extLst>
          </p:cNvPr>
          <p:cNvGrpSpPr/>
          <p:nvPr/>
        </p:nvGrpSpPr>
        <p:grpSpPr>
          <a:xfrm>
            <a:off x="1408783" y="3779056"/>
            <a:ext cx="654710" cy="654710"/>
            <a:chOff x="1408783" y="4316018"/>
            <a:chExt cx="654710" cy="654710"/>
          </a:xfrm>
        </p:grpSpPr>
        <p:sp>
          <p:nvSpPr>
            <p:cNvPr id="166" name="Box">
              <a:extLst>
                <a:ext uri="{FF2B5EF4-FFF2-40B4-BE49-F238E27FC236}">
                  <a16:creationId xmlns:a16="http://schemas.microsoft.com/office/drawing/2014/main" id="{62571D0B-0C09-70EC-DC88-E44A7EE976F8}"/>
                </a:ext>
                <a:ext uri="{C183D7F6-B498-43B3-948B-1728B52AA6E4}">
                  <adec:decorative xmlns:adec="http://schemas.microsoft.com/office/drawing/2017/decorative" val="1"/>
                </a:ext>
              </a:extLst>
            </p:cNvPr>
            <p:cNvSpPr>
              <a:spLocks noChangeAspect="1"/>
            </p:cNvSpPr>
            <p:nvPr/>
          </p:nvSpPr>
          <p:spPr bwMode="auto">
            <a:xfrm>
              <a:off x="140878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3" name="Graphic 119">
              <a:extLst>
                <a:ext uri="{FF2B5EF4-FFF2-40B4-BE49-F238E27FC236}">
                  <a16:creationId xmlns:a16="http://schemas.microsoft.com/office/drawing/2014/main" id="{178C40CA-A3DC-AFE1-7676-B3AC8CBBC26F}"/>
                </a:ext>
              </a:extLst>
            </p:cNvPr>
            <p:cNvSpPr/>
            <p:nvPr/>
          </p:nvSpPr>
          <p:spPr>
            <a:xfrm>
              <a:off x="1566340" y="4473576"/>
              <a:ext cx="339598" cy="339596"/>
            </a:xfrm>
            <a:custGeom>
              <a:avLst/>
              <a:gdLst>
                <a:gd name="csX0" fmla="*/ 802316 w 979097"/>
                <a:gd name="csY0" fmla="*/ 0 h 979097"/>
                <a:gd name="csX1" fmla="*/ 979097 w 979097"/>
                <a:gd name="csY1" fmla="*/ 176781 h 979097"/>
                <a:gd name="csX2" fmla="*/ 979097 w 979097"/>
                <a:gd name="csY2" fmla="*/ 802316 h 979097"/>
                <a:gd name="csX3" fmla="*/ 802316 w 979097"/>
                <a:gd name="csY3" fmla="*/ 979097 h 979097"/>
                <a:gd name="csX4" fmla="*/ 176781 w 979097"/>
                <a:gd name="csY4" fmla="*/ 979097 h 979097"/>
                <a:gd name="csX5" fmla="*/ 0 w 979097"/>
                <a:gd name="csY5" fmla="*/ 802316 h 979097"/>
                <a:gd name="csX6" fmla="*/ 0 w 979097"/>
                <a:gd name="csY6" fmla="*/ 176781 h 979097"/>
                <a:gd name="csX7" fmla="*/ 176781 w 979097"/>
                <a:gd name="csY7" fmla="*/ 0 h 979097"/>
                <a:gd name="csX8" fmla="*/ 802316 w 979097"/>
                <a:gd name="csY8" fmla="*/ 0 h 979097"/>
                <a:gd name="csX9" fmla="*/ 802316 w 979097"/>
                <a:gd name="csY9" fmla="*/ 81591 h 979097"/>
                <a:gd name="csX10" fmla="*/ 176781 w 979097"/>
                <a:gd name="csY10" fmla="*/ 81591 h 979097"/>
                <a:gd name="csX11" fmla="*/ 81591 w 979097"/>
                <a:gd name="csY11" fmla="*/ 176781 h 979097"/>
                <a:gd name="csX12" fmla="*/ 81591 w 979097"/>
                <a:gd name="csY12" fmla="*/ 802316 h 979097"/>
                <a:gd name="csX13" fmla="*/ 176781 w 979097"/>
                <a:gd name="csY13" fmla="*/ 897506 h 979097"/>
                <a:gd name="csX14" fmla="*/ 802316 w 979097"/>
                <a:gd name="csY14" fmla="*/ 897506 h 979097"/>
                <a:gd name="csX15" fmla="*/ 897506 w 979097"/>
                <a:gd name="csY15" fmla="*/ 802316 h 979097"/>
                <a:gd name="csX16" fmla="*/ 897506 w 979097"/>
                <a:gd name="csY16" fmla="*/ 176781 h 979097"/>
                <a:gd name="csX17" fmla="*/ 802316 w 979097"/>
                <a:gd name="csY17" fmla="*/ 81591 h 979097"/>
                <a:gd name="csX18" fmla="*/ 258373 w 979097"/>
                <a:gd name="csY18" fmla="*/ 217577 h 979097"/>
                <a:gd name="csX19" fmla="*/ 298796 w 979097"/>
                <a:gd name="csY19" fmla="*/ 252837 h 979097"/>
                <a:gd name="csX20" fmla="*/ 299169 w 979097"/>
                <a:gd name="csY20" fmla="*/ 258373 h 979097"/>
                <a:gd name="csX21" fmla="*/ 299169 w 979097"/>
                <a:gd name="csY21" fmla="*/ 312767 h 979097"/>
                <a:gd name="csX22" fmla="*/ 258373 w 979097"/>
                <a:gd name="csY22" fmla="*/ 353563 h 979097"/>
                <a:gd name="csX23" fmla="*/ 217950 w 979097"/>
                <a:gd name="csY23" fmla="*/ 318303 h 979097"/>
                <a:gd name="csX24" fmla="*/ 217577 w 979097"/>
                <a:gd name="csY24" fmla="*/ 312767 h 979097"/>
                <a:gd name="csX25" fmla="*/ 217577 w 979097"/>
                <a:gd name="csY25" fmla="*/ 258373 h 979097"/>
                <a:gd name="csX26" fmla="*/ 258373 w 979097"/>
                <a:gd name="csY26" fmla="*/ 217577 h 979097"/>
                <a:gd name="csX27" fmla="*/ 298796 w 979097"/>
                <a:gd name="csY27" fmla="*/ 660793 h 979097"/>
                <a:gd name="csX28" fmla="*/ 258373 w 979097"/>
                <a:gd name="csY28" fmla="*/ 625534 h 979097"/>
                <a:gd name="csX29" fmla="*/ 217577 w 979097"/>
                <a:gd name="csY29" fmla="*/ 666330 h 979097"/>
                <a:gd name="csX30" fmla="*/ 217577 w 979097"/>
                <a:gd name="csY30" fmla="*/ 720724 h 979097"/>
                <a:gd name="csX31" fmla="*/ 217950 w 979097"/>
                <a:gd name="csY31" fmla="*/ 726262 h 979097"/>
                <a:gd name="csX32" fmla="*/ 258373 w 979097"/>
                <a:gd name="csY32" fmla="*/ 761520 h 979097"/>
                <a:gd name="csX33" fmla="*/ 299169 w 979097"/>
                <a:gd name="csY33" fmla="*/ 720724 h 979097"/>
                <a:gd name="csX34" fmla="*/ 299169 w 979097"/>
                <a:gd name="csY34" fmla="*/ 666330 h 979097"/>
                <a:gd name="csX35" fmla="*/ 298796 w 979097"/>
                <a:gd name="csY35" fmla="*/ 660793 h 979097"/>
                <a:gd name="csX36" fmla="*/ 299169 w 979097"/>
                <a:gd name="csY36" fmla="*/ 452626 h 979097"/>
                <a:gd name="csX37" fmla="*/ 258745 w 979097"/>
                <a:gd name="csY37" fmla="*/ 417362 h 979097"/>
                <a:gd name="csX38" fmla="*/ 217950 w 979097"/>
                <a:gd name="csY38" fmla="*/ 458158 h 979097"/>
                <a:gd name="csX39" fmla="*/ 217577 w 979097"/>
                <a:gd name="csY39" fmla="*/ 520619 h 979097"/>
                <a:gd name="csX40" fmla="*/ 217950 w 979097"/>
                <a:gd name="csY40" fmla="*/ 526151 h 979097"/>
                <a:gd name="csX41" fmla="*/ 258373 w 979097"/>
                <a:gd name="csY41" fmla="*/ 561414 h 979097"/>
                <a:gd name="csX42" fmla="*/ 299169 w 979097"/>
                <a:gd name="csY42" fmla="*/ 520619 h 979097"/>
                <a:gd name="csX43" fmla="*/ 299541 w 979097"/>
                <a:gd name="csY43" fmla="*/ 458158 h 979097"/>
                <a:gd name="csX44" fmla="*/ 299169 w 979097"/>
                <a:gd name="csY44" fmla="*/ 452626 h 97909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Lst>
              <a:rect l="l" t="t" r="r" b="b"/>
              <a:pathLst>
                <a:path w="979097" h="979097">
                  <a:moveTo>
                    <a:pt x="802316" y="0"/>
                  </a:moveTo>
                  <a:cubicBezTo>
                    <a:pt x="899948" y="0"/>
                    <a:pt x="979097" y="79148"/>
                    <a:pt x="979097" y="176781"/>
                  </a:cubicBezTo>
                  <a:lnTo>
                    <a:pt x="979097" y="802316"/>
                  </a:lnTo>
                  <a:cubicBezTo>
                    <a:pt x="979097" y="899948"/>
                    <a:pt x="899948" y="979097"/>
                    <a:pt x="802316" y="979097"/>
                  </a:cubicBezTo>
                  <a:lnTo>
                    <a:pt x="176781" y="979097"/>
                  </a:lnTo>
                  <a:cubicBezTo>
                    <a:pt x="79148" y="979097"/>
                    <a:pt x="0" y="899948"/>
                    <a:pt x="0" y="802316"/>
                  </a:cubicBezTo>
                  <a:lnTo>
                    <a:pt x="0" y="176781"/>
                  </a:lnTo>
                  <a:cubicBezTo>
                    <a:pt x="0" y="79148"/>
                    <a:pt x="79148" y="0"/>
                    <a:pt x="176781" y="0"/>
                  </a:cubicBezTo>
                  <a:lnTo>
                    <a:pt x="802316" y="0"/>
                  </a:lnTo>
                  <a:close/>
                  <a:moveTo>
                    <a:pt x="802316" y="81591"/>
                  </a:moveTo>
                  <a:lnTo>
                    <a:pt x="176781" y="81591"/>
                  </a:lnTo>
                  <a:cubicBezTo>
                    <a:pt x="124209" y="81591"/>
                    <a:pt x="81591" y="124209"/>
                    <a:pt x="81591" y="176781"/>
                  </a:cubicBezTo>
                  <a:lnTo>
                    <a:pt x="81591" y="802316"/>
                  </a:lnTo>
                  <a:cubicBezTo>
                    <a:pt x="81591" y="854888"/>
                    <a:pt x="124209" y="897506"/>
                    <a:pt x="176781" y="897506"/>
                  </a:cubicBezTo>
                  <a:lnTo>
                    <a:pt x="802316" y="897506"/>
                  </a:lnTo>
                  <a:cubicBezTo>
                    <a:pt x="854888" y="897506"/>
                    <a:pt x="897506" y="854888"/>
                    <a:pt x="897506" y="802316"/>
                  </a:cubicBezTo>
                  <a:lnTo>
                    <a:pt x="897506" y="176781"/>
                  </a:lnTo>
                  <a:cubicBezTo>
                    <a:pt x="897506" y="124209"/>
                    <a:pt x="854888" y="81591"/>
                    <a:pt x="802316" y="81591"/>
                  </a:cubicBezTo>
                  <a:close/>
                  <a:moveTo>
                    <a:pt x="258373" y="217577"/>
                  </a:moveTo>
                  <a:cubicBezTo>
                    <a:pt x="279026" y="217577"/>
                    <a:pt x="296095" y="232925"/>
                    <a:pt x="298796" y="252837"/>
                  </a:cubicBezTo>
                  <a:lnTo>
                    <a:pt x="299169" y="258373"/>
                  </a:lnTo>
                  <a:lnTo>
                    <a:pt x="299169" y="312767"/>
                  </a:lnTo>
                  <a:cubicBezTo>
                    <a:pt x="299169" y="335298"/>
                    <a:pt x="280904" y="353563"/>
                    <a:pt x="258373" y="353563"/>
                  </a:cubicBezTo>
                  <a:cubicBezTo>
                    <a:pt x="237719" y="353563"/>
                    <a:pt x="220651" y="338216"/>
                    <a:pt x="217950" y="318303"/>
                  </a:cubicBezTo>
                  <a:lnTo>
                    <a:pt x="217577" y="312767"/>
                  </a:lnTo>
                  <a:lnTo>
                    <a:pt x="217577" y="258373"/>
                  </a:lnTo>
                  <a:cubicBezTo>
                    <a:pt x="217577" y="235842"/>
                    <a:pt x="235842" y="217577"/>
                    <a:pt x="258373" y="217577"/>
                  </a:cubicBezTo>
                  <a:close/>
                  <a:moveTo>
                    <a:pt x="298796" y="660793"/>
                  </a:moveTo>
                  <a:cubicBezTo>
                    <a:pt x="296095" y="640884"/>
                    <a:pt x="279026" y="625534"/>
                    <a:pt x="258373" y="625534"/>
                  </a:cubicBezTo>
                  <a:cubicBezTo>
                    <a:pt x="235842" y="625534"/>
                    <a:pt x="217577" y="643800"/>
                    <a:pt x="217577" y="666330"/>
                  </a:cubicBezTo>
                  <a:lnTo>
                    <a:pt x="217577" y="720724"/>
                  </a:lnTo>
                  <a:lnTo>
                    <a:pt x="217950" y="726262"/>
                  </a:lnTo>
                  <a:cubicBezTo>
                    <a:pt x="220651" y="746170"/>
                    <a:pt x="237719" y="761520"/>
                    <a:pt x="258373" y="761520"/>
                  </a:cubicBezTo>
                  <a:cubicBezTo>
                    <a:pt x="280904" y="761520"/>
                    <a:pt x="299169" y="743255"/>
                    <a:pt x="299169" y="720724"/>
                  </a:cubicBezTo>
                  <a:lnTo>
                    <a:pt x="299169" y="666330"/>
                  </a:lnTo>
                  <a:lnTo>
                    <a:pt x="298796" y="660793"/>
                  </a:lnTo>
                  <a:close/>
                  <a:moveTo>
                    <a:pt x="299169" y="452626"/>
                  </a:moveTo>
                  <a:cubicBezTo>
                    <a:pt x="296467" y="432712"/>
                    <a:pt x="279398" y="417362"/>
                    <a:pt x="258745" y="417362"/>
                  </a:cubicBezTo>
                  <a:cubicBezTo>
                    <a:pt x="236214" y="417362"/>
                    <a:pt x="217950" y="435628"/>
                    <a:pt x="217950" y="458158"/>
                  </a:cubicBezTo>
                  <a:lnTo>
                    <a:pt x="217577" y="520619"/>
                  </a:lnTo>
                  <a:lnTo>
                    <a:pt x="217950" y="526151"/>
                  </a:lnTo>
                  <a:cubicBezTo>
                    <a:pt x="220651" y="546064"/>
                    <a:pt x="237719" y="561414"/>
                    <a:pt x="258373" y="561414"/>
                  </a:cubicBezTo>
                  <a:cubicBezTo>
                    <a:pt x="280904" y="561414"/>
                    <a:pt x="299169" y="543149"/>
                    <a:pt x="299169" y="520619"/>
                  </a:cubicBezTo>
                  <a:lnTo>
                    <a:pt x="299541" y="458158"/>
                  </a:lnTo>
                  <a:lnTo>
                    <a:pt x="299169" y="452626"/>
                  </a:lnTo>
                  <a:close/>
                </a:path>
              </a:pathLst>
            </a:custGeom>
            <a:solidFill>
              <a:schemeClr val="tx1"/>
            </a:solidFill>
            <a:ln w="54372" cap="flat">
              <a:noFill/>
              <a:prstDash val="solid"/>
              <a:miter/>
            </a:ln>
          </p:spPr>
          <p:txBody>
            <a:bodyPr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C50DB3BA-74CE-9F86-294B-17FF1FE7786D}"/>
              </a:ext>
              <a:ext uri="{C183D7F6-B498-43B3-948B-1728B52AA6E4}">
                <adec:decorative xmlns:adec="http://schemas.microsoft.com/office/drawing/2017/decorative" val="1"/>
              </a:ext>
            </a:extLst>
          </p:cNvPr>
          <p:cNvGrpSpPr/>
          <p:nvPr/>
        </p:nvGrpSpPr>
        <p:grpSpPr>
          <a:xfrm>
            <a:off x="7948573" y="4477566"/>
            <a:ext cx="654710" cy="654710"/>
            <a:chOff x="7948573" y="4316018"/>
            <a:chExt cx="654710" cy="654710"/>
          </a:xfrm>
        </p:grpSpPr>
        <p:sp>
          <p:nvSpPr>
            <p:cNvPr id="169" name="Box">
              <a:extLst>
                <a:ext uri="{FF2B5EF4-FFF2-40B4-BE49-F238E27FC236}">
                  <a16:creationId xmlns:a16="http://schemas.microsoft.com/office/drawing/2014/main" id="{58E2E006-48F7-A89E-B813-708EC5E9722D}"/>
                </a:ext>
                <a:ext uri="{C183D7F6-B498-43B3-948B-1728B52AA6E4}">
                  <adec:decorative xmlns:adec="http://schemas.microsoft.com/office/drawing/2017/decorative" val="1"/>
                </a:ext>
              </a:extLst>
            </p:cNvPr>
            <p:cNvSpPr>
              <a:spLocks noChangeAspect="1"/>
            </p:cNvSpPr>
            <p:nvPr/>
          </p:nvSpPr>
          <p:spPr bwMode="auto">
            <a:xfrm>
              <a:off x="794857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4" name="Graphic 16">
              <a:extLst>
                <a:ext uri="{FF2B5EF4-FFF2-40B4-BE49-F238E27FC236}">
                  <a16:creationId xmlns:a16="http://schemas.microsoft.com/office/drawing/2014/main" id="{A013B808-9546-90DA-3828-2E8CEA43163E}"/>
                </a:ext>
              </a:extLst>
            </p:cNvPr>
            <p:cNvSpPr/>
            <p:nvPr/>
          </p:nvSpPr>
          <p:spPr>
            <a:xfrm>
              <a:off x="8111874" y="4479321"/>
              <a:ext cx="328108" cy="328106"/>
            </a:xfrm>
            <a:custGeom>
              <a:avLst/>
              <a:gdLst>
                <a:gd name="csX0" fmla="*/ 179785 w 1118663"/>
                <a:gd name="csY0" fmla="*/ 79905 h 1118663"/>
                <a:gd name="csX1" fmla="*/ 79905 w 1118663"/>
                <a:gd name="csY1" fmla="*/ 179785 h 1118663"/>
                <a:gd name="csX2" fmla="*/ 179785 w 1118663"/>
                <a:gd name="csY2" fmla="*/ 279666 h 1118663"/>
                <a:gd name="csX3" fmla="*/ 279666 w 1118663"/>
                <a:gd name="csY3" fmla="*/ 179785 h 1118663"/>
                <a:gd name="csX4" fmla="*/ 179785 w 1118663"/>
                <a:gd name="csY4" fmla="*/ 79905 h 1118663"/>
                <a:gd name="csX5" fmla="*/ 0 w 1118663"/>
                <a:gd name="csY5" fmla="*/ 179785 h 1118663"/>
                <a:gd name="csX6" fmla="*/ 179785 w 1118663"/>
                <a:gd name="csY6" fmla="*/ 0 h 1118663"/>
                <a:gd name="csX7" fmla="*/ 359571 w 1118663"/>
                <a:gd name="csY7" fmla="*/ 179785 h 1118663"/>
                <a:gd name="csX8" fmla="*/ 332003 w 1118663"/>
                <a:gd name="csY8" fmla="*/ 275501 h 1118663"/>
                <a:gd name="csX9" fmla="*/ 463618 w 1118663"/>
                <a:gd name="csY9" fmla="*/ 407114 h 1118663"/>
                <a:gd name="csX10" fmla="*/ 559332 w 1118663"/>
                <a:gd name="csY10" fmla="*/ 379547 h 1118663"/>
                <a:gd name="csX11" fmla="*/ 655046 w 1118663"/>
                <a:gd name="csY11" fmla="*/ 407114 h 1118663"/>
                <a:gd name="csX12" fmla="*/ 786660 w 1118663"/>
                <a:gd name="csY12" fmla="*/ 275501 h 1118663"/>
                <a:gd name="csX13" fmla="*/ 759093 w 1118663"/>
                <a:gd name="csY13" fmla="*/ 179785 h 1118663"/>
                <a:gd name="csX14" fmla="*/ 938879 w 1118663"/>
                <a:gd name="csY14" fmla="*/ 0 h 1118663"/>
                <a:gd name="csX15" fmla="*/ 1118664 w 1118663"/>
                <a:gd name="csY15" fmla="*/ 179785 h 1118663"/>
                <a:gd name="csX16" fmla="*/ 938879 w 1118663"/>
                <a:gd name="csY16" fmla="*/ 359571 h 1118663"/>
                <a:gd name="csX17" fmla="*/ 843165 w 1118663"/>
                <a:gd name="csY17" fmla="*/ 332003 h 1118663"/>
                <a:gd name="csX18" fmla="*/ 711550 w 1118663"/>
                <a:gd name="csY18" fmla="*/ 463618 h 1118663"/>
                <a:gd name="csX19" fmla="*/ 739117 w 1118663"/>
                <a:gd name="csY19" fmla="*/ 559332 h 1118663"/>
                <a:gd name="csX20" fmla="*/ 711550 w 1118663"/>
                <a:gd name="csY20" fmla="*/ 655046 h 1118663"/>
                <a:gd name="csX21" fmla="*/ 843165 w 1118663"/>
                <a:gd name="csY21" fmla="*/ 786660 h 1118663"/>
                <a:gd name="csX22" fmla="*/ 938879 w 1118663"/>
                <a:gd name="csY22" fmla="*/ 759093 h 1118663"/>
                <a:gd name="csX23" fmla="*/ 1118664 w 1118663"/>
                <a:gd name="csY23" fmla="*/ 938879 h 1118663"/>
                <a:gd name="csX24" fmla="*/ 938879 w 1118663"/>
                <a:gd name="csY24" fmla="*/ 1118664 h 1118663"/>
                <a:gd name="csX25" fmla="*/ 759093 w 1118663"/>
                <a:gd name="csY25" fmla="*/ 938879 h 1118663"/>
                <a:gd name="csX26" fmla="*/ 786660 w 1118663"/>
                <a:gd name="csY26" fmla="*/ 843165 h 1118663"/>
                <a:gd name="csX27" fmla="*/ 655046 w 1118663"/>
                <a:gd name="csY27" fmla="*/ 711550 h 1118663"/>
                <a:gd name="csX28" fmla="*/ 559332 w 1118663"/>
                <a:gd name="csY28" fmla="*/ 739117 h 1118663"/>
                <a:gd name="csX29" fmla="*/ 463618 w 1118663"/>
                <a:gd name="csY29" fmla="*/ 711550 h 1118663"/>
                <a:gd name="csX30" fmla="*/ 332003 w 1118663"/>
                <a:gd name="csY30" fmla="*/ 843165 h 1118663"/>
                <a:gd name="csX31" fmla="*/ 359571 w 1118663"/>
                <a:gd name="csY31" fmla="*/ 938879 h 1118663"/>
                <a:gd name="csX32" fmla="*/ 179785 w 1118663"/>
                <a:gd name="csY32" fmla="*/ 1118664 h 1118663"/>
                <a:gd name="csX33" fmla="*/ 0 w 1118663"/>
                <a:gd name="csY33" fmla="*/ 938879 h 1118663"/>
                <a:gd name="csX34" fmla="*/ 179785 w 1118663"/>
                <a:gd name="csY34" fmla="*/ 759093 h 1118663"/>
                <a:gd name="csX35" fmla="*/ 275501 w 1118663"/>
                <a:gd name="csY35" fmla="*/ 786660 h 1118663"/>
                <a:gd name="csX36" fmla="*/ 407114 w 1118663"/>
                <a:gd name="csY36" fmla="*/ 655046 h 1118663"/>
                <a:gd name="csX37" fmla="*/ 379547 w 1118663"/>
                <a:gd name="csY37" fmla="*/ 559332 h 1118663"/>
                <a:gd name="csX38" fmla="*/ 407114 w 1118663"/>
                <a:gd name="csY38" fmla="*/ 463618 h 1118663"/>
                <a:gd name="csX39" fmla="*/ 275501 w 1118663"/>
                <a:gd name="csY39" fmla="*/ 332003 h 1118663"/>
                <a:gd name="csX40" fmla="*/ 179785 w 1118663"/>
                <a:gd name="csY40" fmla="*/ 359571 h 1118663"/>
                <a:gd name="csX41" fmla="*/ 0 w 1118663"/>
                <a:gd name="csY41" fmla="*/ 179785 h 1118663"/>
                <a:gd name="csX42" fmla="*/ 938879 w 1118663"/>
                <a:gd name="csY42" fmla="*/ 79905 h 1118663"/>
                <a:gd name="csX43" fmla="*/ 838998 w 1118663"/>
                <a:gd name="csY43" fmla="*/ 179785 h 1118663"/>
                <a:gd name="csX44" fmla="*/ 938879 w 1118663"/>
                <a:gd name="csY44" fmla="*/ 279666 h 1118663"/>
                <a:gd name="csX45" fmla="*/ 1038759 w 1118663"/>
                <a:gd name="csY45" fmla="*/ 179785 h 1118663"/>
                <a:gd name="csX46" fmla="*/ 938879 w 1118663"/>
                <a:gd name="csY46" fmla="*/ 79905 h 1118663"/>
                <a:gd name="csX47" fmla="*/ 79905 w 1118663"/>
                <a:gd name="csY47" fmla="*/ 938879 h 1118663"/>
                <a:gd name="csX48" fmla="*/ 179785 w 1118663"/>
                <a:gd name="csY48" fmla="*/ 1038759 h 1118663"/>
                <a:gd name="csX49" fmla="*/ 279666 w 1118663"/>
                <a:gd name="csY49" fmla="*/ 938879 h 1118663"/>
                <a:gd name="csX50" fmla="*/ 179785 w 1118663"/>
                <a:gd name="csY50" fmla="*/ 838998 h 1118663"/>
                <a:gd name="csX51" fmla="*/ 79905 w 1118663"/>
                <a:gd name="csY51" fmla="*/ 938879 h 1118663"/>
                <a:gd name="csX52" fmla="*/ 559332 w 1118663"/>
                <a:gd name="csY52" fmla="*/ 459451 h 1118663"/>
                <a:gd name="csX53" fmla="*/ 459451 w 1118663"/>
                <a:gd name="csY53" fmla="*/ 559332 h 1118663"/>
                <a:gd name="csX54" fmla="*/ 559332 w 1118663"/>
                <a:gd name="csY54" fmla="*/ 659213 h 1118663"/>
                <a:gd name="csX55" fmla="*/ 659213 w 1118663"/>
                <a:gd name="csY55" fmla="*/ 559332 h 1118663"/>
                <a:gd name="csX56" fmla="*/ 559332 w 1118663"/>
                <a:gd name="csY56" fmla="*/ 459451 h 1118663"/>
                <a:gd name="csX57" fmla="*/ 838998 w 1118663"/>
                <a:gd name="csY57" fmla="*/ 938879 h 1118663"/>
                <a:gd name="csX58" fmla="*/ 938879 w 1118663"/>
                <a:gd name="csY58" fmla="*/ 1038759 h 1118663"/>
                <a:gd name="csX59" fmla="*/ 1038759 w 1118663"/>
                <a:gd name="csY59" fmla="*/ 938879 h 1118663"/>
                <a:gd name="csX60" fmla="*/ 938879 w 1118663"/>
                <a:gd name="csY60" fmla="*/ 838998 h 1118663"/>
                <a:gd name="csX61" fmla="*/ 838998 w 1118663"/>
                <a:gd name="csY61" fmla="*/ 938879 h 111866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Lst>
              <a:rect l="l" t="t" r="r" b="b"/>
              <a:pathLst>
                <a:path w="1118663" h="1118663">
                  <a:moveTo>
                    <a:pt x="179785" y="79905"/>
                  </a:moveTo>
                  <a:cubicBezTo>
                    <a:pt x="124623" y="79905"/>
                    <a:pt x="79905" y="124623"/>
                    <a:pt x="79905" y="179785"/>
                  </a:cubicBezTo>
                  <a:cubicBezTo>
                    <a:pt x="79905" y="234948"/>
                    <a:pt x="124623" y="279666"/>
                    <a:pt x="179785" y="279666"/>
                  </a:cubicBezTo>
                  <a:cubicBezTo>
                    <a:pt x="234948" y="279666"/>
                    <a:pt x="279666" y="234948"/>
                    <a:pt x="279666" y="179785"/>
                  </a:cubicBezTo>
                  <a:cubicBezTo>
                    <a:pt x="279666" y="124623"/>
                    <a:pt x="234948" y="79905"/>
                    <a:pt x="179785" y="79905"/>
                  </a:cubicBezTo>
                  <a:close/>
                  <a:moveTo>
                    <a:pt x="0" y="179785"/>
                  </a:moveTo>
                  <a:cubicBezTo>
                    <a:pt x="0" y="80493"/>
                    <a:pt x="80493" y="0"/>
                    <a:pt x="179785" y="0"/>
                  </a:cubicBezTo>
                  <a:cubicBezTo>
                    <a:pt x="279078" y="0"/>
                    <a:pt x="359571" y="80493"/>
                    <a:pt x="359571" y="179785"/>
                  </a:cubicBezTo>
                  <a:cubicBezTo>
                    <a:pt x="359571" y="214965"/>
                    <a:pt x="349467" y="247784"/>
                    <a:pt x="332003" y="275501"/>
                  </a:cubicBezTo>
                  <a:lnTo>
                    <a:pt x="463618" y="407114"/>
                  </a:lnTo>
                  <a:cubicBezTo>
                    <a:pt x="491333" y="389651"/>
                    <a:pt x="524154" y="379547"/>
                    <a:pt x="559332" y="379547"/>
                  </a:cubicBezTo>
                  <a:cubicBezTo>
                    <a:pt x="594510" y="379547"/>
                    <a:pt x="627331" y="389651"/>
                    <a:pt x="655046" y="407114"/>
                  </a:cubicBezTo>
                  <a:lnTo>
                    <a:pt x="786660" y="275501"/>
                  </a:lnTo>
                  <a:cubicBezTo>
                    <a:pt x="769197" y="247784"/>
                    <a:pt x="759093" y="214965"/>
                    <a:pt x="759093" y="179785"/>
                  </a:cubicBezTo>
                  <a:cubicBezTo>
                    <a:pt x="759093" y="80493"/>
                    <a:pt x="839585" y="0"/>
                    <a:pt x="938879" y="0"/>
                  </a:cubicBezTo>
                  <a:cubicBezTo>
                    <a:pt x="1038172" y="0"/>
                    <a:pt x="1118664" y="80493"/>
                    <a:pt x="1118664" y="179785"/>
                  </a:cubicBezTo>
                  <a:cubicBezTo>
                    <a:pt x="1118664" y="279078"/>
                    <a:pt x="1038172" y="359571"/>
                    <a:pt x="938879" y="359571"/>
                  </a:cubicBezTo>
                  <a:cubicBezTo>
                    <a:pt x="903701" y="359571"/>
                    <a:pt x="870880" y="349467"/>
                    <a:pt x="843165" y="332003"/>
                  </a:cubicBezTo>
                  <a:lnTo>
                    <a:pt x="711550" y="463618"/>
                  </a:lnTo>
                  <a:cubicBezTo>
                    <a:pt x="729013" y="491333"/>
                    <a:pt x="739117" y="524154"/>
                    <a:pt x="739117" y="559332"/>
                  </a:cubicBezTo>
                  <a:cubicBezTo>
                    <a:pt x="739117" y="594510"/>
                    <a:pt x="729013" y="627331"/>
                    <a:pt x="711550" y="655046"/>
                  </a:cubicBezTo>
                  <a:lnTo>
                    <a:pt x="843165" y="786660"/>
                  </a:lnTo>
                  <a:cubicBezTo>
                    <a:pt x="870880" y="769197"/>
                    <a:pt x="903701" y="759093"/>
                    <a:pt x="938879" y="759093"/>
                  </a:cubicBezTo>
                  <a:cubicBezTo>
                    <a:pt x="1038172" y="759093"/>
                    <a:pt x="1118664" y="839585"/>
                    <a:pt x="1118664" y="938879"/>
                  </a:cubicBezTo>
                  <a:cubicBezTo>
                    <a:pt x="1118664" y="1038172"/>
                    <a:pt x="1038172" y="1118664"/>
                    <a:pt x="938879" y="1118664"/>
                  </a:cubicBezTo>
                  <a:cubicBezTo>
                    <a:pt x="839585" y="1118664"/>
                    <a:pt x="759093" y="1038172"/>
                    <a:pt x="759093" y="938879"/>
                  </a:cubicBezTo>
                  <a:cubicBezTo>
                    <a:pt x="759093" y="903701"/>
                    <a:pt x="769197" y="870880"/>
                    <a:pt x="786660" y="843165"/>
                  </a:cubicBezTo>
                  <a:lnTo>
                    <a:pt x="655046" y="711550"/>
                  </a:lnTo>
                  <a:cubicBezTo>
                    <a:pt x="627331" y="729013"/>
                    <a:pt x="594510" y="739117"/>
                    <a:pt x="559332" y="739117"/>
                  </a:cubicBezTo>
                  <a:cubicBezTo>
                    <a:pt x="524154" y="739117"/>
                    <a:pt x="491333" y="729013"/>
                    <a:pt x="463618" y="711550"/>
                  </a:cubicBezTo>
                  <a:lnTo>
                    <a:pt x="332003" y="843165"/>
                  </a:lnTo>
                  <a:cubicBezTo>
                    <a:pt x="349467" y="870880"/>
                    <a:pt x="359571" y="903701"/>
                    <a:pt x="359571" y="938879"/>
                  </a:cubicBezTo>
                  <a:cubicBezTo>
                    <a:pt x="359571" y="1038172"/>
                    <a:pt x="279078" y="1118664"/>
                    <a:pt x="179785" y="1118664"/>
                  </a:cubicBezTo>
                  <a:cubicBezTo>
                    <a:pt x="80493" y="1118664"/>
                    <a:pt x="0" y="1038172"/>
                    <a:pt x="0" y="938879"/>
                  </a:cubicBezTo>
                  <a:cubicBezTo>
                    <a:pt x="0" y="839585"/>
                    <a:pt x="80493" y="759093"/>
                    <a:pt x="179785" y="759093"/>
                  </a:cubicBezTo>
                  <a:cubicBezTo>
                    <a:pt x="214965" y="759093"/>
                    <a:pt x="247784" y="769197"/>
                    <a:pt x="275501" y="786660"/>
                  </a:cubicBezTo>
                  <a:lnTo>
                    <a:pt x="407114" y="655046"/>
                  </a:lnTo>
                  <a:cubicBezTo>
                    <a:pt x="389651" y="627331"/>
                    <a:pt x="379547" y="594510"/>
                    <a:pt x="379547" y="559332"/>
                  </a:cubicBezTo>
                  <a:cubicBezTo>
                    <a:pt x="379547" y="524154"/>
                    <a:pt x="389651" y="491333"/>
                    <a:pt x="407114" y="463618"/>
                  </a:cubicBezTo>
                  <a:lnTo>
                    <a:pt x="275501" y="332003"/>
                  </a:lnTo>
                  <a:cubicBezTo>
                    <a:pt x="247784" y="349467"/>
                    <a:pt x="214965" y="359571"/>
                    <a:pt x="179785" y="359571"/>
                  </a:cubicBezTo>
                  <a:cubicBezTo>
                    <a:pt x="80493" y="359571"/>
                    <a:pt x="0" y="279078"/>
                    <a:pt x="0" y="179785"/>
                  </a:cubicBezTo>
                  <a:close/>
                  <a:moveTo>
                    <a:pt x="938879" y="79905"/>
                  </a:moveTo>
                  <a:cubicBezTo>
                    <a:pt x="883717" y="79905"/>
                    <a:pt x="838998" y="124623"/>
                    <a:pt x="838998" y="179785"/>
                  </a:cubicBezTo>
                  <a:cubicBezTo>
                    <a:pt x="838998" y="234948"/>
                    <a:pt x="883717" y="279666"/>
                    <a:pt x="938879" y="279666"/>
                  </a:cubicBezTo>
                  <a:cubicBezTo>
                    <a:pt x="994041" y="279666"/>
                    <a:pt x="1038759" y="234948"/>
                    <a:pt x="1038759" y="179785"/>
                  </a:cubicBezTo>
                  <a:cubicBezTo>
                    <a:pt x="1038759" y="124623"/>
                    <a:pt x="994041" y="79905"/>
                    <a:pt x="938879" y="79905"/>
                  </a:cubicBezTo>
                  <a:close/>
                  <a:moveTo>
                    <a:pt x="79905" y="938879"/>
                  </a:moveTo>
                  <a:cubicBezTo>
                    <a:pt x="79905" y="994041"/>
                    <a:pt x="124623" y="1038759"/>
                    <a:pt x="179785" y="1038759"/>
                  </a:cubicBezTo>
                  <a:cubicBezTo>
                    <a:pt x="234948" y="1038759"/>
                    <a:pt x="279666" y="994041"/>
                    <a:pt x="279666" y="938879"/>
                  </a:cubicBezTo>
                  <a:cubicBezTo>
                    <a:pt x="279666" y="883717"/>
                    <a:pt x="234948" y="838998"/>
                    <a:pt x="179785" y="838998"/>
                  </a:cubicBezTo>
                  <a:cubicBezTo>
                    <a:pt x="124623" y="838998"/>
                    <a:pt x="79905" y="883717"/>
                    <a:pt x="79905" y="938879"/>
                  </a:cubicBezTo>
                  <a:close/>
                  <a:moveTo>
                    <a:pt x="559332" y="459451"/>
                  </a:moveTo>
                  <a:cubicBezTo>
                    <a:pt x="504170" y="459451"/>
                    <a:pt x="459451" y="504170"/>
                    <a:pt x="459451" y="559332"/>
                  </a:cubicBezTo>
                  <a:cubicBezTo>
                    <a:pt x="459451" y="614494"/>
                    <a:pt x="504170" y="659213"/>
                    <a:pt x="559332" y="659213"/>
                  </a:cubicBezTo>
                  <a:cubicBezTo>
                    <a:pt x="614494" y="659213"/>
                    <a:pt x="659213" y="614494"/>
                    <a:pt x="659213" y="559332"/>
                  </a:cubicBezTo>
                  <a:cubicBezTo>
                    <a:pt x="659213" y="504170"/>
                    <a:pt x="614494" y="459451"/>
                    <a:pt x="559332" y="459451"/>
                  </a:cubicBezTo>
                  <a:close/>
                  <a:moveTo>
                    <a:pt x="838998" y="938879"/>
                  </a:moveTo>
                  <a:cubicBezTo>
                    <a:pt x="838998" y="994041"/>
                    <a:pt x="883717" y="1038759"/>
                    <a:pt x="938879" y="1038759"/>
                  </a:cubicBezTo>
                  <a:cubicBezTo>
                    <a:pt x="994041" y="1038759"/>
                    <a:pt x="1038759" y="994041"/>
                    <a:pt x="1038759" y="938879"/>
                  </a:cubicBezTo>
                  <a:cubicBezTo>
                    <a:pt x="1038759" y="883717"/>
                    <a:pt x="994041" y="838998"/>
                    <a:pt x="938879" y="838998"/>
                  </a:cubicBezTo>
                  <a:cubicBezTo>
                    <a:pt x="883717" y="838998"/>
                    <a:pt x="838998" y="883717"/>
                    <a:pt x="838998" y="938879"/>
                  </a:cubicBezTo>
                  <a:close/>
                </a:path>
              </a:pathLst>
            </a:custGeom>
            <a:solidFill>
              <a:schemeClr val="tx1"/>
            </a:solidFill>
            <a:ln w="39886"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9E88B404-96EB-7821-FAD8-77056101A002}"/>
              </a:ext>
              <a:ext uri="{C183D7F6-B498-43B3-948B-1728B52AA6E4}">
                <adec:decorative xmlns:adec="http://schemas.microsoft.com/office/drawing/2017/decorative" val="1"/>
              </a:ext>
            </a:extLst>
          </p:cNvPr>
          <p:cNvGrpSpPr/>
          <p:nvPr/>
        </p:nvGrpSpPr>
        <p:grpSpPr>
          <a:xfrm>
            <a:off x="5768643" y="3769313"/>
            <a:ext cx="654710" cy="654710"/>
            <a:chOff x="5768643" y="4316018"/>
            <a:chExt cx="654710" cy="654710"/>
          </a:xfrm>
        </p:grpSpPr>
        <p:sp>
          <p:nvSpPr>
            <p:cNvPr id="168" name="Box">
              <a:extLst>
                <a:ext uri="{FF2B5EF4-FFF2-40B4-BE49-F238E27FC236}">
                  <a16:creationId xmlns:a16="http://schemas.microsoft.com/office/drawing/2014/main" id="{D03D207C-8B6C-9E70-67AB-1EDE15D29BD2}"/>
                </a:ext>
                <a:ext uri="{C183D7F6-B498-43B3-948B-1728B52AA6E4}">
                  <adec:decorative xmlns:adec="http://schemas.microsoft.com/office/drawing/2017/decorative" val="1"/>
                </a:ext>
              </a:extLst>
            </p:cNvPr>
            <p:cNvSpPr>
              <a:spLocks noChangeAspect="1"/>
            </p:cNvSpPr>
            <p:nvPr/>
          </p:nvSpPr>
          <p:spPr bwMode="auto">
            <a:xfrm>
              <a:off x="576864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5" name="Graphic 23">
              <a:extLst>
                <a:ext uri="{FF2B5EF4-FFF2-40B4-BE49-F238E27FC236}">
                  <a16:creationId xmlns:a16="http://schemas.microsoft.com/office/drawing/2014/main" id="{A153211A-158B-98F0-3F36-CAE3B00444AC}"/>
                </a:ext>
              </a:extLst>
            </p:cNvPr>
            <p:cNvSpPr/>
            <p:nvPr/>
          </p:nvSpPr>
          <p:spPr>
            <a:xfrm>
              <a:off x="5918190" y="4456447"/>
              <a:ext cx="355616" cy="373852"/>
            </a:xfrm>
            <a:custGeom>
              <a:avLst/>
              <a:gdLst>
                <a:gd name="csX0" fmla="*/ 656957 w 1075017"/>
                <a:gd name="csY0" fmla="*/ 333865 h 1130146"/>
                <a:gd name="csX1" fmla="*/ 644752 w 1075017"/>
                <a:gd name="csY1" fmla="*/ 319983 h 1130146"/>
                <a:gd name="csX2" fmla="*/ 586808 w 1075017"/>
                <a:gd name="csY2" fmla="*/ 284119 h 1130146"/>
                <a:gd name="csX3" fmla="*/ 515071 w 1075017"/>
                <a:gd name="csY3" fmla="*/ 260821 h 1130146"/>
                <a:gd name="csX4" fmla="*/ 501366 w 1075017"/>
                <a:gd name="csY4" fmla="*/ 250474 h 1130146"/>
                <a:gd name="csX5" fmla="*/ 496162 w 1075017"/>
                <a:gd name="csY5" fmla="*/ 234120 h 1130146"/>
                <a:gd name="csX6" fmla="*/ 501366 w 1075017"/>
                <a:gd name="csY6" fmla="*/ 217764 h 1130146"/>
                <a:gd name="csX7" fmla="*/ 515071 w 1075017"/>
                <a:gd name="csY7" fmla="*/ 207418 h 1130146"/>
                <a:gd name="csX8" fmla="*/ 586808 w 1075017"/>
                <a:gd name="csY8" fmla="*/ 184121 h 1130146"/>
                <a:gd name="csX9" fmla="*/ 643875 w 1075017"/>
                <a:gd name="csY9" fmla="*/ 148148 h 1130146"/>
                <a:gd name="csX10" fmla="*/ 678394 w 1075017"/>
                <a:gd name="csY10" fmla="*/ 92351 h 1130146"/>
                <a:gd name="csX11" fmla="*/ 678990 w 1075017"/>
                <a:gd name="csY11" fmla="*/ 90577 h 1130146"/>
                <a:gd name="csX12" fmla="*/ 702304 w 1075017"/>
                <a:gd name="csY12" fmla="*/ 18895 h 1130146"/>
                <a:gd name="csX13" fmla="*/ 712660 w 1075017"/>
                <a:gd name="csY13" fmla="*/ 5201 h 1130146"/>
                <a:gd name="csX14" fmla="*/ 729028 w 1075017"/>
                <a:gd name="csY14" fmla="*/ 0 h 1130146"/>
                <a:gd name="csX15" fmla="*/ 745393 w 1075017"/>
                <a:gd name="csY15" fmla="*/ 5201 h 1130146"/>
                <a:gd name="csX16" fmla="*/ 755749 w 1075017"/>
                <a:gd name="csY16" fmla="*/ 18895 h 1130146"/>
                <a:gd name="csX17" fmla="*/ 779063 w 1075017"/>
                <a:gd name="csY17" fmla="*/ 90577 h 1130146"/>
                <a:gd name="csX18" fmla="*/ 814800 w 1075017"/>
                <a:gd name="csY18" fmla="*/ 148411 h 1130146"/>
                <a:gd name="csX19" fmla="*/ 872680 w 1075017"/>
                <a:gd name="csY19" fmla="*/ 184121 h 1130146"/>
                <a:gd name="csX20" fmla="*/ 944417 w 1075017"/>
                <a:gd name="csY20" fmla="*/ 207418 h 1130146"/>
                <a:gd name="csX21" fmla="*/ 945850 w 1075017"/>
                <a:gd name="csY21" fmla="*/ 207776 h 1130146"/>
                <a:gd name="csX22" fmla="*/ 959556 w 1075017"/>
                <a:gd name="csY22" fmla="*/ 218123 h 1130146"/>
                <a:gd name="csX23" fmla="*/ 964760 w 1075017"/>
                <a:gd name="csY23" fmla="*/ 234478 h 1130146"/>
                <a:gd name="csX24" fmla="*/ 959556 w 1075017"/>
                <a:gd name="csY24" fmla="*/ 250832 h 1130146"/>
                <a:gd name="csX25" fmla="*/ 945850 w 1075017"/>
                <a:gd name="csY25" fmla="*/ 261180 h 1130146"/>
                <a:gd name="csX26" fmla="*/ 874114 w 1075017"/>
                <a:gd name="csY26" fmla="*/ 284477 h 1130146"/>
                <a:gd name="csX27" fmla="*/ 816236 w 1075017"/>
                <a:gd name="csY27" fmla="*/ 320187 h 1130146"/>
                <a:gd name="csX28" fmla="*/ 780496 w 1075017"/>
                <a:gd name="csY28" fmla="*/ 378020 h 1130146"/>
                <a:gd name="csX29" fmla="*/ 757182 w 1075017"/>
                <a:gd name="csY29" fmla="*/ 449702 h 1130146"/>
                <a:gd name="csX30" fmla="*/ 756493 w 1075017"/>
                <a:gd name="csY30" fmla="*/ 451463 h 1130146"/>
                <a:gd name="csX31" fmla="*/ 746829 w 1075017"/>
                <a:gd name="csY31" fmla="*/ 463396 h 1130146"/>
                <a:gd name="csX32" fmla="*/ 730461 w 1075017"/>
                <a:gd name="csY32" fmla="*/ 468598 h 1130146"/>
                <a:gd name="csX33" fmla="*/ 714093 w 1075017"/>
                <a:gd name="csY33" fmla="*/ 463396 h 1130146"/>
                <a:gd name="csX34" fmla="*/ 703740 w 1075017"/>
                <a:gd name="csY34" fmla="*/ 449702 h 1130146"/>
                <a:gd name="csX35" fmla="*/ 680426 w 1075017"/>
                <a:gd name="csY35" fmla="*/ 378020 h 1130146"/>
                <a:gd name="csX36" fmla="*/ 656957 w 1075017"/>
                <a:gd name="csY36" fmla="*/ 333865 h 1130146"/>
                <a:gd name="csX37" fmla="*/ 1064248 w 1075017"/>
                <a:gd name="csY37" fmla="*/ 523277 h 1130146"/>
                <a:gd name="csX38" fmla="*/ 1026270 w 1075017"/>
                <a:gd name="csY38" fmla="*/ 510945 h 1130146"/>
                <a:gd name="csX39" fmla="*/ 995629 w 1075017"/>
                <a:gd name="csY39" fmla="*/ 492039 h 1130146"/>
                <a:gd name="csX40" fmla="*/ 976709 w 1075017"/>
                <a:gd name="csY40" fmla="*/ 461420 h 1130146"/>
                <a:gd name="csX41" fmla="*/ 964366 w 1075017"/>
                <a:gd name="csY41" fmla="*/ 423472 h 1130146"/>
                <a:gd name="csX42" fmla="*/ 958883 w 1075017"/>
                <a:gd name="csY42" fmla="*/ 416222 h 1130146"/>
                <a:gd name="csX43" fmla="*/ 950217 w 1075017"/>
                <a:gd name="csY43" fmla="*/ 413468 h 1130146"/>
                <a:gd name="csX44" fmla="*/ 941553 w 1075017"/>
                <a:gd name="csY44" fmla="*/ 416222 h 1130146"/>
                <a:gd name="csX45" fmla="*/ 936071 w 1075017"/>
                <a:gd name="csY45" fmla="*/ 423472 h 1130146"/>
                <a:gd name="csX46" fmla="*/ 923727 w 1075017"/>
                <a:gd name="csY46" fmla="*/ 461420 h 1130146"/>
                <a:gd name="csX47" fmla="*/ 905138 w 1075017"/>
                <a:gd name="csY47" fmla="*/ 491901 h 1130146"/>
                <a:gd name="csX48" fmla="*/ 874927 w 1075017"/>
                <a:gd name="csY48" fmla="*/ 510945 h 1130146"/>
                <a:gd name="csX49" fmla="*/ 836948 w 1075017"/>
                <a:gd name="csY49" fmla="*/ 523277 h 1130146"/>
                <a:gd name="csX50" fmla="*/ 829693 w 1075017"/>
                <a:gd name="csY50" fmla="*/ 528754 h 1130146"/>
                <a:gd name="csX51" fmla="*/ 826937 w 1075017"/>
                <a:gd name="csY51" fmla="*/ 537415 h 1130146"/>
                <a:gd name="csX52" fmla="*/ 829693 w 1075017"/>
                <a:gd name="csY52" fmla="*/ 546073 h 1130146"/>
                <a:gd name="csX53" fmla="*/ 836948 w 1075017"/>
                <a:gd name="csY53" fmla="*/ 551550 h 1130146"/>
                <a:gd name="csX54" fmla="*/ 874927 w 1075017"/>
                <a:gd name="csY54" fmla="*/ 563883 h 1130146"/>
                <a:gd name="csX55" fmla="*/ 886992 w 1075017"/>
                <a:gd name="csY55" fmla="*/ 569065 h 1130146"/>
                <a:gd name="csX56" fmla="*/ 887072 w 1075017"/>
                <a:gd name="csY56" fmla="*/ 569484 h 1130146"/>
                <a:gd name="csX57" fmla="*/ 905551 w 1075017"/>
                <a:gd name="csY57" fmla="*/ 583181 h 1130146"/>
                <a:gd name="csX58" fmla="*/ 924482 w 1075017"/>
                <a:gd name="csY58" fmla="*/ 613863 h 1130146"/>
                <a:gd name="csX59" fmla="*/ 936831 w 1075017"/>
                <a:gd name="csY59" fmla="*/ 651819 h 1130146"/>
                <a:gd name="csX60" fmla="*/ 942311 w 1075017"/>
                <a:gd name="csY60" fmla="*/ 659072 h 1130146"/>
                <a:gd name="csX61" fmla="*/ 950972 w 1075017"/>
                <a:gd name="csY61" fmla="*/ 661825 h 1130146"/>
                <a:gd name="csX62" fmla="*/ 959635 w 1075017"/>
                <a:gd name="csY62" fmla="*/ 659072 h 1130146"/>
                <a:gd name="csX63" fmla="*/ 964694 w 1075017"/>
                <a:gd name="csY63" fmla="*/ 652880 h 1130146"/>
                <a:gd name="csX64" fmla="*/ 964688 w 1075017"/>
                <a:gd name="csY64" fmla="*/ 652641 h 1130146"/>
                <a:gd name="csX65" fmla="*/ 965124 w 1075017"/>
                <a:gd name="csY65" fmla="*/ 651546 h 1130146"/>
                <a:gd name="csX66" fmla="*/ 977467 w 1075017"/>
                <a:gd name="csY66" fmla="*/ 613598 h 1130146"/>
                <a:gd name="csX67" fmla="*/ 996387 w 1075017"/>
                <a:gd name="csY67" fmla="*/ 582979 h 1130146"/>
                <a:gd name="csX68" fmla="*/ 1027028 w 1075017"/>
                <a:gd name="csY68" fmla="*/ 564073 h 1130146"/>
                <a:gd name="csX69" fmla="*/ 1065007 w 1075017"/>
                <a:gd name="csY69" fmla="*/ 551741 h 1130146"/>
                <a:gd name="csX70" fmla="*/ 1072262 w 1075017"/>
                <a:gd name="csY70" fmla="*/ 546264 h 1130146"/>
                <a:gd name="csX71" fmla="*/ 1075018 w 1075017"/>
                <a:gd name="csY71" fmla="*/ 537603 h 1130146"/>
                <a:gd name="csX72" fmla="*/ 1072262 w 1075017"/>
                <a:gd name="csY72" fmla="*/ 528945 h 1130146"/>
                <a:gd name="csX73" fmla="*/ 1065007 w 1075017"/>
                <a:gd name="csY73" fmla="*/ 523468 h 1130146"/>
                <a:gd name="csX74" fmla="*/ 1064248 w 1075017"/>
                <a:gd name="csY74" fmla="*/ 523277 h 1130146"/>
                <a:gd name="csX75" fmla="*/ 385904 w 1075017"/>
                <a:gd name="csY75" fmla="*/ 137823 h 1130146"/>
                <a:gd name="csX76" fmla="*/ 500316 w 1075017"/>
                <a:gd name="csY76" fmla="*/ 155066 h 1130146"/>
                <a:gd name="csX77" fmla="*/ 498188 w 1075017"/>
                <a:gd name="csY77" fmla="*/ 155752 h 1130146"/>
                <a:gd name="csX78" fmla="*/ 456566 w 1075017"/>
                <a:gd name="csY78" fmla="*/ 186625 h 1130146"/>
                <a:gd name="csX79" fmla="*/ 444233 w 1075017"/>
                <a:gd name="csY79" fmla="*/ 212089 h 1130146"/>
                <a:gd name="csX80" fmla="*/ 385904 w 1075017"/>
                <a:gd name="csY80" fmla="*/ 206734 h 1130146"/>
                <a:gd name="csX81" fmla="*/ 68911 w 1075017"/>
                <a:gd name="csY81" fmla="*/ 523727 h 1130146"/>
                <a:gd name="csX82" fmla="*/ 385904 w 1075017"/>
                <a:gd name="csY82" fmla="*/ 840719 h 1130146"/>
                <a:gd name="csX83" fmla="*/ 702896 w 1075017"/>
                <a:gd name="csY83" fmla="*/ 523727 h 1130146"/>
                <a:gd name="csX84" fmla="*/ 702847 w 1075017"/>
                <a:gd name="csY84" fmla="*/ 518054 h 1130146"/>
                <a:gd name="csX85" fmla="*/ 730971 w 1075017"/>
                <a:gd name="csY85" fmla="*/ 522985 h 1130146"/>
                <a:gd name="csX86" fmla="*/ 771642 w 1075017"/>
                <a:gd name="csY86" fmla="*/ 512293 h 1130146"/>
                <a:gd name="csX87" fmla="*/ 771808 w 1075017"/>
                <a:gd name="csY87" fmla="*/ 523727 h 1130146"/>
                <a:gd name="csX88" fmla="*/ 682060 w 1075017"/>
                <a:gd name="csY88" fmla="*/ 771154 h 1130146"/>
                <a:gd name="csX89" fmla="*/ 982233 w 1075017"/>
                <a:gd name="csY89" fmla="*/ 1071327 h 1130146"/>
                <a:gd name="csX90" fmla="*/ 982233 w 1075017"/>
                <a:gd name="csY90" fmla="*/ 1120056 h 1130146"/>
                <a:gd name="csX91" fmla="*/ 933507 w 1075017"/>
                <a:gd name="csY91" fmla="*/ 1120056 h 1130146"/>
                <a:gd name="csX92" fmla="*/ 633332 w 1075017"/>
                <a:gd name="csY92" fmla="*/ 819883 h 1130146"/>
                <a:gd name="csX93" fmla="*/ 385904 w 1075017"/>
                <a:gd name="csY93" fmla="*/ 909631 h 1130146"/>
                <a:gd name="csX94" fmla="*/ 0 w 1075017"/>
                <a:gd name="csY94" fmla="*/ 523727 h 1130146"/>
                <a:gd name="csX95" fmla="*/ 385904 w 1075017"/>
                <a:gd name="csY95" fmla="*/ 137823 h 113014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Lst>
              <a:rect l="l" t="t" r="r" b="b"/>
              <a:pathLst>
                <a:path w="1075017" h="1130146">
                  <a:moveTo>
                    <a:pt x="656957" y="333865"/>
                  </a:moveTo>
                  <a:cubicBezTo>
                    <a:pt x="653192" y="329000"/>
                    <a:pt x="649118" y="324363"/>
                    <a:pt x="644752" y="319983"/>
                  </a:cubicBezTo>
                  <a:cubicBezTo>
                    <a:pt x="628500" y="303679"/>
                    <a:pt x="608656" y="291399"/>
                    <a:pt x="586808" y="284119"/>
                  </a:cubicBezTo>
                  <a:lnTo>
                    <a:pt x="515071" y="260821"/>
                  </a:lnTo>
                  <a:cubicBezTo>
                    <a:pt x="509542" y="258873"/>
                    <a:pt x="504754" y="255256"/>
                    <a:pt x="501366" y="250474"/>
                  </a:cubicBezTo>
                  <a:cubicBezTo>
                    <a:pt x="497981" y="245693"/>
                    <a:pt x="496162" y="239978"/>
                    <a:pt x="496162" y="234120"/>
                  </a:cubicBezTo>
                  <a:cubicBezTo>
                    <a:pt x="496162" y="228261"/>
                    <a:pt x="497981" y="222547"/>
                    <a:pt x="501366" y="217764"/>
                  </a:cubicBezTo>
                  <a:cubicBezTo>
                    <a:pt x="504754" y="212982"/>
                    <a:pt x="509542" y="209367"/>
                    <a:pt x="515071" y="207418"/>
                  </a:cubicBezTo>
                  <a:lnTo>
                    <a:pt x="586808" y="184121"/>
                  </a:lnTo>
                  <a:cubicBezTo>
                    <a:pt x="608353" y="176688"/>
                    <a:pt x="627882" y="164376"/>
                    <a:pt x="643875" y="148148"/>
                  </a:cubicBezTo>
                  <a:cubicBezTo>
                    <a:pt x="659427" y="132365"/>
                    <a:pt x="671222" y="113294"/>
                    <a:pt x="678394" y="92351"/>
                  </a:cubicBezTo>
                  <a:lnTo>
                    <a:pt x="678990" y="90577"/>
                  </a:lnTo>
                  <a:lnTo>
                    <a:pt x="702304" y="18895"/>
                  </a:lnTo>
                  <a:cubicBezTo>
                    <a:pt x="704255" y="13370"/>
                    <a:pt x="707872" y="8586"/>
                    <a:pt x="712660" y="5201"/>
                  </a:cubicBezTo>
                  <a:cubicBezTo>
                    <a:pt x="717445" y="1817"/>
                    <a:pt x="723162" y="0"/>
                    <a:pt x="729028" y="0"/>
                  </a:cubicBezTo>
                  <a:cubicBezTo>
                    <a:pt x="734891" y="0"/>
                    <a:pt x="740607" y="1817"/>
                    <a:pt x="745393" y="5201"/>
                  </a:cubicBezTo>
                  <a:cubicBezTo>
                    <a:pt x="750181" y="8586"/>
                    <a:pt x="753797" y="13370"/>
                    <a:pt x="755749" y="18895"/>
                  </a:cubicBezTo>
                  <a:lnTo>
                    <a:pt x="779063" y="90577"/>
                  </a:lnTo>
                  <a:cubicBezTo>
                    <a:pt x="786312" y="112369"/>
                    <a:pt x="798548" y="132172"/>
                    <a:pt x="814800" y="148411"/>
                  </a:cubicBezTo>
                  <a:cubicBezTo>
                    <a:pt x="831052" y="164650"/>
                    <a:pt x="850868" y="176877"/>
                    <a:pt x="872680" y="184121"/>
                  </a:cubicBezTo>
                  <a:lnTo>
                    <a:pt x="944417" y="207418"/>
                  </a:lnTo>
                  <a:lnTo>
                    <a:pt x="945850" y="207776"/>
                  </a:lnTo>
                  <a:cubicBezTo>
                    <a:pt x="951380" y="209726"/>
                    <a:pt x="956168" y="213340"/>
                    <a:pt x="959556" y="218123"/>
                  </a:cubicBezTo>
                  <a:cubicBezTo>
                    <a:pt x="962940" y="222905"/>
                    <a:pt x="964760" y="228619"/>
                    <a:pt x="964760" y="234478"/>
                  </a:cubicBezTo>
                  <a:cubicBezTo>
                    <a:pt x="964760" y="240337"/>
                    <a:pt x="962940" y="246051"/>
                    <a:pt x="959556" y="250832"/>
                  </a:cubicBezTo>
                  <a:cubicBezTo>
                    <a:pt x="956168" y="255614"/>
                    <a:pt x="951380" y="259231"/>
                    <a:pt x="945850" y="261180"/>
                  </a:cubicBezTo>
                  <a:lnTo>
                    <a:pt x="874114" y="284477"/>
                  </a:lnTo>
                  <a:cubicBezTo>
                    <a:pt x="852305" y="291721"/>
                    <a:pt x="832486" y="303949"/>
                    <a:pt x="816236" y="320187"/>
                  </a:cubicBezTo>
                  <a:cubicBezTo>
                    <a:pt x="799984" y="336425"/>
                    <a:pt x="787748" y="356228"/>
                    <a:pt x="780496" y="378020"/>
                  </a:cubicBezTo>
                  <a:lnTo>
                    <a:pt x="757182" y="449702"/>
                  </a:lnTo>
                  <a:cubicBezTo>
                    <a:pt x="756973" y="450300"/>
                    <a:pt x="756744" y="450887"/>
                    <a:pt x="756493" y="451463"/>
                  </a:cubicBezTo>
                  <a:cubicBezTo>
                    <a:pt x="754439" y="456243"/>
                    <a:pt x="751099" y="460378"/>
                    <a:pt x="746829" y="463396"/>
                  </a:cubicBezTo>
                  <a:cubicBezTo>
                    <a:pt x="742044" y="466781"/>
                    <a:pt x="736324" y="468598"/>
                    <a:pt x="730461" y="468598"/>
                  </a:cubicBezTo>
                  <a:cubicBezTo>
                    <a:pt x="724598" y="468598"/>
                    <a:pt x="718878" y="466781"/>
                    <a:pt x="714093" y="463396"/>
                  </a:cubicBezTo>
                  <a:cubicBezTo>
                    <a:pt x="709308" y="460011"/>
                    <a:pt x="705689" y="455229"/>
                    <a:pt x="703740" y="449702"/>
                  </a:cubicBezTo>
                  <a:lnTo>
                    <a:pt x="680426" y="378020"/>
                  </a:lnTo>
                  <a:cubicBezTo>
                    <a:pt x="675158" y="362033"/>
                    <a:pt x="667209" y="347107"/>
                    <a:pt x="656957" y="333865"/>
                  </a:cubicBezTo>
                  <a:close/>
                  <a:moveTo>
                    <a:pt x="1064248" y="523277"/>
                  </a:moveTo>
                  <a:lnTo>
                    <a:pt x="1026270" y="510945"/>
                  </a:lnTo>
                  <a:cubicBezTo>
                    <a:pt x="1014723" y="507108"/>
                    <a:pt x="1004232" y="500636"/>
                    <a:pt x="995629" y="492039"/>
                  </a:cubicBezTo>
                  <a:cubicBezTo>
                    <a:pt x="987024" y="483441"/>
                    <a:pt x="980546" y="472958"/>
                    <a:pt x="976709" y="461420"/>
                  </a:cubicBezTo>
                  <a:lnTo>
                    <a:pt x="964366" y="423472"/>
                  </a:lnTo>
                  <a:cubicBezTo>
                    <a:pt x="963332" y="420547"/>
                    <a:pt x="961416" y="418014"/>
                    <a:pt x="958883" y="416222"/>
                  </a:cubicBezTo>
                  <a:cubicBezTo>
                    <a:pt x="956350" y="414430"/>
                    <a:pt x="953323" y="413468"/>
                    <a:pt x="950217" y="413468"/>
                  </a:cubicBezTo>
                  <a:cubicBezTo>
                    <a:pt x="947113" y="413468"/>
                    <a:pt x="944086" y="414430"/>
                    <a:pt x="941553" y="416222"/>
                  </a:cubicBezTo>
                  <a:cubicBezTo>
                    <a:pt x="939020" y="418014"/>
                    <a:pt x="937104" y="420547"/>
                    <a:pt x="936071" y="423472"/>
                  </a:cubicBezTo>
                  <a:lnTo>
                    <a:pt x="923727" y="461420"/>
                  </a:lnTo>
                  <a:cubicBezTo>
                    <a:pt x="919967" y="472878"/>
                    <a:pt x="913603" y="483309"/>
                    <a:pt x="905138" y="491901"/>
                  </a:cubicBezTo>
                  <a:cubicBezTo>
                    <a:pt x="896672" y="500493"/>
                    <a:pt x="886330" y="507009"/>
                    <a:pt x="874927" y="510945"/>
                  </a:cubicBezTo>
                  <a:lnTo>
                    <a:pt x="836948" y="523277"/>
                  </a:lnTo>
                  <a:cubicBezTo>
                    <a:pt x="834021" y="524311"/>
                    <a:pt x="831485" y="526224"/>
                    <a:pt x="829693" y="528754"/>
                  </a:cubicBezTo>
                  <a:cubicBezTo>
                    <a:pt x="827899" y="531288"/>
                    <a:pt x="826937" y="534312"/>
                    <a:pt x="826937" y="537415"/>
                  </a:cubicBezTo>
                  <a:cubicBezTo>
                    <a:pt x="826937" y="540516"/>
                    <a:pt x="827899" y="543540"/>
                    <a:pt x="829693" y="546073"/>
                  </a:cubicBezTo>
                  <a:cubicBezTo>
                    <a:pt x="831485" y="548604"/>
                    <a:pt x="834021" y="550519"/>
                    <a:pt x="836948" y="551550"/>
                  </a:cubicBezTo>
                  <a:lnTo>
                    <a:pt x="874927" y="563883"/>
                  </a:lnTo>
                  <a:cubicBezTo>
                    <a:pt x="879100" y="565275"/>
                    <a:pt x="883133" y="567009"/>
                    <a:pt x="886992" y="569065"/>
                  </a:cubicBezTo>
                  <a:lnTo>
                    <a:pt x="887072" y="569484"/>
                  </a:lnTo>
                  <a:cubicBezTo>
                    <a:pt x="893853" y="573103"/>
                    <a:pt x="900082" y="577712"/>
                    <a:pt x="905551" y="583181"/>
                  </a:cubicBezTo>
                  <a:cubicBezTo>
                    <a:pt x="914165" y="591795"/>
                    <a:pt x="920648" y="602300"/>
                    <a:pt x="924482" y="613863"/>
                  </a:cubicBezTo>
                  <a:lnTo>
                    <a:pt x="936831" y="651819"/>
                  </a:lnTo>
                  <a:cubicBezTo>
                    <a:pt x="937865" y="654744"/>
                    <a:pt x="939778" y="657277"/>
                    <a:pt x="942311" y="659072"/>
                  </a:cubicBezTo>
                  <a:cubicBezTo>
                    <a:pt x="944844" y="660863"/>
                    <a:pt x="947871" y="661825"/>
                    <a:pt x="950972" y="661825"/>
                  </a:cubicBezTo>
                  <a:cubicBezTo>
                    <a:pt x="954076" y="661825"/>
                    <a:pt x="957102" y="660863"/>
                    <a:pt x="959635" y="659072"/>
                  </a:cubicBezTo>
                  <a:cubicBezTo>
                    <a:pt x="961854" y="657500"/>
                    <a:pt x="963602" y="655359"/>
                    <a:pt x="964694" y="652880"/>
                  </a:cubicBezTo>
                  <a:lnTo>
                    <a:pt x="964688" y="652641"/>
                  </a:lnTo>
                  <a:cubicBezTo>
                    <a:pt x="964848" y="652282"/>
                    <a:pt x="964994" y="651918"/>
                    <a:pt x="965124" y="651546"/>
                  </a:cubicBezTo>
                  <a:lnTo>
                    <a:pt x="977467" y="613598"/>
                  </a:lnTo>
                  <a:cubicBezTo>
                    <a:pt x="981307" y="602060"/>
                    <a:pt x="987784" y="591577"/>
                    <a:pt x="996387" y="582979"/>
                  </a:cubicBezTo>
                  <a:cubicBezTo>
                    <a:pt x="1004990" y="574382"/>
                    <a:pt x="1015484" y="567910"/>
                    <a:pt x="1027028" y="564073"/>
                  </a:cubicBezTo>
                  <a:lnTo>
                    <a:pt x="1065007" y="551741"/>
                  </a:lnTo>
                  <a:cubicBezTo>
                    <a:pt x="1067934" y="550707"/>
                    <a:pt x="1070470" y="548794"/>
                    <a:pt x="1072262" y="546264"/>
                  </a:cubicBezTo>
                  <a:cubicBezTo>
                    <a:pt x="1074056" y="543730"/>
                    <a:pt x="1075018" y="540706"/>
                    <a:pt x="1075018" y="537603"/>
                  </a:cubicBezTo>
                  <a:cubicBezTo>
                    <a:pt x="1075018" y="534502"/>
                    <a:pt x="1074056" y="531478"/>
                    <a:pt x="1072262" y="528945"/>
                  </a:cubicBezTo>
                  <a:cubicBezTo>
                    <a:pt x="1070470" y="526414"/>
                    <a:pt x="1067934" y="524499"/>
                    <a:pt x="1065007" y="523468"/>
                  </a:cubicBezTo>
                  <a:lnTo>
                    <a:pt x="1064248" y="523277"/>
                  </a:lnTo>
                  <a:close/>
                  <a:moveTo>
                    <a:pt x="385904" y="137823"/>
                  </a:moveTo>
                  <a:cubicBezTo>
                    <a:pt x="425740" y="137823"/>
                    <a:pt x="464165" y="143859"/>
                    <a:pt x="500316" y="155066"/>
                  </a:cubicBezTo>
                  <a:lnTo>
                    <a:pt x="498188" y="155752"/>
                  </a:lnTo>
                  <a:cubicBezTo>
                    <a:pt x="481437" y="161454"/>
                    <a:pt x="466883" y="172247"/>
                    <a:pt x="456566" y="186625"/>
                  </a:cubicBezTo>
                  <a:cubicBezTo>
                    <a:pt x="451009" y="194361"/>
                    <a:pt x="446844" y="202979"/>
                    <a:pt x="444233" y="212089"/>
                  </a:cubicBezTo>
                  <a:cubicBezTo>
                    <a:pt x="425327" y="208573"/>
                    <a:pt x="405830" y="206734"/>
                    <a:pt x="385904" y="206734"/>
                  </a:cubicBezTo>
                  <a:cubicBezTo>
                    <a:pt x="210833" y="206734"/>
                    <a:pt x="68911" y="348656"/>
                    <a:pt x="68911" y="523727"/>
                  </a:cubicBezTo>
                  <a:cubicBezTo>
                    <a:pt x="68911" y="698798"/>
                    <a:pt x="210833" y="840719"/>
                    <a:pt x="385904" y="840719"/>
                  </a:cubicBezTo>
                  <a:cubicBezTo>
                    <a:pt x="560975" y="840719"/>
                    <a:pt x="702896" y="698798"/>
                    <a:pt x="702896" y="523727"/>
                  </a:cubicBezTo>
                  <a:cubicBezTo>
                    <a:pt x="702896" y="521833"/>
                    <a:pt x="702880" y="519942"/>
                    <a:pt x="702847" y="518054"/>
                  </a:cubicBezTo>
                  <a:cubicBezTo>
                    <a:pt x="711814" y="521296"/>
                    <a:pt x="721326" y="522985"/>
                    <a:pt x="730971" y="522985"/>
                  </a:cubicBezTo>
                  <a:cubicBezTo>
                    <a:pt x="745271" y="522985"/>
                    <a:pt x="759274" y="519278"/>
                    <a:pt x="771642" y="512293"/>
                  </a:cubicBezTo>
                  <a:cubicBezTo>
                    <a:pt x="771753" y="516091"/>
                    <a:pt x="771808" y="519901"/>
                    <a:pt x="771808" y="523727"/>
                  </a:cubicBezTo>
                  <a:cubicBezTo>
                    <a:pt x="771808" y="617884"/>
                    <a:pt x="738085" y="704167"/>
                    <a:pt x="682060" y="771154"/>
                  </a:cubicBezTo>
                  <a:lnTo>
                    <a:pt x="982233" y="1071327"/>
                  </a:lnTo>
                  <a:cubicBezTo>
                    <a:pt x="995690" y="1084784"/>
                    <a:pt x="995690" y="1106599"/>
                    <a:pt x="982233" y="1120056"/>
                  </a:cubicBezTo>
                  <a:cubicBezTo>
                    <a:pt x="968779" y="1133510"/>
                    <a:pt x="946961" y="1133510"/>
                    <a:pt x="933507" y="1120056"/>
                  </a:cubicBezTo>
                  <a:lnTo>
                    <a:pt x="633332" y="819883"/>
                  </a:lnTo>
                  <a:cubicBezTo>
                    <a:pt x="566344" y="875908"/>
                    <a:pt x="480062" y="909631"/>
                    <a:pt x="385904" y="909631"/>
                  </a:cubicBezTo>
                  <a:cubicBezTo>
                    <a:pt x="172775" y="909631"/>
                    <a:pt x="0" y="736856"/>
                    <a:pt x="0" y="523727"/>
                  </a:cubicBezTo>
                  <a:cubicBezTo>
                    <a:pt x="0" y="310597"/>
                    <a:pt x="172775" y="137823"/>
                    <a:pt x="385904" y="137823"/>
                  </a:cubicBezTo>
                  <a:close/>
                </a:path>
              </a:pathLst>
            </a:custGeom>
            <a:solidFill>
              <a:schemeClr val="tx1"/>
            </a:solidFill>
            <a:ln w="2738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180D3E5F-1470-F9EF-78C4-8570996623EE}"/>
              </a:ext>
              <a:ext uri="{C183D7F6-B498-43B3-948B-1728B52AA6E4}">
                <adec:decorative xmlns:adec="http://schemas.microsoft.com/office/drawing/2017/decorative" val="1"/>
              </a:ext>
            </a:extLst>
          </p:cNvPr>
          <p:cNvGrpSpPr/>
          <p:nvPr/>
        </p:nvGrpSpPr>
        <p:grpSpPr>
          <a:xfrm>
            <a:off x="3588713" y="3794163"/>
            <a:ext cx="654710" cy="654710"/>
            <a:chOff x="3588713" y="4316018"/>
            <a:chExt cx="654710" cy="654710"/>
          </a:xfrm>
        </p:grpSpPr>
        <p:sp>
          <p:nvSpPr>
            <p:cNvPr id="167" name="Box">
              <a:extLst>
                <a:ext uri="{FF2B5EF4-FFF2-40B4-BE49-F238E27FC236}">
                  <a16:creationId xmlns:a16="http://schemas.microsoft.com/office/drawing/2014/main" id="{518DAF1C-C86C-8BD8-F94B-0AAA6C76A230}"/>
                </a:ext>
                <a:ext uri="{C183D7F6-B498-43B3-948B-1728B52AA6E4}">
                  <adec:decorative xmlns:adec="http://schemas.microsoft.com/office/drawing/2017/decorative" val="1"/>
                </a:ext>
              </a:extLst>
            </p:cNvPr>
            <p:cNvSpPr>
              <a:spLocks noChangeAspect="1"/>
            </p:cNvSpPr>
            <p:nvPr/>
          </p:nvSpPr>
          <p:spPr bwMode="auto">
            <a:xfrm>
              <a:off x="358871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6" name="Graphic 152">
              <a:extLst>
                <a:ext uri="{FF2B5EF4-FFF2-40B4-BE49-F238E27FC236}">
                  <a16:creationId xmlns:a16="http://schemas.microsoft.com/office/drawing/2014/main" id="{20464751-EB59-9570-0C6F-6164E28E70F4}"/>
                </a:ext>
              </a:extLst>
            </p:cNvPr>
            <p:cNvSpPr/>
            <p:nvPr/>
          </p:nvSpPr>
          <p:spPr>
            <a:xfrm>
              <a:off x="3727066" y="4492126"/>
              <a:ext cx="378004" cy="302496"/>
            </a:xfrm>
            <a:custGeom>
              <a:avLst/>
              <a:gdLst>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398507 w 1028405"/>
                <a:gd name="csY18" fmla="*/ 437072 h 822981"/>
                <a:gd name="csX19" fmla="*/ 437072 w 1028405"/>
                <a:gd name="csY19" fmla="*/ 475637 h 822981"/>
                <a:gd name="csX20" fmla="*/ 437072 w 1028405"/>
                <a:gd name="csY20" fmla="*/ 500988 h 822981"/>
                <a:gd name="csX21" fmla="*/ 436661 w 1028405"/>
                <a:gd name="csY21" fmla="*/ 506541 h 822981"/>
                <a:gd name="csX22" fmla="*/ 308522 w 1028405"/>
                <a:gd name="csY22" fmla="*/ 591384 h 822981"/>
                <a:gd name="csX23" fmla="*/ 180382 w 1028405"/>
                <a:gd name="csY23" fmla="*/ 506541 h 822981"/>
                <a:gd name="csX24" fmla="*/ 179971 w 1028405"/>
                <a:gd name="csY24" fmla="*/ 500885 h 822981"/>
                <a:gd name="csX25" fmla="*/ 179971 w 1028405"/>
                <a:gd name="csY25" fmla="*/ 475637 h 822981"/>
                <a:gd name="csX26" fmla="*/ 218536 w 1028405"/>
                <a:gd name="csY26" fmla="*/ 437072 h 822981"/>
                <a:gd name="csX27" fmla="*/ 398507 w 1028405"/>
                <a:gd name="csY27" fmla="*/ 437072 h 822981"/>
                <a:gd name="csX28" fmla="*/ 578581 w 1028405"/>
                <a:gd name="csY28" fmla="*/ 462577 h 822981"/>
                <a:gd name="csX29" fmla="*/ 809869 w 1028405"/>
                <a:gd name="csY29" fmla="*/ 462577 h 822981"/>
                <a:gd name="csX30" fmla="*/ 848424 w 1028405"/>
                <a:gd name="csY30" fmla="*/ 501152 h 822981"/>
                <a:gd name="csX31" fmla="*/ 815114 w 1028405"/>
                <a:gd name="csY31" fmla="*/ 539347 h 822981"/>
                <a:gd name="csX32" fmla="*/ 809869 w 1028405"/>
                <a:gd name="csY32" fmla="*/ 539707 h 822981"/>
                <a:gd name="csX33" fmla="*/ 578581 w 1028405"/>
                <a:gd name="csY33" fmla="*/ 539707 h 822981"/>
                <a:gd name="csX34" fmla="*/ 540026 w 1028405"/>
                <a:gd name="csY34" fmla="*/ 501131 h 822981"/>
                <a:gd name="csX35" fmla="*/ 573336 w 1028405"/>
                <a:gd name="csY35" fmla="*/ 462937 h 822981"/>
                <a:gd name="csX36" fmla="*/ 578581 w 1028405"/>
                <a:gd name="csY36" fmla="*/ 462577 h 822981"/>
                <a:gd name="csX37" fmla="*/ 809869 w 1028405"/>
                <a:gd name="csY37" fmla="*/ 462577 h 822981"/>
                <a:gd name="csX38" fmla="*/ 578581 w 1028405"/>
                <a:gd name="csY38" fmla="*/ 462577 h 822981"/>
                <a:gd name="csX39" fmla="*/ 308522 w 1028405"/>
                <a:gd name="csY39" fmla="*/ 231494 h 822981"/>
                <a:gd name="csX40" fmla="*/ 385652 w 1028405"/>
                <a:gd name="csY40" fmla="*/ 308624 h 822981"/>
                <a:gd name="csX41" fmla="*/ 308522 w 1028405"/>
                <a:gd name="csY41" fmla="*/ 385755 h 822981"/>
                <a:gd name="csX42" fmla="*/ 231391 w 1028405"/>
                <a:gd name="csY42" fmla="*/ 308624 h 822981"/>
                <a:gd name="csX43" fmla="*/ 308522 w 1028405"/>
                <a:gd name="csY43" fmla="*/ 231494 h 822981"/>
                <a:gd name="csX44" fmla="*/ 578581 w 1028405"/>
                <a:gd name="csY44" fmla="*/ 282811 h 822981"/>
                <a:gd name="csX45" fmla="*/ 809869 w 1028405"/>
                <a:gd name="csY45" fmla="*/ 282811 h 822981"/>
                <a:gd name="csX46" fmla="*/ 848424 w 1028405"/>
                <a:gd name="csY46" fmla="*/ 321387 h 822981"/>
                <a:gd name="csX47" fmla="*/ 815114 w 1028405"/>
                <a:gd name="csY47" fmla="*/ 359582 h 822981"/>
                <a:gd name="csX48" fmla="*/ 809869 w 1028405"/>
                <a:gd name="csY48" fmla="*/ 359942 h 822981"/>
                <a:gd name="csX49" fmla="*/ 578581 w 1028405"/>
                <a:gd name="csY49" fmla="*/ 359942 h 822981"/>
                <a:gd name="csX50" fmla="*/ 540026 w 1028405"/>
                <a:gd name="csY50" fmla="*/ 321366 h 822981"/>
                <a:gd name="csX51" fmla="*/ 573336 w 1028405"/>
                <a:gd name="csY51" fmla="*/ 283171 h 822981"/>
                <a:gd name="csX52" fmla="*/ 578581 w 1028405"/>
                <a:gd name="csY52" fmla="*/ 282811 h 822981"/>
                <a:gd name="csX53" fmla="*/ 809869 w 1028405"/>
                <a:gd name="csY53" fmla="*/ 282811 h 822981"/>
                <a:gd name="csX54" fmla="*/ 578581 w 1028405"/>
                <a:gd name="csY54" fmla="*/ 282811 h 82298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Lst>
              <a:rect l="l" t="t" r="r" b="b"/>
              <a:pathLst>
                <a:path w="1028405" h="822981">
                  <a:moveTo>
                    <a:pt x="912709" y="0"/>
                  </a:moveTo>
                  <a:cubicBezTo>
                    <a:pt x="976604" y="0"/>
                    <a:pt x="1028405" y="51799"/>
                    <a:pt x="1028405" y="115696"/>
                  </a:cubicBezTo>
                  <a:lnTo>
                    <a:pt x="1028405" y="707286"/>
                  </a:lnTo>
                  <a:cubicBezTo>
                    <a:pt x="1028405" y="771180"/>
                    <a:pt x="976604" y="822981"/>
                    <a:pt x="912709" y="822981"/>
                  </a:cubicBezTo>
                  <a:lnTo>
                    <a:pt x="115696" y="822981"/>
                  </a:lnTo>
                  <a:cubicBezTo>
                    <a:pt x="51799" y="822981"/>
                    <a:pt x="0" y="771180"/>
                    <a:pt x="0" y="707286"/>
                  </a:cubicBezTo>
                  <a:lnTo>
                    <a:pt x="0" y="115696"/>
                  </a:lnTo>
                  <a:cubicBezTo>
                    <a:pt x="0" y="51799"/>
                    <a:pt x="51799" y="0"/>
                    <a:pt x="115696" y="0"/>
                  </a:cubicBezTo>
                  <a:lnTo>
                    <a:pt x="912709" y="0"/>
                  </a:lnTo>
                  <a:close/>
                  <a:moveTo>
                    <a:pt x="912709" y="77130"/>
                  </a:moveTo>
                  <a:lnTo>
                    <a:pt x="115696" y="77130"/>
                  </a:lnTo>
                  <a:cubicBezTo>
                    <a:pt x="94397" y="77130"/>
                    <a:pt x="77130" y="94397"/>
                    <a:pt x="77130" y="115696"/>
                  </a:cubicBezTo>
                  <a:lnTo>
                    <a:pt x="77130" y="707286"/>
                  </a:lnTo>
                  <a:cubicBezTo>
                    <a:pt x="77130" y="728574"/>
                    <a:pt x="94408" y="745851"/>
                    <a:pt x="115696" y="745851"/>
                  </a:cubicBezTo>
                  <a:lnTo>
                    <a:pt x="912709" y="745851"/>
                  </a:lnTo>
                  <a:cubicBezTo>
                    <a:pt x="934008" y="745851"/>
                    <a:pt x="951275" y="728584"/>
                    <a:pt x="951275" y="707286"/>
                  </a:cubicBezTo>
                  <a:lnTo>
                    <a:pt x="951275" y="115696"/>
                  </a:lnTo>
                  <a:cubicBezTo>
                    <a:pt x="951275" y="94397"/>
                    <a:pt x="934008" y="77130"/>
                    <a:pt x="912709" y="77130"/>
                  </a:cubicBezTo>
                  <a:close/>
                  <a:moveTo>
                    <a:pt x="398507" y="437072"/>
                  </a:moveTo>
                  <a:cubicBezTo>
                    <a:pt x="419805" y="437072"/>
                    <a:pt x="437072" y="454339"/>
                    <a:pt x="437072" y="475637"/>
                  </a:cubicBezTo>
                  <a:lnTo>
                    <a:pt x="437072" y="500988"/>
                  </a:lnTo>
                  <a:lnTo>
                    <a:pt x="436661" y="506541"/>
                  </a:lnTo>
                  <a:cubicBezTo>
                    <a:pt x="428279" y="563772"/>
                    <a:pt x="380407" y="591384"/>
                    <a:pt x="308522" y="591384"/>
                  </a:cubicBezTo>
                  <a:cubicBezTo>
                    <a:pt x="236636" y="591384"/>
                    <a:pt x="188712" y="563772"/>
                    <a:pt x="180382" y="506541"/>
                  </a:cubicBezTo>
                  <a:lnTo>
                    <a:pt x="179971" y="500885"/>
                  </a:lnTo>
                  <a:lnTo>
                    <a:pt x="179971" y="475637"/>
                  </a:lnTo>
                  <a:cubicBezTo>
                    <a:pt x="179971" y="454339"/>
                    <a:pt x="197237" y="437072"/>
                    <a:pt x="218536" y="437072"/>
                  </a:cubicBezTo>
                  <a:lnTo>
                    <a:pt x="398507" y="437072"/>
                  </a:lnTo>
                  <a:close/>
                  <a:moveTo>
                    <a:pt x="578581" y="462577"/>
                  </a:moveTo>
                  <a:lnTo>
                    <a:pt x="809869" y="462577"/>
                  </a:lnTo>
                  <a:cubicBezTo>
                    <a:pt x="831167" y="462582"/>
                    <a:pt x="848429" y="479854"/>
                    <a:pt x="848424" y="501152"/>
                  </a:cubicBezTo>
                  <a:cubicBezTo>
                    <a:pt x="848419" y="520419"/>
                    <a:pt x="834196" y="536719"/>
                    <a:pt x="815114" y="539347"/>
                  </a:cubicBezTo>
                  <a:lnTo>
                    <a:pt x="809869" y="539707"/>
                  </a:lnTo>
                  <a:lnTo>
                    <a:pt x="578581" y="539707"/>
                  </a:lnTo>
                  <a:cubicBezTo>
                    <a:pt x="557282" y="539702"/>
                    <a:pt x="540021" y="522430"/>
                    <a:pt x="540026" y="501131"/>
                  </a:cubicBezTo>
                  <a:cubicBezTo>
                    <a:pt x="540031" y="481864"/>
                    <a:pt x="554254" y="465564"/>
                    <a:pt x="573336" y="462937"/>
                  </a:cubicBezTo>
                  <a:lnTo>
                    <a:pt x="578581" y="462577"/>
                  </a:lnTo>
                  <a:lnTo>
                    <a:pt x="809869" y="462577"/>
                  </a:lnTo>
                  <a:lnTo>
                    <a:pt x="578581" y="462577"/>
                  </a:lnTo>
                  <a:close/>
                  <a:moveTo>
                    <a:pt x="308522" y="231494"/>
                  </a:moveTo>
                  <a:cubicBezTo>
                    <a:pt x="351120" y="231494"/>
                    <a:pt x="385652" y="266026"/>
                    <a:pt x="385652" y="308624"/>
                  </a:cubicBezTo>
                  <a:cubicBezTo>
                    <a:pt x="385652" y="351221"/>
                    <a:pt x="351120" y="385755"/>
                    <a:pt x="308522" y="385755"/>
                  </a:cubicBezTo>
                  <a:cubicBezTo>
                    <a:pt x="265923" y="385755"/>
                    <a:pt x="231391" y="351221"/>
                    <a:pt x="231391" y="308624"/>
                  </a:cubicBezTo>
                  <a:cubicBezTo>
                    <a:pt x="231391" y="266026"/>
                    <a:pt x="265923" y="231494"/>
                    <a:pt x="308522" y="231494"/>
                  </a:cubicBezTo>
                  <a:close/>
                  <a:moveTo>
                    <a:pt x="578581" y="282811"/>
                  </a:moveTo>
                  <a:lnTo>
                    <a:pt x="809869" y="282811"/>
                  </a:lnTo>
                  <a:cubicBezTo>
                    <a:pt x="831167" y="282818"/>
                    <a:pt x="848429" y="300090"/>
                    <a:pt x="848424" y="321387"/>
                  </a:cubicBezTo>
                  <a:cubicBezTo>
                    <a:pt x="848419" y="340654"/>
                    <a:pt x="834196" y="356954"/>
                    <a:pt x="815114" y="359582"/>
                  </a:cubicBezTo>
                  <a:lnTo>
                    <a:pt x="809869" y="359942"/>
                  </a:lnTo>
                  <a:lnTo>
                    <a:pt x="578581" y="359942"/>
                  </a:lnTo>
                  <a:cubicBezTo>
                    <a:pt x="557282" y="359937"/>
                    <a:pt x="540021" y="342665"/>
                    <a:pt x="540026" y="321366"/>
                  </a:cubicBezTo>
                  <a:cubicBezTo>
                    <a:pt x="540031" y="302102"/>
                    <a:pt x="554254" y="285797"/>
                    <a:pt x="573336" y="283171"/>
                  </a:cubicBezTo>
                  <a:lnTo>
                    <a:pt x="578581" y="282811"/>
                  </a:lnTo>
                  <a:lnTo>
                    <a:pt x="809869" y="282811"/>
                  </a:lnTo>
                  <a:lnTo>
                    <a:pt x="578581" y="282811"/>
                  </a:lnTo>
                  <a:close/>
                </a:path>
              </a:pathLst>
            </a:custGeom>
            <a:solidFill>
              <a:schemeClr val="tx1"/>
            </a:solidFill>
            <a:ln w="54372"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FF52370A-812F-0053-3633-7A016C966650}"/>
              </a:ext>
              <a:ext uri="{C183D7F6-B498-43B3-948B-1728B52AA6E4}">
                <adec:decorative xmlns:adec="http://schemas.microsoft.com/office/drawing/2017/decorative" val="1"/>
              </a:ext>
            </a:extLst>
          </p:cNvPr>
          <p:cNvGrpSpPr/>
          <p:nvPr/>
        </p:nvGrpSpPr>
        <p:grpSpPr>
          <a:xfrm>
            <a:off x="10128503" y="4457611"/>
            <a:ext cx="654710" cy="654710"/>
            <a:chOff x="10128503" y="4316018"/>
            <a:chExt cx="654710" cy="654710"/>
          </a:xfrm>
        </p:grpSpPr>
        <p:sp>
          <p:nvSpPr>
            <p:cNvPr id="170" name="Box">
              <a:extLst>
                <a:ext uri="{FF2B5EF4-FFF2-40B4-BE49-F238E27FC236}">
                  <a16:creationId xmlns:a16="http://schemas.microsoft.com/office/drawing/2014/main" id="{B38ADCB2-7DFC-6C43-61AE-BF04DF78EC4A}"/>
                </a:ext>
                <a:ext uri="{C183D7F6-B498-43B3-948B-1728B52AA6E4}">
                  <adec:decorative xmlns:adec="http://schemas.microsoft.com/office/drawing/2017/decorative" val="1"/>
                </a:ext>
              </a:extLst>
            </p:cNvPr>
            <p:cNvSpPr>
              <a:spLocks noChangeAspect="1"/>
            </p:cNvSpPr>
            <p:nvPr/>
          </p:nvSpPr>
          <p:spPr bwMode="auto">
            <a:xfrm>
              <a:off x="1012850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7" name="Graphic 140">
              <a:extLst>
                <a:ext uri="{FF2B5EF4-FFF2-40B4-BE49-F238E27FC236}">
                  <a16:creationId xmlns:a16="http://schemas.microsoft.com/office/drawing/2014/main" id="{15B130BD-D23D-9F92-2AAD-AE7F54D642F2}"/>
                </a:ext>
              </a:extLst>
            </p:cNvPr>
            <p:cNvSpPr/>
            <p:nvPr/>
          </p:nvSpPr>
          <p:spPr>
            <a:xfrm>
              <a:off x="10312238" y="4483794"/>
              <a:ext cx="287240" cy="319158"/>
            </a:xfrm>
            <a:custGeom>
              <a:avLst/>
              <a:gdLst>
                <a:gd name="csX0" fmla="*/ 0 w 859618"/>
                <a:gd name="csY0" fmla="*/ 179087 h 955142"/>
                <a:gd name="csX1" fmla="*/ 35817 w 859618"/>
                <a:gd name="csY1" fmla="*/ 143270 h 955142"/>
                <a:gd name="csX2" fmla="*/ 408319 w 859618"/>
                <a:gd name="csY2" fmla="*/ 7163 h 955142"/>
                <a:gd name="csX3" fmla="*/ 451300 w 859618"/>
                <a:gd name="csY3" fmla="*/ 7163 h 955142"/>
                <a:gd name="csX4" fmla="*/ 823801 w 859618"/>
                <a:gd name="csY4" fmla="*/ 143270 h 955142"/>
                <a:gd name="csX5" fmla="*/ 859619 w 859618"/>
                <a:gd name="csY5" fmla="*/ 179087 h 955142"/>
                <a:gd name="csX6" fmla="*/ 859619 w 859618"/>
                <a:gd name="csY6" fmla="*/ 429809 h 955142"/>
                <a:gd name="csX7" fmla="*/ 442942 w 859618"/>
                <a:gd name="csY7" fmla="*/ 952648 h 955142"/>
                <a:gd name="csX8" fmla="*/ 416676 w 859618"/>
                <a:gd name="csY8" fmla="*/ 952648 h 955142"/>
                <a:gd name="csX9" fmla="*/ 0 w 859618"/>
                <a:gd name="csY9" fmla="*/ 429809 h 955142"/>
                <a:gd name="csX10" fmla="*/ 0 w 859618"/>
                <a:gd name="csY10" fmla="*/ 179087 h 955142"/>
                <a:gd name="csX11" fmla="*/ 71635 w 859618"/>
                <a:gd name="csY11" fmla="*/ 213854 h 955142"/>
                <a:gd name="csX12" fmla="*/ 71635 w 859618"/>
                <a:gd name="csY12" fmla="*/ 429809 h 955142"/>
                <a:gd name="csX13" fmla="*/ 429809 w 859618"/>
                <a:gd name="csY13" fmla="*/ 880727 h 955142"/>
                <a:gd name="csX14" fmla="*/ 787984 w 859618"/>
                <a:gd name="csY14" fmla="*/ 429809 h 955142"/>
                <a:gd name="csX15" fmla="*/ 787984 w 859618"/>
                <a:gd name="csY15" fmla="*/ 213854 h 955142"/>
                <a:gd name="csX16" fmla="*/ 429809 w 859618"/>
                <a:gd name="csY16" fmla="*/ 80136 h 955142"/>
                <a:gd name="csX17" fmla="*/ 71635 w 859618"/>
                <a:gd name="csY17" fmla="*/ 213854 h 95514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859618" h="955142">
                  <a:moveTo>
                    <a:pt x="0" y="179087"/>
                  </a:moveTo>
                  <a:cubicBezTo>
                    <a:pt x="0" y="159306"/>
                    <a:pt x="16036" y="143270"/>
                    <a:pt x="35817" y="143270"/>
                  </a:cubicBezTo>
                  <a:cubicBezTo>
                    <a:pt x="162993" y="143270"/>
                    <a:pt x="286922" y="98235"/>
                    <a:pt x="408319" y="7163"/>
                  </a:cubicBezTo>
                  <a:cubicBezTo>
                    <a:pt x="421054" y="-2388"/>
                    <a:pt x="438565" y="-2388"/>
                    <a:pt x="451300" y="7163"/>
                  </a:cubicBezTo>
                  <a:cubicBezTo>
                    <a:pt x="572697" y="98235"/>
                    <a:pt x="696625" y="143270"/>
                    <a:pt x="823801" y="143270"/>
                  </a:cubicBezTo>
                  <a:cubicBezTo>
                    <a:pt x="843583" y="143270"/>
                    <a:pt x="859619" y="159306"/>
                    <a:pt x="859619" y="179087"/>
                  </a:cubicBezTo>
                  <a:lnTo>
                    <a:pt x="859619" y="429809"/>
                  </a:lnTo>
                  <a:cubicBezTo>
                    <a:pt x="859619" y="668640"/>
                    <a:pt x="718355" y="844145"/>
                    <a:pt x="442942" y="952648"/>
                  </a:cubicBezTo>
                  <a:cubicBezTo>
                    <a:pt x="434503" y="955974"/>
                    <a:pt x="425116" y="955974"/>
                    <a:pt x="416676" y="952648"/>
                  </a:cubicBezTo>
                  <a:cubicBezTo>
                    <a:pt x="141264" y="844145"/>
                    <a:pt x="0" y="668592"/>
                    <a:pt x="0" y="429809"/>
                  </a:cubicBezTo>
                  <a:lnTo>
                    <a:pt x="0" y="179087"/>
                  </a:lnTo>
                  <a:close/>
                  <a:moveTo>
                    <a:pt x="71635" y="213854"/>
                  </a:moveTo>
                  <a:lnTo>
                    <a:pt x="71635" y="429809"/>
                  </a:lnTo>
                  <a:cubicBezTo>
                    <a:pt x="71635" y="633061"/>
                    <a:pt x="188782" y="782205"/>
                    <a:pt x="429809" y="880727"/>
                  </a:cubicBezTo>
                  <a:cubicBezTo>
                    <a:pt x="670837" y="782205"/>
                    <a:pt x="787984" y="633061"/>
                    <a:pt x="787984" y="429809"/>
                  </a:cubicBezTo>
                  <a:lnTo>
                    <a:pt x="787984" y="213854"/>
                  </a:lnTo>
                  <a:cubicBezTo>
                    <a:pt x="664915" y="206595"/>
                    <a:pt x="545380" y="161799"/>
                    <a:pt x="429809" y="80136"/>
                  </a:cubicBezTo>
                  <a:cubicBezTo>
                    <a:pt x="314238" y="161799"/>
                    <a:pt x="194704" y="206595"/>
                    <a:pt x="71635" y="213854"/>
                  </a:cubicBezTo>
                  <a:close/>
                </a:path>
              </a:pathLst>
            </a:custGeom>
            <a:solidFill>
              <a:schemeClr val="tx1"/>
            </a:solidFill>
            <a:ln w="54372"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23" name="TextBox 322">
            <a:extLst>
              <a:ext uri="{FF2B5EF4-FFF2-40B4-BE49-F238E27FC236}">
                <a16:creationId xmlns:a16="http://schemas.microsoft.com/office/drawing/2014/main" id="{E1DFF5FA-94A5-45A8-1E44-2D2F93AD3AA3}"/>
              </a:ext>
            </a:extLst>
          </p:cNvPr>
          <p:cNvSpPr txBox="1"/>
          <p:nvPr/>
        </p:nvSpPr>
        <p:spPr>
          <a:xfrm>
            <a:off x="818342" y="4580326"/>
            <a:ext cx="1835592" cy="14383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95000"/>
              </a:lnSpc>
              <a:spcBef>
                <a:spcPct val="0"/>
              </a:spcBef>
              <a:spcAft>
                <a:spcPct val="0"/>
              </a:spcAft>
              <a:buClrTx/>
              <a:buSzTx/>
              <a:buFontTx/>
              <a:buNone/>
              <a:tabLst/>
              <a:defRPr/>
            </a:pPr>
            <a:r>
              <a:rPr kumimoji="0" lang="fr-fr" sz="1600" b="0" i="0" u="none" strike="noStrike" kern="1200" cap="none" spc="0" normalizeH="0" baseline="0" noProof="0">
                <a:ln>
                  <a:noFill/>
                </a:ln>
                <a:solidFill>
                  <a:srgbClr val="2A446F"/>
                </a:solidFill>
                <a:effectLst/>
                <a:uLnTx/>
                <a:uFillTx/>
                <a:latin typeface="Segoe UI Semibold"/>
                <a:cs typeface="Segoe UI" pitchFamily="34" charset="0"/>
              </a:rPr>
              <a:t>Registre</a:t>
            </a:r>
          </a:p>
          <a:p>
            <a:pPr marL="0" marR="0" lvl="0" indent="0" algn="ctr" defTabSz="932472" rtl="0" eaLnBrk="1" fontAlgn="base" latinLnBrk="0" hangingPunct="1">
              <a:lnSpc>
                <a:spcPct val="95000"/>
              </a:lnSpc>
              <a:spcBef>
                <a:spcPct val="0"/>
              </a:spcBef>
              <a:spcAft>
                <a:spcPct val="0"/>
              </a:spcAft>
              <a:buClrTx/>
              <a:buSzTx/>
              <a:buFontTx/>
              <a:buNone/>
              <a:tabLst/>
              <a:defRPr/>
            </a:pPr>
            <a:r>
              <a:rPr kumimoji="0" lang="fr-fr" sz="1600" b="1" i="0" u="none" strike="noStrike" kern="1200" cap="none" spc="0" normalizeH="0" baseline="0" noProof="0">
                <a:ln>
                  <a:noFill/>
                </a:ln>
                <a:solidFill>
                  <a:srgbClr val="2A446F"/>
                </a:solidFill>
                <a:effectLst/>
                <a:uLnTx/>
                <a:uFillTx/>
                <a:latin typeface="Segoe UI Semibold"/>
                <a:cs typeface="Segoe UI" pitchFamily="34" charset="0"/>
              </a:rPr>
              <a:t>Vue complète des agents qui existent dans l’ensemble de votre organisation. </a:t>
            </a:r>
          </a:p>
        </p:txBody>
      </p:sp>
      <p:sp>
        <p:nvSpPr>
          <p:cNvPr id="324" name="TextBox 323">
            <a:extLst>
              <a:ext uri="{FF2B5EF4-FFF2-40B4-BE49-F238E27FC236}">
                <a16:creationId xmlns:a16="http://schemas.microsoft.com/office/drawing/2014/main" id="{4D7F5B44-4767-2A85-752C-A96944535C5D}"/>
              </a:ext>
            </a:extLst>
          </p:cNvPr>
          <p:cNvSpPr txBox="1"/>
          <p:nvPr/>
        </p:nvSpPr>
        <p:spPr>
          <a:xfrm>
            <a:off x="2997096" y="4580326"/>
            <a:ext cx="1837944" cy="1438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lgn="ctr">
              <a:defRPr/>
            </a:pPr>
            <a:r>
              <a:rPr lang="fr-fr" sz="1600">
                <a:solidFill>
                  <a:srgbClr val="2A446F"/>
                </a:solidFill>
                <a:latin typeface="Segoe UI Semibold"/>
              </a:rPr>
              <a:t>Contrôle des accès</a:t>
            </a:r>
          </a:p>
          <a:p>
            <a:pPr lvl="0" algn="ctr">
              <a:defRPr/>
            </a:pPr>
            <a:r>
              <a:rPr lang="fr-fr" sz="1600">
                <a:solidFill>
                  <a:srgbClr val="2A446F"/>
                </a:solidFill>
                <a:latin typeface="Segoe UI Semibold"/>
              </a:rPr>
              <a:t>Accès au moindre privilège pour l’agent, basé sur </a:t>
            </a:r>
            <a:br>
              <a:rPr lang="fr-fr" sz="1600">
                <a:solidFill>
                  <a:srgbClr val="2A446F"/>
                </a:solidFill>
                <a:latin typeface="Segoe UI Semibold"/>
              </a:rPr>
            </a:br>
            <a:r>
              <a:rPr lang="fr-fr" sz="1600">
                <a:solidFill>
                  <a:srgbClr val="2A446F"/>
                </a:solidFill>
                <a:latin typeface="Segoe UI Semibold"/>
              </a:rPr>
              <a:t>le JTBD. </a:t>
            </a:r>
          </a:p>
        </p:txBody>
      </p:sp>
      <p:sp>
        <p:nvSpPr>
          <p:cNvPr id="325" name="TextBox 324">
            <a:extLst>
              <a:ext uri="{FF2B5EF4-FFF2-40B4-BE49-F238E27FC236}">
                <a16:creationId xmlns:a16="http://schemas.microsoft.com/office/drawing/2014/main" id="{16850C60-D1FB-B044-CE11-ECB1E71904C9}"/>
              </a:ext>
            </a:extLst>
          </p:cNvPr>
          <p:cNvSpPr txBox="1"/>
          <p:nvPr/>
        </p:nvSpPr>
        <p:spPr>
          <a:xfrm>
            <a:off x="5177026" y="4714800"/>
            <a:ext cx="1837944" cy="1438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lgn="ctr">
              <a:defRPr/>
            </a:pPr>
            <a:r>
              <a:rPr lang="fr-fr" sz="1600">
                <a:solidFill>
                  <a:srgbClr val="2A446F"/>
                </a:solidFill>
                <a:latin typeface="Segoe UI Semibold"/>
              </a:rPr>
              <a:t>Visualisation Analyses approfondies de l’activité et de la performance des agents.</a:t>
            </a:r>
          </a:p>
        </p:txBody>
      </p:sp>
      <p:sp>
        <p:nvSpPr>
          <p:cNvPr id="326" name="TextBox 325">
            <a:extLst>
              <a:ext uri="{FF2B5EF4-FFF2-40B4-BE49-F238E27FC236}">
                <a16:creationId xmlns:a16="http://schemas.microsoft.com/office/drawing/2014/main" id="{F4E29993-0B19-39DA-1EDD-19114C74F3CE}"/>
              </a:ext>
            </a:extLst>
          </p:cNvPr>
          <p:cNvSpPr txBox="1"/>
          <p:nvPr/>
        </p:nvSpPr>
        <p:spPr>
          <a:xfrm>
            <a:off x="7356956" y="5274294"/>
            <a:ext cx="1837944" cy="7443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a:ln>
                  <a:noFill/>
                </a:ln>
                <a:solidFill>
                  <a:srgbClr val="2A446F"/>
                </a:solidFill>
                <a:effectLst/>
                <a:uLnTx/>
                <a:uFillTx/>
                <a:latin typeface="Segoe UI Semibold"/>
                <a:cs typeface="Segoe UI" pitchFamily="34" charset="0"/>
              </a:rPr>
              <a:t>Interopérabilité</a:t>
            </a:r>
          </a:p>
        </p:txBody>
      </p:sp>
      <p:sp>
        <p:nvSpPr>
          <p:cNvPr id="327" name="TextBox 326">
            <a:extLst>
              <a:ext uri="{FF2B5EF4-FFF2-40B4-BE49-F238E27FC236}">
                <a16:creationId xmlns:a16="http://schemas.microsoft.com/office/drawing/2014/main" id="{CD12A549-B317-6DC2-F3FC-DA4043A9F7B3}"/>
              </a:ext>
            </a:extLst>
          </p:cNvPr>
          <p:cNvSpPr txBox="1"/>
          <p:nvPr/>
        </p:nvSpPr>
        <p:spPr>
          <a:xfrm>
            <a:off x="9536887" y="5274294"/>
            <a:ext cx="1837944" cy="7443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a:ln>
                  <a:noFill/>
                </a:ln>
                <a:solidFill>
                  <a:srgbClr val="2A446F"/>
                </a:solidFill>
                <a:effectLst/>
                <a:uLnTx/>
                <a:uFillTx/>
                <a:latin typeface="Segoe UI Semibold"/>
                <a:cs typeface="Segoe UI" pitchFamily="34" charset="0"/>
              </a:rPr>
              <a:t>Sécurité</a:t>
            </a:r>
          </a:p>
        </p:txBody>
      </p:sp>
      <p:sp>
        <p:nvSpPr>
          <p:cNvPr id="7" name="Rounded Rectangle 5">
            <a:extLst>
              <a:ext uri="{FF2B5EF4-FFF2-40B4-BE49-F238E27FC236}">
                <a16:creationId xmlns:a16="http://schemas.microsoft.com/office/drawing/2014/main" id="{2CC3A90D-7891-E570-F4E7-29A4B0CF45C1}"/>
              </a:ext>
            </a:extLst>
          </p:cNvPr>
          <p:cNvSpPr txBox="1">
            <a:spLocks/>
          </p:cNvSpPr>
          <p:nvPr/>
        </p:nvSpPr>
        <p:spPr bwMode="auto">
          <a:xfrm>
            <a:off x="4381498" y="486496"/>
            <a:ext cx="3429004" cy="609682"/>
          </a:xfrm>
          <a:prstGeom prst="roundRect">
            <a:avLst>
              <a:gd name="adj" fmla="val 50000"/>
            </a:avLst>
          </a:prstGeom>
          <a:gradFill flip="none" rotWithShape="1">
            <a:gsLst>
              <a:gs pos="100000">
                <a:srgbClr val="BABAFF">
                  <a:lumMod val="90000"/>
                </a:srgbClr>
              </a:gs>
              <a:gs pos="29400">
                <a:srgbClr val="58AAFE">
                  <a:lumMod val="40000"/>
                  <a:lumOff val="60000"/>
                </a:srgbClr>
              </a:gs>
              <a:gs pos="0">
                <a:srgbClr val="FECBE6"/>
              </a:gs>
            </a:gsLst>
            <a:path path="circle">
              <a:fillToRect l="100000" t="100000"/>
            </a:path>
            <a:tileRect r="-100000" b="-100000"/>
          </a:gradFill>
          <a:ln w="76200" cap="flat" cmpd="sng" algn="ctr">
            <a:noFill/>
            <a:prstDash val="solid"/>
            <a:headEnd type="none" w="med" len="med"/>
            <a:tailEnd type="none" w="med" len="med"/>
          </a:ln>
          <a:effectLst>
            <a:outerShdw blurRad="375109" dist="101600" dir="5400000" sx="105000" sy="105000" algn="t" rotWithShape="0">
              <a:prstClr val="black">
                <a:alpha val="2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400" b="0" i="0" u="none" strike="noStrike" kern="1200" cap="none" spc="0" normalizeH="0" baseline="0" noProof="0">
                <a:ln w="3175">
                  <a:noFill/>
                </a:ln>
                <a:solidFill>
                  <a:srgbClr val="002060"/>
                </a:solidFill>
                <a:effectLst/>
                <a:uLnTx/>
                <a:uFillTx/>
                <a:latin typeface="Segoe Sans Display Semibold"/>
                <a:ea typeface="+mn-ea"/>
                <a:cs typeface="Segoe Sans Display Semibold" pitchFamily="2" charset="0"/>
              </a:rPr>
              <a:t>Microsoft Agent 365</a:t>
            </a:r>
          </a:p>
        </p:txBody>
      </p:sp>
    </p:spTree>
    <p:custDataLst>
      <p:tags r:id="rId1"/>
    </p:custDataLst>
    <p:extLst>
      <p:ext uri="{BB962C8B-B14F-4D97-AF65-F5344CB8AC3E}">
        <p14:creationId xmlns:p14="http://schemas.microsoft.com/office/powerpoint/2010/main" val="41264688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214273-07ED-0250-2021-BCBBB3C64338}"/>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349FCB9-1D87-A493-9C7D-4D1898B0D44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0" progId="TCLayout.ActiveDocument.1">
                  <p:embed/>
                </p:oleObj>
              </mc:Choice>
              <mc:Fallback>
                <p:oleObj name="think-cell Slide" r:id="rId5" imgW="532" imgH="530" progId="TCLayout.ActiveDocument.1">
                  <p:embed/>
                  <p:pic>
                    <p:nvPicPr>
                      <p:cNvPr id="8" name="think-cell data - do not delete" hidden="1">
                        <a:extLst>
                          <a:ext uri="{FF2B5EF4-FFF2-40B4-BE49-F238E27FC236}">
                            <a16:creationId xmlns:a16="http://schemas.microsoft.com/office/drawing/2014/main" id="{8349FCB9-1D87-A493-9C7D-4D1898B0D4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4" name="Rectangle: Rounded Corners 173">
            <a:extLst>
              <a:ext uri="{FF2B5EF4-FFF2-40B4-BE49-F238E27FC236}">
                <a16:creationId xmlns:a16="http://schemas.microsoft.com/office/drawing/2014/main" id="{B0967AAF-968C-BB6F-2090-2FEEC37844FD}"/>
              </a:ext>
              <a:ext uri="{C183D7F6-B498-43B3-948B-1728B52AA6E4}">
                <adec:decorative xmlns:adec="http://schemas.microsoft.com/office/drawing/2017/decorative" val="1"/>
              </a:ext>
            </a:extLst>
          </p:cNvPr>
          <p:cNvSpPr>
            <a:spLocks/>
          </p:cNvSpPr>
          <p:nvPr/>
        </p:nvSpPr>
        <p:spPr bwMode="auto">
          <a:xfrm>
            <a:off x="571498" y="807678"/>
            <a:ext cx="11049001" cy="5555837"/>
          </a:xfrm>
          <a:prstGeom prst="roundRect">
            <a:avLst>
              <a:gd name="adj" fmla="val 4215"/>
            </a:avLst>
          </a:prstGeom>
          <a:gradFill>
            <a:gsLst>
              <a:gs pos="0">
                <a:srgbClr val="FECBE6">
                  <a:alpha val="58000"/>
                </a:srgbClr>
              </a:gs>
              <a:gs pos="33000">
                <a:srgbClr val="BABAFF">
                  <a:alpha val="58000"/>
                </a:srgbClr>
              </a:gs>
              <a:gs pos="82000">
                <a:schemeClr val="accent6">
                  <a:lumMod val="25000"/>
                  <a:lumOff val="75000"/>
                  <a:alpha val="70000"/>
                </a:schemeClr>
              </a:gs>
              <a:gs pos="98165">
                <a:schemeClr val="bg1">
                  <a:alpha val="33000"/>
                </a:schemeClr>
              </a:gs>
            </a:gsLst>
            <a:lin ang="15600000" scaled="0"/>
          </a:gradFill>
          <a:ln w="6350">
            <a:solidFill>
              <a:schemeClr val="bg2">
                <a:lumMod val="90000"/>
              </a:schemeClr>
            </a:solidFill>
            <a:headEnd type="none" w="med" len="med"/>
            <a:tailEnd type="none" w="med" len="med"/>
          </a:ln>
          <a:effectLst>
            <a:outerShdw blurRad="152400" algn="ctr" rotWithShape="0">
              <a:schemeClr val="bg1">
                <a:alpha val="4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85" name="Freeform 170">
            <a:extLst>
              <a:ext uri="{FF2B5EF4-FFF2-40B4-BE49-F238E27FC236}">
                <a16:creationId xmlns:a16="http://schemas.microsoft.com/office/drawing/2014/main" id="{AE5BC8C6-03F9-D376-B98F-AADAF5055AFC}"/>
              </a:ext>
              <a:ext uri="{C183D7F6-B498-43B3-948B-1728B52AA6E4}">
                <adec:decorative xmlns:adec="http://schemas.microsoft.com/office/drawing/2017/decorative" val="1"/>
              </a:ext>
            </a:extLst>
          </p:cNvPr>
          <p:cNvSpPr/>
          <p:nvPr/>
        </p:nvSpPr>
        <p:spPr bwMode="auto">
          <a:xfrm>
            <a:off x="8175209" y="3965305"/>
            <a:ext cx="657087" cy="798081"/>
          </a:xfrm>
          <a:custGeom>
            <a:avLst/>
            <a:gdLst>
              <a:gd name="connsiteX0" fmla="*/ 0 w 1306286"/>
              <a:gd name="connsiteY0" fmla="*/ 298580 h 1268963"/>
              <a:gd name="connsiteX1" fmla="*/ 1306286 w 1306286"/>
              <a:gd name="connsiteY1" fmla="*/ 0 h 1268963"/>
              <a:gd name="connsiteX2" fmla="*/ 765110 w 1306286"/>
              <a:gd name="connsiteY2" fmla="*/ 1268963 h 1268963"/>
            </a:gdLst>
            <a:ahLst/>
            <a:cxnLst>
              <a:cxn ang="0">
                <a:pos x="connsiteX0" y="connsiteY0"/>
              </a:cxn>
              <a:cxn ang="0">
                <a:pos x="connsiteX1" y="connsiteY1"/>
              </a:cxn>
              <a:cxn ang="0">
                <a:pos x="connsiteX2" y="connsiteY2"/>
              </a:cxn>
            </a:cxnLst>
            <a:rect l="l" t="t" r="r" b="b"/>
            <a:pathLst>
              <a:path w="1306286" h="1268963">
                <a:moveTo>
                  <a:pt x="0" y="298580"/>
                </a:moveTo>
                <a:lnTo>
                  <a:pt x="1306286" y="0"/>
                </a:lnTo>
                <a:lnTo>
                  <a:pt x="765110" y="126896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lt"/>
              <a:cs typeface="Segoe UI"/>
              <a:sym typeface="+mn-lt"/>
            </a:endParaRPr>
          </a:p>
        </p:txBody>
      </p:sp>
      <p:sp>
        <p:nvSpPr>
          <p:cNvPr id="286" name="Freeform 171">
            <a:extLst>
              <a:ext uri="{FF2B5EF4-FFF2-40B4-BE49-F238E27FC236}">
                <a16:creationId xmlns:a16="http://schemas.microsoft.com/office/drawing/2014/main" id="{77188695-1B1B-5FFE-382A-193994DC179E}"/>
              </a:ext>
              <a:ext uri="{C183D7F6-B498-43B3-948B-1728B52AA6E4}">
                <adec:decorative xmlns:adec="http://schemas.microsoft.com/office/drawing/2017/decorative" val="1"/>
              </a:ext>
            </a:extLst>
          </p:cNvPr>
          <p:cNvSpPr/>
          <p:nvPr/>
        </p:nvSpPr>
        <p:spPr bwMode="auto">
          <a:xfrm>
            <a:off x="576066" y="2803393"/>
            <a:ext cx="746664" cy="1631372"/>
          </a:xfrm>
          <a:custGeom>
            <a:avLst/>
            <a:gdLst>
              <a:gd name="connsiteX0" fmla="*/ 167951 w 1455575"/>
              <a:gd name="connsiteY0" fmla="*/ 0 h 2593910"/>
              <a:gd name="connsiteX1" fmla="*/ 1063690 w 1455575"/>
              <a:gd name="connsiteY1" fmla="*/ 167951 h 2593910"/>
              <a:gd name="connsiteX2" fmla="*/ 783771 w 1455575"/>
              <a:gd name="connsiteY2" fmla="*/ 895739 h 2593910"/>
              <a:gd name="connsiteX3" fmla="*/ 0 w 1455575"/>
              <a:gd name="connsiteY3" fmla="*/ 1063690 h 2593910"/>
              <a:gd name="connsiteX4" fmla="*/ 298579 w 1455575"/>
              <a:gd name="connsiteY4" fmla="*/ 2593910 h 2593910"/>
              <a:gd name="connsiteX5" fmla="*/ 1455575 w 1455575"/>
              <a:gd name="connsiteY5" fmla="*/ 2146041 h 2593910"/>
              <a:gd name="connsiteX0" fmla="*/ 0 w 1497801"/>
              <a:gd name="connsiteY0" fmla="*/ 0 h 2593910"/>
              <a:gd name="connsiteX1" fmla="*/ 1105916 w 1497801"/>
              <a:gd name="connsiteY1" fmla="*/ 167951 h 2593910"/>
              <a:gd name="connsiteX2" fmla="*/ 825997 w 1497801"/>
              <a:gd name="connsiteY2" fmla="*/ 895739 h 2593910"/>
              <a:gd name="connsiteX3" fmla="*/ 42226 w 1497801"/>
              <a:gd name="connsiteY3" fmla="*/ 1063690 h 2593910"/>
              <a:gd name="connsiteX4" fmla="*/ 340805 w 1497801"/>
              <a:gd name="connsiteY4" fmla="*/ 2593910 h 2593910"/>
              <a:gd name="connsiteX5" fmla="*/ 1497801 w 1497801"/>
              <a:gd name="connsiteY5" fmla="*/ 2146041 h 2593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7801" h="2593910">
                <a:moveTo>
                  <a:pt x="0" y="0"/>
                </a:moveTo>
                <a:lnTo>
                  <a:pt x="1105916" y="167951"/>
                </a:lnTo>
                <a:lnTo>
                  <a:pt x="825997" y="895739"/>
                </a:lnTo>
                <a:lnTo>
                  <a:pt x="42226" y="1063690"/>
                </a:lnTo>
                <a:lnTo>
                  <a:pt x="340805" y="2593910"/>
                </a:lnTo>
                <a:lnTo>
                  <a:pt x="1497801" y="2146041"/>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87" name="Freeform 176">
            <a:extLst>
              <a:ext uri="{FF2B5EF4-FFF2-40B4-BE49-F238E27FC236}">
                <a16:creationId xmlns:a16="http://schemas.microsoft.com/office/drawing/2014/main" id="{720884C3-E2CD-E2DA-9F81-2AC620AAD6F5}"/>
              </a:ext>
              <a:ext uri="{C183D7F6-B498-43B3-948B-1728B52AA6E4}">
                <adec:decorative xmlns:adec="http://schemas.microsoft.com/office/drawing/2017/decorative" val="1"/>
              </a:ext>
            </a:extLst>
          </p:cNvPr>
          <p:cNvSpPr/>
          <p:nvPr/>
        </p:nvSpPr>
        <p:spPr bwMode="auto">
          <a:xfrm>
            <a:off x="10568884" y="3249379"/>
            <a:ext cx="1047475" cy="1588110"/>
          </a:xfrm>
          <a:custGeom>
            <a:avLst/>
            <a:gdLst>
              <a:gd name="connsiteX0" fmla="*/ 2052735 w 2052735"/>
              <a:gd name="connsiteY0" fmla="*/ 0 h 2463282"/>
              <a:gd name="connsiteX1" fmla="*/ 877078 w 2052735"/>
              <a:gd name="connsiteY1" fmla="*/ 93306 h 2463282"/>
              <a:gd name="connsiteX2" fmla="*/ 0 w 2052735"/>
              <a:gd name="connsiteY2" fmla="*/ 2220686 h 2463282"/>
              <a:gd name="connsiteX3" fmla="*/ 1754156 w 2052735"/>
              <a:gd name="connsiteY3" fmla="*/ 2463282 h 2463282"/>
              <a:gd name="connsiteX0" fmla="*/ 2052735 w 2120245"/>
              <a:gd name="connsiteY0" fmla="*/ 0 h 2513765"/>
              <a:gd name="connsiteX1" fmla="*/ 877078 w 2120245"/>
              <a:gd name="connsiteY1" fmla="*/ 93306 h 2513765"/>
              <a:gd name="connsiteX2" fmla="*/ 0 w 2120245"/>
              <a:gd name="connsiteY2" fmla="*/ 2220686 h 2513765"/>
              <a:gd name="connsiteX3" fmla="*/ 2120245 w 2120245"/>
              <a:gd name="connsiteY3" fmla="*/ 2513765 h 2513765"/>
              <a:gd name="connsiteX0" fmla="*/ 2052735 w 2082374"/>
              <a:gd name="connsiteY0" fmla="*/ 0 h 2525124"/>
              <a:gd name="connsiteX1" fmla="*/ 877078 w 2082374"/>
              <a:gd name="connsiteY1" fmla="*/ 93306 h 2525124"/>
              <a:gd name="connsiteX2" fmla="*/ 0 w 2082374"/>
              <a:gd name="connsiteY2" fmla="*/ 2220686 h 2525124"/>
              <a:gd name="connsiteX3" fmla="*/ 2082374 w 2082374"/>
              <a:gd name="connsiteY3" fmla="*/ 2525124 h 2525124"/>
            </a:gdLst>
            <a:ahLst/>
            <a:cxnLst>
              <a:cxn ang="0">
                <a:pos x="connsiteX0" y="connsiteY0"/>
              </a:cxn>
              <a:cxn ang="0">
                <a:pos x="connsiteX1" y="connsiteY1"/>
              </a:cxn>
              <a:cxn ang="0">
                <a:pos x="connsiteX2" y="connsiteY2"/>
              </a:cxn>
              <a:cxn ang="0">
                <a:pos x="connsiteX3" y="connsiteY3"/>
              </a:cxn>
            </a:cxnLst>
            <a:rect l="l" t="t" r="r" b="b"/>
            <a:pathLst>
              <a:path w="2082374" h="2525124">
                <a:moveTo>
                  <a:pt x="2052735" y="0"/>
                </a:moveTo>
                <a:lnTo>
                  <a:pt x="877078" y="93306"/>
                </a:lnTo>
                <a:lnTo>
                  <a:pt x="0" y="2220686"/>
                </a:lnTo>
                <a:lnTo>
                  <a:pt x="2082374" y="2525124"/>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88" name="Freeform 177">
            <a:extLst>
              <a:ext uri="{FF2B5EF4-FFF2-40B4-BE49-F238E27FC236}">
                <a16:creationId xmlns:a16="http://schemas.microsoft.com/office/drawing/2014/main" id="{A42ACF58-3A42-9B60-DFFE-3C0A2D017D3F}"/>
              </a:ext>
              <a:ext uri="{C183D7F6-B498-43B3-948B-1728B52AA6E4}">
                <adec:decorative xmlns:adec="http://schemas.microsoft.com/office/drawing/2017/decorative" val="1"/>
              </a:ext>
            </a:extLst>
          </p:cNvPr>
          <p:cNvSpPr/>
          <p:nvPr/>
        </p:nvSpPr>
        <p:spPr bwMode="auto">
          <a:xfrm>
            <a:off x="4129429" y="1829264"/>
            <a:ext cx="1417431" cy="2323825"/>
          </a:xfrm>
          <a:custGeom>
            <a:avLst/>
            <a:gdLst>
              <a:gd name="connsiteX0" fmla="*/ 2817845 w 2817845"/>
              <a:gd name="connsiteY0" fmla="*/ 0 h 3694923"/>
              <a:gd name="connsiteX1" fmla="*/ 877078 w 2817845"/>
              <a:gd name="connsiteY1" fmla="*/ 1530221 h 3694923"/>
              <a:gd name="connsiteX2" fmla="*/ 2108719 w 2817845"/>
              <a:gd name="connsiteY2" fmla="*/ 1250302 h 3694923"/>
              <a:gd name="connsiteX3" fmla="*/ 0 w 2817845"/>
              <a:gd name="connsiteY3" fmla="*/ 2202025 h 3694923"/>
              <a:gd name="connsiteX4" fmla="*/ 2164702 w 2817845"/>
              <a:gd name="connsiteY4" fmla="*/ 2481943 h 3694923"/>
              <a:gd name="connsiteX5" fmla="*/ 1026368 w 2817845"/>
              <a:gd name="connsiteY5" fmla="*/ 3116425 h 3694923"/>
              <a:gd name="connsiteX6" fmla="*/ 503854 w 2817845"/>
              <a:gd name="connsiteY6" fmla="*/ 3694923 h 3694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7845" h="3694923">
                <a:moveTo>
                  <a:pt x="2817845" y="0"/>
                </a:moveTo>
                <a:lnTo>
                  <a:pt x="877078" y="1530221"/>
                </a:lnTo>
                <a:lnTo>
                  <a:pt x="2108719" y="1250302"/>
                </a:lnTo>
                <a:lnTo>
                  <a:pt x="0" y="2202025"/>
                </a:lnTo>
                <a:lnTo>
                  <a:pt x="2164702" y="2481943"/>
                </a:lnTo>
                <a:lnTo>
                  <a:pt x="1026368" y="3116425"/>
                </a:lnTo>
                <a:lnTo>
                  <a:pt x="503854" y="369492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89" name="Freeform 178">
            <a:extLst>
              <a:ext uri="{FF2B5EF4-FFF2-40B4-BE49-F238E27FC236}">
                <a16:creationId xmlns:a16="http://schemas.microsoft.com/office/drawing/2014/main" id="{DF28091A-EAC1-9A56-B04B-85526905814C}"/>
              </a:ext>
              <a:ext uri="{C183D7F6-B498-43B3-948B-1728B52AA6E4}">
                <adec:decorative xmlns:adec="http://schemas.microsoft.com/office/drawing/2017/decorative" val="1"/>
              </a:ext>
            </a:extLst>
          </p:cNvPr>
          <p:cNvSpPr/>
          <p:nvPr/>
        </p:nvSpPr>
        <p:spPr bwMode="auto">
          <a:xfrm>
            <a:off x="2589968" y="2803393"/>
            <a:ext cx="1539461" cy="2288615"/>
          </a:xfrm>
          <a:custGeom>
            <a:avLst/>
            <a:gdLst>
              <a:gd name="connsiteX0" fmla="*/ 317240 w 3060440"/>
              <a:gd name="connsiteY0" fmla="*/ 839755 h 3638939"/>
              <a:gd name="connsiteX1" fmla="*/ 1194318 w 3060440"/>
              <a:gd name="connsiteY1" fmla="*/ 298579 h 3638939"/>
              <a:gd name="connsiteX2" fmla="*/ 2444620 w 3060440"/>
              <a:gd name="connsiteY2" fmla="*/ 0 h 3638939"/>
              <a:gd name="connsiteX3" fmla="*/ 1343608 w 3060440"/>
              <a:gd name="connsiteY3" fmla="*/ 1810139 h 3638939"/>
              <a:gd name="connsiteX4" fmla="*/ 466530 w 3060440"/>
              <a:gd name="connsiteY4" fmla="*/ 877077 h 3638939"/>
              <a:gd name="connsiteX5" fmla="*/ 0 w 3060440"/>
              <a:gd name="connsiteY5" fmla="*/ 1623526 h 3638939"/>
              <a:gd name="connsiteX6" fmla="*/ 3060440 w 3060440"/>
              <a:gd name="connsiteY6" fmla="*/ 3638939 h 3638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0440" h="3638939">
                <a:moveTo>
                  <a:pt x="317240" y="839755"/>
                </a:moveTo>
                <a:lnTo>
                  <a:pt x="1194318" y="298579"/>
                </a:lnTo>
                <a:lnTo>
                  <a:pt x="2444620" y="0"/>
                </a:lnTo>
                <a:lnTo>
                  <a:pt x="1343608" y="1810139"/>
                </a:lnTo>
                <a:lnTo>
                  <a:pt x="466530" y="877077"/>
                </a:lnTo>
                <a:lnTo>
                  <a:pt x="0" y="1623526"/>
                </a:lnTo>
                <a:lnTo>
                  <a:pt x="3060440" y="3638939"/>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0" name="Freeform 179">
            <a:extLst>
              <a:ext uri="{FF2B5EF4-FFF2-40B4-BE49-F238E27FC236}">
                <a16:creationId xmlns:a16="http://schemas.microsoft.com/office/drawing/2014/main" id="{D637B7EF-0811-6196-0892-A68C3C6F58DA}"/>
              </a:ext>
              <a:ext uri="{C183D7F6-B498-43B3-948B-1728B52AA6E4}">
                <adec:decorative xmlns:adec="http://schemas.microsoft.com/office/drawing/2017/decorative" val="1"/>
              </a:ext>
            </a:extLst>
          </p:cNvPr>
          <p:cNvSpPr/>
          <p:nvPr/>
        </p:nvSpPr>
        <p:spPr bwMode="auto">
          <a:xfrm>
            <a:off x="1557403" y="2181359"/>
            <a:ext cx="1163983" cy="845027"/>
          </a:xfrm>
          <a:custGeom>
            <a:avLst/>
            <a:gdLst>
              <a:gd name="connsiteX0" fmla="*/ 0 w 2313992"/>
              <a:gd name="connsiteY0" fmla="*/ 1007706 h 1343608"/>
              <a:gd name="connsiteX1" fmla="*/ 1045029 w 2313992"/>
              <a:gd name="connsiteY1" fmla="*/ 1343608 h 1343608"/>
              <a:gd name="connsiteX2" fmla="*/ 2108718 w 2313992"/>
              <a:gd name="connsiteY2" fmla="*/ 0 h 1343608"/>
              <a:gd name="connsiteX3" fmla="*/ 2108718 w 2313992"/>
              <a:gd name="connsiteY3" fmla="*/ 0 h 1343608"/>
              <a:gd name="connsiteX4" fmla="*/ 2313992 w 2313992"/>
              <a:gd name="connsiteY4" fmla="*/ 653143 h 1343608"/>
              <a:gd name="connsiteX5" fmla="*/ 1082351 w 2313992"/>
              <a:gd name="connsiteY5" fmla="*/ 1324947 h 134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3992" h="1343608">
                <a:moveTo>
                  <a:pt x="0" y="1007706"/>
                </a:moveTo>
                <a:lnTo>
                  <a:pt x="1045029" y="1343608"/>
                </a:lnTo>
                <a:lnTo>
                  <a:pt x="2108718" y="0"/>
                </a:lnTo>
                <a:lnTo>
                  <a:pt x="2108718" y="0"/>
                </a:lnTo>
                <a:lnTo>
                  <a:pt x="2313992" y="653143"/>
                </a:lnTo>
                <a:lnTo>
                  <a:pt x="1082351" y="1324947"/>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1" name="Freeform 180">
            <a:extLst>
              <a:ext uri="{FF2B5EF4-FFF2-40B4-BE49-F238E27FC236}">
                <a16:creationId xmlns:a16="http://schemas.microsoft.com/office/drawing/2014/main" id="{4D8D9EF7-60F7-614F-A9F9-0282EB2A7E56}"/>
              </a:ext>
              <a:ext uri="{C183D7F6-B498-43B3-948B-1728B52AA6E4}">
                <adec:decorative xmlns:adec="http://schemas.microsoft.com/office/drawing/2017/decorative" val="1"/>
              </a:ext>
            </a:extLst>
          </p:cNvPr>
          <p:cNvSpPr/>
          <p:nvPr/>
        </p:nvSpPr>
        <p:spPr bwMode="auto">
          <a:xfrm>
            <a:off x="1116215" y="2615609"/>
            <a:ext cx="3050762" cy="2441189"/>
          </a:xfrm>
          <a:custGeom>
            <a:avLst/>
            <a:gdLst>
              <a:gd name="connsiteX0" fmla="*/ 6064898 w 6064898"/>
              <a:gd name="connsiteY0" fmla="*/ 3881535 h 3881535"/>
              <a:gd name="connsiteX1" fmla="*/ 4348066 w 6064898"/>
              <a:gd name="connsiteY1" fmla="*/ 2164702 h 3881535"/>
              <a:gd name="connsiteX2" fmla="*/ 6027576 w 6064898"/>
              <a:gd name="connsiteY2" fmla="*/ 989045 h 3881535"/>
              <a:gd name="connsiteX3" fmla="*/ 6027576 w 6064898"/>
              <a:gd name="connsiteY3" fmla="*/ 186612 h 3881535"/>
              <a:gd name="connsiteX4" fmla="*/ 5299788 w 6064898"/>
              <a:gd name="connsiteY4" fmla="*/ 317241 h 3881535"/>
              <a:gd name="connsiteX5" fmla="*/ 3209731 w 6064898"/>
              <a:gd name="connsiteY5" fmla="*/ 0 h 3881535"/>
              <a:gd name="connsiteX6" fmla="*/ 3359021 w 6064898"/>
              <a:gd name="connsiteY6" fmla="*/ 1119674 h 3881535"/>
              <a:gd name="connsiteX7" fmla="*/ 317241 w 6064898"/>
              <a:gd name="connsiteY7" fmla="*/ 2463282 h 3881535"/>
              <a:gd name="connsiteX8" fmla="*/ 1306286 w 6064898"/>
              <a:gd name="connsiteY8" fmla="*/ 1287625 h 3881535"/>
              <a:gd name="connsiteX9" fmla="*/ 0 w 6064898"/>
              <a:gd name="connsiteY9" fmla="*/ 466531 h 3881535"/>
              <a:gd name="connsiteX10" fmla="*/ 858417 w 6064898"/>
              <a:gd name="connsiteY10" fmla="*/ 354563 h 3881535"/>
              <a:gd name="connsiteX11" fmla="*/ 1268964 w 6064898"/>
              <a:gd name="connsiteY11" fmla="*/ 1250302 h 3881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64898" h="3881535">
                <a:moveTo>
                  <a:pt x="6064898" y="3881535"/>
                </a:moveTo>
                <a:lnTo>
                  <a:pt x="4348066" y="2164702"/>
                </a:lnTo>
                <a:lnTo>
                  <a:pt x="6027576" y="989045"/>
                </a:lnTo>
                <a:lnTo>
                  <a:pt x="6027576" y="186612"/>
                </a:lnTo>
                <a:lnTo>
                  <a:pt x="5299788" y="317241"/>
                </a:lnTo>
                <a:lnTo>
                  <a:pt x="3209731" y="0"/>
                </a:lnTo>
                <a:lnTo>
                  <a:pt x="3359021" y="1119674"/>
                </a:lnTo>
                <a:lnTo>
                  <a:pt x="317241" y="2463282"/>
                </a:lnTo>
                <a:lnTo>
                  <a:pt x="1306286" y="1287625"/>
                </a:lnTo>
                <a:lnTo>
                  <a:pt x="0" y="466531"/>
                </a:lnTo>
                <a:lnTo>
                  <a:pt x="858417" y="354563"/>
                </a:lnTo>
                <a:lnTo>
                  <a:pt x="1268964" y="1250302"/>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2" name="Freeform 181">
            <a:extLst>
              <a:ext uri="{FF2B5EF4-FFF2-40B4-BE49-F238E27FC236}">
                <a16:creationId xmlns:a16="http://schemas.microsoft.com/office/drawing/2014/main" id="{AAB96346-7EF0-62A5-DB0E-B163BCB313CF}"/>
              </a:ext>
              <a:ext uri="{C183D7F6-B498-43B3-948B-1728B52AA6E4}">
                <adec:decorative xmlns:adec="http://schemas.microsoft.com/office/drawing/2017/decorative" val="1"/>
              </a:ext>
            </a:extLst>
          </p:cNvPr>
          <p:cNvSpPr/>
          <p:nvPr/>
        </p:nvSpPr>
        <p:spPr bwMode="auto">
          <a:xfrm>
            <a:off x="4176365" y="2709501"/>
            <a:ext cx="7425085" cy="2370770"/>
          </a:xfrm>
          <a:custGeom>
            <a:avLst/>
            <a:gdLst>
              <a:gd name="connsiteX0" fmla="*/ 14481110 w 14481110"/>
              <a:gd name="connsiteY0" fmla="*/ 0 h 3769567"/>
              <a:gd name="connsiteX1" fmla="*/ 11961844 w 14481110"/>
              <a:gd name="connsiteY1" fmla="*/ 895739 h 3769567"/>
              <a:gd name="connsiteX2" fmla="*/ 10599575 w 14481110"/>
              <a:gd name="connsiteY2" fmla="*/ 989045 h 3769567"/>
              <a:gd name="connsiteX3" fmla="*/ 9050693 w 14481110"/>
              <a:gd name="connsiteY3" fmla="*/ 914400 h 3769567"/>
              <a:gd name="connsiteX4" fmla="*/ 6699379 w 14481110"/>
              <a:gd name="connsiteY4" fmla="*/ 1212980 h 3769567"/>
              <a:gd name="connsiteX5" fmla="*/ 6736702 w 14481110"/>
              <a:gd name="connsiteY5" fmla="*/ 2052735 h 3769567"/>
              <a:gd name="connsiteX6" fmla="*/ 5710334 w 14481110"/>
              <a:gd name="connsiteY6" fmla="*/ 2799184 h 3769567"/>
              <a:gd name="connsiteX7" fmla="*/ 6736702 w 14481110"/>
              <a:gd name="connsiteY7" fmla="*/ 1212980 h 3769567"/>
              <a:gd name="connsiteX8" fmla="*/ 4348065 w 14481110"/>
              <a:gd name="connsiteY8" fmla="*/ 1660849 h 3769567"/>
              <a:gd name="connsiteX9" fmla="*/ 3750906 w 14481110"/>
              <a:gd name="connsiteY9" fmla="*/ 3321698 h 3769567"/>
              <a:gd name="connsiteX10" fmla="*/ 5710334 w 14481110"/>
              <a:gd name="connsiteY10" fmla="*/ 2761861 h 3769567"/>
              <a:gd name="connsiteX11" fmla="*/ 3097763 w 14481110"/>
              <a:gd name="connsiteY11" fmla="*/ 1474237 h 3769567"/>
              <a:gd name="connsiteX12" fmla="*/ 0 w 14481110"/>
              <a:gd name="connsiteY12" fmla="*/ 3769567 h 3769567"/>
              <a:gd name="connsiteX13" fmla="*/ 2575249 w 14481110"/>
              <a:gd name="connsiteY13" fmla="*/ 2313992 h 3769567"/>
              <a:gd name="connsiteX14" fmla="*/ 3676261 w 14481110"/>
              <a:gd name="connsiteY14" fmla="*/ 3247053 h 3769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81110" h="3769567">
                <a:moveTo>
                  <a:pt x="14481110" y="0"/>
                </a:moveTo>
                <a:lnTo>
                  <a:pt x="11961844" y="895739"/>
                </a:lnTo>
                <a:lnTo>
                  <a:pt x="10599575" y="989045"/>
                </a:lnTo>
                <a:lnTo>
                  <a:pt x="9050693" y="914400"/>
                </a:lnTo>
                <a:lnTo>
                  <a:pt x="6699379" y="1212980"/>
                </a:lnTo>
                <a:lnTo>
                  <a:pt x="6736702" y="2052735"/>
                </a:lnTo>
                <a:lnTo>
                  <a:pt x="5710334" y="2799184"/>
                </a:lnTo>
                <a:lnTo>
                  <a:pt x="6736702" y="1212980"/>
                </a:lnTo>
                <a:lnTo>
                  <a:pt x="4348065" y="1660849"/>
                </a:lnTo>
                <a:lnTo>
                  <a:pt x="3750906" y="3321698"/>
                </a:lnTo>
                <a:lnTo>
                  <a:pt x="5710334" y="2761861"/>
                </a:lnTo>
                <a:lnTo>
                  <a:pt x="3097763" y="1474237"/>
                </a:lnTo>
                <a:lnTo>
                  <a:pt x="0" y="3769567"/>
                </a:lnTo>
                <a:lnTo>
                  <a:pt x="2575249" y="2313992"/>
                </a:lnTo>
                <a:lnTo>
                  <a:pt x="3676261" y="324705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3" name="Freeform 182">
            <a:extLst>
              <a:ext uri="{FF2B5EF4-FFF2-40B4-BE49-F238E27FC236}">
                <a16:creationId xmlns:a16="http://schemas.microsoft.com/office/drawing/2014/main" id="{3190A9A7-1280-67E0-3F1D-2DEAF653676E}"/>
              </a:ext>
              <a:ext uri="{C183D7F6-B498-43B3-948B-1728B52AA6E4}">
                <adec:decorative xmlns:adec="http://schemas.microsoft.com/office/drawing/2017/decorative" val="1"/>
              </a:ext>
            </a:extLst>
          </p:cNvPr>
          <p:cNvSpPr/>
          <p:nvPr/>
        </p:nvSpPr>
        <p:spPr bwMode="auto">
          <a:xfrm>
            <a:off x="590546" y="1817528"/>
            <a:ext cx="10400751" cy="3251007"/>
          </a:xfrm>
          <a:custGeom>
            <a:avLst/>
            <a:gdLst>
              <a:gd name="connsiteX0" fmla="*/ 0 w 20266090"/>
              <a:gd name="connsiteY0" fmla="*/ 1101012 h 5169159"/>
              <a:gd name="connsiteX1" fmla="*/ 1511559 w 20266090"/>
              <a:gd name="connsiteY1" fmla="*/ 1642188 h 5169159"/>
              <a:gd name="connsiteX2" fmla="*/ 3732245 w 20266090"/>
              <a:gd name="connsiteY2" fmla="*/ 522514 h 5169159"/>
              <a:gd name="connsiteX3" fmla="*/ 5952930 w 20266090"/>
              <a:gd name="connsiteY3" fmla="*/ 1604865 h 5169159"/>
              <a:gd name="connsiteX4" fmla="*/ 6643396 w 20266090"/>
              <a:gd name="connsiteY4" fmla="*/ 2220686 h 5169159"/>
              <a:gd name="connsiteX5" fmla="*/ 6400800 w 20266090"/>
              <a:gd name="connsiteY5" fmla="*/ 3452326 h 5169159"/>
              <a:gd name="connsiteX6" fmla="*/ 5001208 w 20266090"/>
              <a:gd name="connsiteY6" fmla="*/ 3433665 h 5169159"/>
              <a:gd name="connsiteX7" fmla="*/ 3564294 w 20266090"/>
              <a:gd name="connsiteY7" fmla="*/ 3228392 h 5169159"/>
              <a:gd name="connsiteX8" fmla="*/ 1007706 w 20266090"/>
              <a:gd name="connsiteY8" fmla="*/ 3732245 h 5169159"/>
              <a:gd name="connsiteX9" fmla="*/ 391885 w 20266090"/>
              <a:gd name="connsiteY9" fmla="*/ 2444620 h 5169159"/>
              <a:gd name="connsiteX10" fmla="*/ 1884783 w 20266090"/>
              <a:gd name="connsiteY10" fmla="*/ 2593910 h 5169159"/>
              <a:gd name="connsiteX11" fmla="*/ 2500604 w 20266090"/>
              <a:gd name="connsiteY11" fmla="*/ 1922106 h 5169159"/>
              <a:gd name="connsiteX12" fmla="*/ 3993502 w 20266090"/>
              <a:gd name="connsiteY12" fmla="*/ 2425959 h 5169159"/>
              <a:gd name="connsiteX13" fmla="*/ 6662057 w 20266090"/>
              <a:gd name="connsiteY13" fmla="*/ 2239347 h 5169159"/>
              <a:gd name="connsiteX14" fmla="*/ 7613779 w 20266090"/>
              <a:gd name="connsiteY14" fmla="*/ 1530220 h 5169159"/>
              <a:gd name="connsiteX15" fmla="*/ 6662057 w 20266090"/>
              <a:gd name="connsiteY15" fmla="*/ 1455575 h 5169159"/>
              <a:gd name="connsiteX16" fmla="*/ 9386596 w 20266090"/>
              <a:gd name="connsiteY16" fmla="*/ 18661 h 5169159"/>
              <a:gd name="connsiteX17" fmla="*/ 8714792 w 20266090"/>
              <a:gd name="connsiteY17" fmla="*/ 1287624 h 5169159"/>
              <a:gd name="connsiteX18" fmla="*/ 7651102 w 20266090"/>
              <a:gd name="connsiteY18" fmla="*/ 3135086 h 5169159"/>
              <a:gd name="connsiteX19" fmla="*/ 6680718 w 20266090"/>
              <a:gd name="connsiteY19" fmla="*/ 2239347 h 5169159"/>
              <a:gd name="connsiteX20" fmla="*/ 7109926 w 20266090"/>
              <a:gd name="connsiteY20" fmla="*/ 3769567 h 5169159"/>
              <a:gd name="connsiteX21" fmla="*/ 6680718 w 20266090"/>
              <a:gd name="connsiteY21" fmla="*/ 5169159 h 5169159"/>
              <a:gd name="connsiteX22" fmla="*/ 6400800 w 20266090"/>
              <a:gd name="connsiteY22" fmla="*/ 3452326 h 5169159"/>
              <a:gd name="connsiteX23" fmla="*/ 7091265 w 20266090"/>
              <a:gd name="connsiteY23" fmla="*/ 3769567 h 5169159"/>
              <a:gd name="connsiteX24" fmla="*/ 9797143 w 20266090"/>
              <a:gd name="connsiteY24" fmla="*/ 2873828 h 5169159"/>
              <a:gd name="connsiteX25" fmla="*/ 9274628 w 20266090"/>
              <a:gd name="connsiteY25" fmla="*/ 3732245 h 5169159"/>
              <a:gd name="connsiteX26" fmla="*/ 12465698 w 20266090"/>
              <a:gd name="connsiteY26" fmla="*/ 4217437 h 5169159"/>
              <a:gd name="connsiteX27" fmla="*/ 11122090 w 20266090"/>
              <a:gd name="connsiteY27" fmla="*/ 3041779 h 5169159"/>
              <a:gd name="connsiteX28" fmla="*/ 9815804 w 20266090"/>
              <a:gd name="connsiteY28" fmla="*/ 2911151 h 5169159"/>
              <a:gd name="connsiteX29" fmla="*/ 12092473 w 20266090"/>
              <a:gd name="connsiteY29" fmla="*/ 2444620 h 5169159"/>
              <a:gd name="connsiteX30" fmla="*/ 13566710 w 20266090"/>
              <a:gd name="connsiteY30" fmla="*/ 1810139 h 5169159"/>
              <a:gd name="connsiteX31" fmla="*/ 16272588 w 20266090"/>
              <a:gd name="connsiteY31" fmla="*/ 895739 h 5169159"/>
              <a:gd name="connsiteX32" fmla="*/ 18773192 w 20266090"/>
              <a:gd name="connsiteY32" fmla="*/ 2276669 h 5169159"/>
              <a:gd name="connsiteX33" fmla="*/ 19127755 w 20266090"/>
              <a:gd name="connsiteY33" fmla="*/ 2967135 h 5169159"/>
              <a:gd name="connsiteX34" fmla="*/ 19426334 w 20266090"/>
              <a:gd name="connsiteY34" fmla="*/ 4478694 h 5169159"/>
              <a:gd name="connsiteX35" fmla="*/ 18325322 w 20266090"/>
              <a:gd name="connsiteY35" fmla="*/ 3228392 h 5169159"/>
              <a:gd name="connsiteX36" fmla="*/ 19146416 w 20266090"/>
              <a:gd name="connsiteY36" fmla="*/ 3004457 h 5169159"/>
              <a:gd name="connsiteX37" fmla="*/ 20266090 w 20266090"/>
              <a:gd name="connsiteY37" fmla="*/ 2369975 h 5169159"/>
              <a:gd name="connsiteX38" fmla="*/ 18717208 w 20266090"/>
              <a:gd name="connsiteY38" fmla="*/ 2220686 h 5169159"/>
              <a:gd name="connsiteX39" fmla="*/ 18306661 w 20266090"/>
              <a:gd name="connsiteY39" fmla="*/ 3172408 h 5169159"/>
              <a:gd name="connsiteX40" fmla="*/ 17354939 w 20266090"/>
              <a:gd name="connsiteY40" fmla="*/ 2425959 h 5169159"/>
              <a:gd name="connsiteX41" fmla="*/ 16272588 w 20266090"/>
              <a:gd name="connsiteY41" fmla="*/ 858416 h 5169159"/>
              <a:gd name="connsiteX42" fmla="*/ 15787396 w 20266090"/>
              <a:gd name="connsiteY42" fmla="*/ 2276669 h 5169159"/>
              <a:gd name="connsiteX43" fmla="*/ 14518432 w 20266090"/>
              <a:gd name="connsiteY43" fmla="*/ 2220686 h 5169159"/>
              <a:gd name="connsiteX44" fmla="*/ 13604032 w 20266090"/>
              <a:gd name="connsiteY44" fmla="*/ 1772816 h 5169159"/>
              <a:gd name="connsiteX45" fmla="*/ 13417420 w 20266090"/>
              <a:gd name="connsiteY45" fmla="*/ 2687216 h 5169159"/>
              <a:gd name="connsiteX46" fmla="*/ 12185779 w 20266090"/>
              <a:gd name="connsiteY46" fmla="*/ 2407298 h 5169159"/>
              <a:gd name="connsiteX47" fmla="*/ 10767526 w 20266090"/>
              <a:gd name="connsiteY47" fmla="*/ 1660849 h 5169159"/>
              <a:gd name="connsiteX48" fmla="*/ 9778481 w 20266090"/>
              <a:gd name="connsiteY48" fmla="*/ 2873828 h 5169159"/>
              <a:gd name="connsiteX49" fmla="*/ 8733453 w 20266090"/>
              <a:gd name="connsiteY49" fmla="*/ 2481943 h 5169159"/>
              <a:gd name="connsiteX50" fmla="*/ 8733453 w 20266090"/>
              <a:gd name="connsiteY50" fmla="*/ 1250302 h 5169159"/>
              <a:gd name="connsiteX51" fmla="*/ 9815804 w 20266090"/>
              <a:gd name="connsiteY51" fmla="*/ 2873828 h 5169159"/>
              <a:gd name="connsiteX52" fmla="*/ 9367934 w 20266090"/>
              <a:gd name="connsiteY52" fmla="*/ 0 h 5169159"/>
              <a:gd name="connsiteX53" fmla="*/ 10804849 w 20266090"/>
              <a:gd name="connsiteY53" fmla="*/ 1660849 h 5169159"/>
              <a:gd name="connsiteX54" fmla="*/ 13585371 w 20266090"/>
              <a:gd name="connsiteY54" fmla="*/ 1791477 h 5169159"/>
              <a:gd name="connsiteX55" fmla="*/ 11532636 w 20266090"/>
              <a:gd name="connsiteY55" fmla="*/ 1399592 h 5169159"/>
              <a:gd name="connsiteX56" fmla="*/ 9367934 w 20266090"/>
              <a:gd name="connsiteY56" fmla="*/ 18661 h 5169159"/>
              <a:gd name="connsiteX57" fmla="*/ 13604032 w 20266090"/>
              <a:gd name="connsiteY57" fmla="*/ 1810139 h 516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0266090" h="5169159">
                <a:moveTo>
                  <a:pt x="0" y="1101012"/>
                </a:moveTo>
                <a:lnTo>
                  <a:pt x="1511559" y="1642188"/>
                </a:lnTo>
                <a:lnTo>
                  <a:pt x="3732245" y="522514"/>
                </a:lnTo>
                <a:lnTo>
                  <a:pt x="5952930" y="1604865"/>
                </a:lnTo>
                <a:lnTo>
                  <a:pt x="6643396" y="2220686"/>
                </a:lnTo>
                <a:lnTo>
                  <a:pt x="6400800" y="3452326"/>
                </a:lnTo>
                <a:lnTo>
                  <a:pt x="5001208" y="3433665"/>
                </a:lnTo>
                <a:lnTo>
                  <a:pt x="3564294" y="3228392"/>
                </a:lnTo>
                <a:lnTo>
                  <a:pt x="1007706" y="3732245"/>
                </a:lnTo>
                <a:lnTo>
                  <a:pt x="391885" y="2444620"/>
                </a:lnTo>
                <a:lnTo>
                  <a:pt x="1884783" y="2593910"/>
                </a:lnTo>
                <a:lnTo>
                  <a:pt x="2500604" y="1922106"/>
                </a:lnTo>
                <a:lnTo>
                  <a:pt x="3993502" y="2425959"/>
                </a:lnTo>
                <a:lnTo>
                  <a:pt x="6662057" y="2239347"/>
                </a:lnTo>
                <a:lnTo>
                  <a:pt x="7613779" y="1530220"/>
                </a:lnTo>
                <a:lnTo>
                  <a:pt x="6662057" y="1455575"/>
                </a:lnTo>
                <a:lnTo>
                  <a:pt x="9386596" y="18661"/>
                </a:lnTo>
                <a:lnTo>
                  <a:pt x="8714792" y="1287624"/>
                </a:lnTo>
                <a:lnTo>
                  <a:pt x="7651102" y="3135086"/>
                </a:lnTo>
                <a:lnTo>
                  <a:pt x="6680718" y="2239347"/>
                </a:lnTo>
                <a:lnTo>
                  <a:pt x="7109926" y="3769567"/>
                </a:lnTo>
                <a:lnTo>
                  <a:pt x="6680718" y="5169159"/>
                </a:lnTo>
                <a:lnTo>
                  <a:pt x="6400800" y="3452326"/>
                </a:lnTo>
                <a:lnTo>
                  <a:pt x="7091265" y="3769567"/>
                </a:lnTo>
                <a:lnTo>
                  <a:pt x="9797143" y="2873828"/>
                </a:lnTo>
                <a:lnTo>
                  <a:pt x="9274628" y="3732245"/>
                </a:lnTo>
                <a:lnTo>
                  <a:pt x="12465698" y="4217437"/>
                </a:lnTo>
                <a:lnTo>
                  <a:pt x="11122090" y="3041779"/>
                </a:lnTo>
                <a:lnTo>
                  <a:pt x="9815804" y="2911151"/>
                </a:lnTo>
                <a:lnTo>
                  <a:pt x="12092473" y="2444620"/>
                </a:lnTo>
                <a:lnTo>
                  <a:pt x="13566710" y="1810139"/>
                </a:lnTo>
                <a:lnTo>
                  <a:pt x="16272588" y="895739"/>
                </a:lnTo>
                <a:lnTo>
                  <a:pt x="18773192" y="2276669"/>
                </a:lnTo>
                <a:lnTo>
                  <a:pt x="19127755" y="2967135"/>
                </a:lnTo>
                <a:lnTo>
                  <a:pt x="19426334" y="4478694"/>
                </a:lnTo>
                <a:lnTo>
                  <a:pt x="18325322" y="3228392"/>
                </a:lnTo>
                <a:lnTo>
                  <a:pt x="19146416" y="3004457"/>
                </a:lnTo>
                <a:lnTo>
                  <a:pt x="20266090" y="2369975"/>
                </a:lnTo>
                <a:lnTo>
                  <a:pt x="18717208" y="2220686"/>
                </a:lnTo>
                <a:lnTo>
                  <a:pt x="18306661" y="3172408"/>
                </a:lnTo>
                <a:lnTo>
                  <a:pt x="17354939" y="2425959"/>
                </a:lnTo>
                <a:lnTo>
                  <a:pt x="16272588" y="858416"/>
                </a:lnTo>
                <a:lnTo>
                  <a:pt x="15787396" y="2276669"/>
                </a:lnTo>
                <a:lnTo>
                  <a:pt x="14518432" y="2220686"/>
                </a:lnTo>
                <a:lnTo>
                  <a:pt x="13604032" y="1772816"/>
                </a:lnTo>
                <a:lnTo>
                  <a:pt x="13417420" y="2687216"/>
                </a:lnTo>
                <a:lnTo>
                  <a:pt x="12185779" y="2407298"/>
                </a:lnTo>
                <a:lnTo>
                  <a:pt x="10767526" y="1660849"/>
                </a:lnTo>
                <a:lnTo>
                  <a:pt x="9778481" y="2873828"/>
                </a:lnTo>
                <a:lnTo>
                  <a:pt x="8733453" y="2481943"/>
                </a:lnTo>
                <a:lnTo>
                  <a:pt x="8733453" y="1250302"/>
                </a:lnTo>
                <a:lnTo>
                  <a:pt x="9815804" y="2873828"/>
                </a:lnTo>
                <a:lnTo>
                  <a:pt x="9367934" y="0"/>
                </a:lnTo>
                <a:lnTo>
                  <a:pt x="10804849" y="1660849"/>
                </a:lnTo>
                <a:lnTo>
                  <a:pt x="13585371" y="1791477"/>
                </a:lnTo>
                <a:lnTo>
                  <a:pt x="11532636" y="1399592"/>
                </a:lnTo>
                <a:lnTo>
                  <a:pt x="9367934" y="18661"/>
                </a:lnTo>
                <a:lnTo>
                  <a:pt x="13604032" y="1810139"/>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4" name="Freeform 183">
            <a:extLst>
              <a:ext uri="{FF2B5EF4-FFF2-40B4-BE49-F238E27FC236}">
                <a16:creationId xmlns:a16="http://schemas.microsoft.com/office/drawing/2014/main" id="{577112C9-56AE-F18A-1276-8B1E62A4DF67}"/>
              </a:ext>
              <a:ext uri="{C183D7F6-B498-43B3-948B-1728B52AA6E4}">
                <adec:decorative xmlns:adec="http://schemas.microsoft.com/office/drawing/2017/decorative" val="1"/>
              </a:ext>
            </a:extLst>
          </p:cNvPr>
          <p:cNvSpPr/>
          <p:nvPr/>
        </p:nvSpPr>
        <p:spPr bwMode="auto">
          <a:xfrm>
            <a:off x="7546282" y="2380879"/>
            <a:ext cx="3031988" cy="2359034"/>
          </a:xfrm>
          <a:custGeom>
            <a:avLst/>
            <a:gdLst>
              <a:gd name="connsiteX0" fmla="*/ 6027576 w 6027576"/>
              <a:gd name="connsiteY0" fmla="*/ 3526971 h 3750906"/>
              <a:gd name="connsiteX1" fmla="*/ 3862874 w 6027576"/>
              <a:gd name="connsiteY1" fmla="*/ 2463281 h 3750906"/>
              <a:gd name="connsiteX2" fmla="*/ 2556588 w 6027576"/>
              <a:gd name="connsiteY2" fmla="*/ 2519265 h 3750906"/>
              <a:gd name="connsiteX3" fmla="*/ 2369976 w 6027576"/>
              <a:gd name="connsiteY3" fmla="*/ 1380930 h 3750906"/>
              <a:gd name="connsiteX4" fmla="*/ 3918857 w 6027576"/>
              <a:gd name="connsiteY4" fmla="*/ 2444620 h 3750906"/>
              <a:gd name="connsiteX5" fmla="*/ 4870580 w 6027576"/>
              <a:gd name="connsiteY5" fmla="*/ 2388636 h 3750906"/>
              <a:gd name="connsiteX6" fmla="*/ 2369976 w 6027576"/>
              <a:gd name="connsiteY6" fmla="*/ 1380930 h 3750906"/>
              <a:gd name="connsiteX7" fmla="*/ 1250302 w 6027576"/>
              <a:gd name="connsiteY7" fmla="*/ 2799183 h 3750906"/>
              <a:gd name="connsiteX8" fmla="*/ 2071396 w 6027576"/>
              <a:gd name="connsiteY8" fmla="*/ 3750906 h 3750906"/>
              <a:gd name="connsiteX9" fmla="*/ 0 w 6027576"/>
              <a:gd name="connsiteY9" fmla="*/ 2575249 h 3750906"/>
              <a:gd name="connsiteX10" fmla="*/ 1250302 w 6027576"/>
              <a:gd name="connsiteY10" fmla="*/ 2836506 h 3750906"/>
              <a:gd name="connsiteX11" fmla="*/ 74645 w 6027576"/>
              <a:gd name="connsiteY11" fmla="*/ 1791477 h 3750906"/>
              <a:gd name="connsiteX12" fmla="*/ 1101012 w 6027576"/>
              <a:gd name="connsiteY12" fmla="*/ 1343608 h 3750906"/>
              <a:gd name="connsiteX13" fmla="*/ 2892490 w 6027576"/>
              <a:gd name="connsiteY13" fmla="*/ 0 h 375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27576" h="3750906">
                <a:moveTo>
                  <a:pt x="6027576" y="3526971"/>
                </a:moveTo>
                <a:lnTo>
                  <a:pt x="3862874" y="2463281"/>
                </a:lnTo>
                <a:lnTo>
                  <a:pt x="2556588" y="2519265"/>
                </a:lnTo>
                <a:lnTo>
                  <a:pt x="2369976" y="1380930"/>
                </a:lnTo>
                <a:lnTo>
                  <a:pt x="3918857" y="2444620"/>
                </a:lnTo>
                <a:lnTo>
                  <a:pt x="4870580" y="2388636"/>
                </a:lnTo>
                <a:lnTo>
                  <a:pt x="2369976" y="1380930"/>
                </a:lnTo>
                <a:lnTo>
                  <a:pt x="1250302" y="2799183"/>
                </a:lnTo>
                <a:lnTo>
                  <a:pt x="2071396" y="3750906"/>
                </a:lnTo>
                <a:lnTo>
                  <a:pt x="0" y="2575249"/>
                </a:lnTo>
                <a:lnTo>
                  <a:pt x="1250302" y="2836506"/>
                </a:lnTo>
                <a:lnTo>
                  <a:pt x="74645" y="1791477"/>
                </a:lnTo>
                <a:lnTo>
                  <a:pt x="1101012" y="1343608"/>
                </a:lnTo>
                <a:lnTo>
                  <a:pt x="2892490" y="0"/>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37" name="Freeform 122">
            <a:extLst>
              <a:ext uri="{FF2B5EF4-FFF2-40B4-BE49-F238E27FC236}">
                <a16:creationId xmlns:a16="http://schemas.microsoft.com/office/drawing/2014/main" id="{A5D238B9-CD11-97EF-2107-4E1447F52E1F}"/>
              </a:ext>
              <a:ext uri="{C183D7F6-B498-43B3-948B-1728B52AA6E4}">
                <adec:decorative xmlns:adec="http://schemas.microsoft.com/office/drawing/2017/decorative" val="1"/>
              </a:ext>
            </a:extLst>
          </p:cNvPr>
          <p:cNvSpPr/>
          <p:nvPr/>
        </p:nvSpPr>
        <p:spPr>
          <a:xfrm>
            <a:off x="7955528" y="310186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a:ea typeface="+mn-lt"/>
              <a:cs typeface="Segoe UI"/>
              <a:sym typeface="+mn-lt"/>
            </a:endParaRPr>
          </a:p>
        </p:txBody>
      </p:sp>
      <p:sp>
        <p:nvSpPr>
          <p:cNvPr id="238" name="Freeform 123">
            <a:extLst>
              <a:ext uri="{FF2B5EF4-FFF2-40B4-BE49-F238E27FC236}">
                <a16:creationId xmlns:a16="http://schemas.microsoft.com/office/drawing/2014/main" id="{C609E1F2-CDBD-A8ED-4C53-AAEA6228884C}"/>
              </a:ext>
              <a:ext uri="{C183D7F6-B498-43B3-948B-1728B52AA6E4}">
                <adec:decorative xmlns:adec="http://schemas.microsoft.com/office/drawing/2017/decorative" val="1"/>
              </a:ext>
            </a:extLst>
          </p:cNvPr>
          <p:cNvSpPr/>
          <p:nvPr/>
        </p:nvSpPr>
        <p:spPr>
          <a:xfrm>
            <a:off x="6055006" y="2769220"/>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7000">
                <a:srgbClr val="7A46B2"/>
              </a:gs>
              <a:gs pos="91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39" name="Freeform 124">
            <a:extLst>
              <a:ext uri="{FF2B5EF4-FFF2-40B4-BE49-F238E27FC236}">
                <a16:creationId xmlns:a16="http://schemas.microsoft.com/office/drawing/2014/main" id="{B744016B-318B-135A-8F03-2B876D7D9FC9}"/>
              </a:ext>
              <a:ext uri="{C183D7F6-B498-43B3-948B-1728B52AA6E4}">
                <adec:decorative xmlns:adec="http://schemas.microsoft.com/office/drawing/2017/decorative" val="1"/>
              </a:ext>
            </a:extLst>
          </p:cNvPr>
          <p:cNvSpPr/>
          <p:nvPr/>
        </p:nvSpPr>
        <p:spPr>
          <a:xfrm>
            <a:off x="2475527" y="3657136"/>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0" name="Freeform 125">
            <a:extLst>
              <a:ext uri="{FF2B5EF4-FFF2-40B4-BE49-F238E27FC236}">
                <a16:creationId xmlns:a16="http://schemas.microsoft.com/office/drawing/2014/main" id="{E8AFCF2F-DC08-998F-E5C0-3FBAF6B65BCA}"/>
              </a:ext>
              <a:ext uri="{C183D7F6-B498-43B3-948B-1728B52AA6E4}">
                <adec:decorative xmlns:adec="http://schemas.microsoft.com/office/drawing/2017/decorative" val="1"/>
              </a:ext>
            </a:extLst>
          </p:cNvPr>
          <p:cNvSpPr/>
          <p:nvPr/>
        </p:nvSpPr>
        <p:spPr>
          <a:xfrm>
            <a:off x="1623143" y="3298238"/>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1" name="Freeform 126">
            <a:extLst>
              <a:ext uri="{FF2B5EF4-FFF2-40B4-BE49-F238E27FC236}">
                <a16:creationId xmlns:a16="http://schemas.microsoft.com/office/drawing/2014/main" id="{C2BFF601-96A8-900E-28F6-90B8314CA922}"/>
              </a:ext>
              <a:ext uri="{C183D7F6-B498-43B3-948B-1728B52AA6E4}">
                <adec:decorative xmlns:adec="http://schemas.microsoft.com/office/drawing/2017/decorative" val="1"/>
              </a:ext>
            </a:extLst>
          </p:cNvPr>
          <p:cNvSpPr/>
          <p:nvPr/>
        </p:nvSpPr>
        <p:spPr>
          <a:xfrm>
            <a:off x="4094400" y="2597386"/>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2" name="Freeform 127">
            <a:extLst>
              <a:ext uri="{FF2B5EF4-FFF2-40B4-BE49-F238E27FC236}">
                <a16:creationId xmlns:a16="http://schemas.microsoft.com/office/drawing/2014/main" id="{C16AC8B5-CB28-C594-69F1-CB9C70A5D3E4}"/>
              </a:ext>
              <a:ext uri="{C183D7F6-B498-43B3-948B-1728B52AA6E4}">
                <adec:decorative xmlns:adec="http://schemas.microsoft.com/office/drawing/2017/decorative" val="1"/>
              </a:ext>
            </a:extLst>
          </p:cNvPr>
          <p:cNvSpPr/>
          <p:nvPr/>
        </p:nvSpPr>
        <p:spPr>
          <a:xfrm>
            <a:off x="4269673" y="4059567"/>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4" name="Freeform 129">
            <a:extLst>
              <a:ext uri="{FF2B5EF4-FFF2-40B4-BE49-F238E27FC236}">
                <a16:creationId xmlns:a16="http://schemas.microsoft.com/office/drawing/2014/main" id="{63D9861C-CE6D-CCFE-4509-B5D68CA1BA4F}"/>
              </a:ext>
              <a:ext uri="{C183D7F6-B498-43B3-948B-1728B52AA6E4}">
                <adec:decorative xmlns:adec="http://schemas.microsoft.com/office/drawing/2017/decorative" val="1"/>
              </a:ext>
            </a:extLst>
          </p:cNvPr>
          <p:cNvSpPr/>
          <p:nvPr/>
        </p:nvSpPr>
        <p:spPr>
          <a:xfrm>
            <a:off x="6268992" y="3619079"/>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5" name="Freeform 130">
            <a:extLst>
              <a:ext uri="{FF2B5EF4-FFF2-40B4-BE49-F238E27FC236}">
                <a16:creationId xmlns:a16="http://schemas.microsoft.com/office/drawing/2014/main" id="{DA9F30EB-3B66-CB82-9C14-BB707366E987}"/>
              </a:ext>
              <a:ext uri="{C183D7F6-B498-43B3-948B-1728B52AA6E4}">
                <adec:decorative xmlns:adec="http://schemas.microsoft.com/office/drawing/2017/decorative" val="1"/>
              </a:ext>
            </a:extLst>
          </p:cNvPr>
          <p:cNvSpPr/>
          <p:nvPr/>
        </p:nvSpPr>
        <p:spPr>
          <a:xfrm>
            <a:off x="3461701" y="3135252"/>
            <a:ext cx="288287" cy="2882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6" name="Freeform 131">
            <a:extLst>
              <a:ext uri="{FF2B5EF4-FFF2-40B4-BE49-F238E27FC236}">
                <a16:creationId xmlns:a16="http://schemas.microsoft.com/office/drawing/2014/main" id="{46B4B00E-3426-4535-D370-4D1F26CC52A5}"/>
              </a:ext>
              <a:ext uri="{C183D7F6-B498-43B3-948B-1728B52AA6E4}">
                <adec:decorative xmlns:adec="http://schemas.microsoft.com/office/drawing/2017/decorative" val="1"/>
              </a:ext>
            </a:extLst>
          </p:cNvPr>
          <p:cNvSpPr/>
          <p:nvPr/>
        </p:nvSpPr>
        <p:spPr>
          <a:xfrm>
            <a:off x="2653935" y="2552445"/>
            <a:ext cx="143410" cy="1433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7" name="Freeform 132">
            <a:extLst>
              <a:ext uri="{FF2B5EF4-FFF2-40B4-BE49-F238E27FC236}">
                <a16:creationId xmlns:a16="http://schemas.microsoft.com/office/drawing/2014/main" id="{178F0490-D2BB-65E1-097B-9F66915E31FA}"/>
              </a:ext>
              <a:ext uri="{C183D7F6-B498-43B3-948B-1728B52AA6E4}">
                <adec:decorative xmlns:adec="http://schemas.microsoft.com/office/drawing/2017/decorative" val="1"/>
              </a:ext>
            </a:extLst>
          </p:cNvPr>
          <p:cNvSpPr/>
          <p:nvPr/>
        </p:nvSpPr>
        <p:spPr>
          <a:xfrm>
            <a:off x="2714272" y="3227520"/>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8" name="Freeform 133">
            <a:extLst>
              <a:ext uri="{FF2B5EF4-FFF2-40B4-BE49-F238E27FC236}">
                <a16:creationId xmlns:a16="http://schemas.microsoft.com/office/drawing/2014/main" id="{05A9E048-04CA-746B-A50E-AF7B8B85B9C0}"/>
              </a:ext>
              <a:ext uri="{C183D7F6-B498-43B3-948B-1728B52AA6E4}">
                <adec:decorative xmlns:adec="http://schemas.microsoft.com/office/drawing/2017/decorative" val="1"/>
              </a:ext>
            </a:extLst>
          </p:cNvPr>
          <p:cNvSpPr/>
          <p:nvPr/>
        </p:nvSpPr>
        <p:spPr>
          <a:xfrm>
            <a:off x="905306" y="326872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9" name="Freeform 134">
            <a:extLst>
              <a:ext uri="{FF2B5EF4-FFF2-40B4-BE49-F238E27FC236}">
                <a16:creationId xmlns:a16="http://schemas.microsoft.com/office/drawing/2014/main" id="{215D2E54-5C23-E40B-9772-F1E7717F3917}"/>
              </a:ext>
              <a:ext uri="{C183D7F6-B498-43B3-948B-1728B52AA6E4}">
                <adec:decorative xmlns:adec="http://schemas.microsoft.com/office/drawing/2017/decorative" val="1"/>
              </a:ext>
            </a:extLst>
          </p:cNvPr>
          <p:cNvSpPr/>
          <p:nvPr/>
        </p:nvSpPr>
        <p:spPr>
          <a:xfrm>
            <a:off x="3722628" y="2735383"/>
            <a:ext cx="180961" cy="18091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0" name="Freeform 135">
            <a:extLst>
              <a:ext uri="{FF2B5EF4-FFF2-40B4-BE49-F238E27FC236}">
                <a16:creationId xmlns:a16="http://schemas.microsoft.com/office/drawing/2014/main" id="{2C45F371-6AC1-243B-52F7-5DB5D81FBA17}"/>
              </a:ext>
              <a:ext uri="{C183D7F6-B498-43B3-948B-1728B52AA6E4}">
                <adec:decorative xmlns:adec="http://schemas.microsoft.com/office/drawing/2017/decorative" val="1"/>
              </a:ext>
            </a:extLst>
          </p:cNvPr>
          <p:cNvSpPr/>
          <p:nvPr/>
        </p:nvSpPr>
        <p:spPr>
          <a:xfrm>
            <a:off x="6475640" y="2608750"/>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7000">
                <a:srgbClr val="7A46B2"/>
              </a:gs>
              <a:gs pos="91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1" name="Freeform 136">
            <a:extLst>
              <a:ext uri="{FF2B5EF4-FFF2-40B4-BE49-F238E27FC236}">
                <a16:creationId xmlns:a16="http://schemas.microsoft.com/office/drawing/2014/main" id="{977FB123-4B2D-EBB7-7C22-B5FF112FEE55}"/>
              </a:ext>
              <a:ext uri="{C183D7F6-B498-43B3-948B-1728B52AA6E4}">
                <adec:decorative xmlns:adec="http://schemas.microsoft.com/office/drawing/2017/decorative" val="1"/>
              </a:ext>
            </a:extLst>
          </p:cNvPr>
          <p:cNvSpPr/>
          <p:nvPr/>
        </p:nvSpPr>
        <p:spPr>
          <a:xfrm>
            <a:off x="4078048" y="3141518"/>
            <a:ext cx="181970" cy="18191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2" name="Freeform 137">
            <a:extLst>
              <a:ext uri="{FF2B5EF4-FFF2-40B4-BE49-F238E27FC236}">
                <a16:creationId xmlns:a16="http://schemas.microsoft.com/office/drawing/2014/main" id="{AFAC6304-384B-D731-C48F-917396503767}"/>
              </a:ext>
              <a:ext uri="{C183D7F6-B498-43B3-948B-1728B52AA6E4}">
                <adec:decorative xmlns:adec="http://schemas.microsoft.com/office/drawing/2017/decorative" val="1"/>
              </a:ext>
            </a:extLst>
          </p:cNvPr>
          <p:cNvSpPr/>
          <p:nvPr/>
        </p:nvSpPr>
        <p:spPr>
          <a:xfrm>
            <a:off x="8641112" y="3779222"/>
            <a:ext cx="372271" cy="37216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4" name="Freeform 139">
            <a:extLst>
              <a:ext uri="{FF2B5EF4-FFF2-40B4-BE49-F238E27FC236}">
                <a16:creationId xmlns:a16="http://schemas.microsoft.com/office/drawing/2014/main" id="{C3266E3C-E3D7-192F-97B3-2F2CCAA7FAA7}"/>
              </a:ext>
              <a:ext uri="{C183D7F6-B498-43B3-948B-1728B52AA6E4}">
                <adec:decorative xmlns:adec="http://schemas.microsoft.com/office/drawing/2017/decorative" val="1"/>
              </a:ext>
            </a:extLst>
          </p:cNvPr>
          <p:cNvSpPr/>
          <p:nvPr/>
        </p:nvSpPr>
        <p:spPr>
          <a:xfrm>
            <a:off x="6829081" y="3201011"/>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5" name="Freeform 140">
            <a:extLst>
              <a:ext uri="{FF2B5EF4-FFF2-40B4-BE49-F238E27FC236}">
                <a16:creationId xmlns:a16="http://schemas.microsoft.com/office/drawing/2014/main" id="{4A31C62B-3959-59CC-4D94-277B1AB661FD}"/>
              </a:ext>
              <a:ext uri="{C183D7F6-B498-43B3-948B-1728B52AA6E4}">
                <adec:decorative xmlns:adec="http://schemas.microsoft.com/office/drawing/2017/decorative" val="1"/>
              </a:ext>
            </a:extLst>
          </p:cNvPr>
          <p:cNvSpPr/>
          <p:nvPr/>
        </p:nvSpPr>
        <p:spPr>
          <a:xfrm>
            <a:off x="7459231" y="3937024"/>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6" name="Freeform 141">
            <a:extLst>
              <a:ext uri="{FF2B5EF4-FFF2-40B4-BE49-F238E27FC236}">
                <a16:creationId xmlns:a16="http://schemas.microsoft.com/office/drawing/2014/main" id="{0F88574D-2726-48B3-9ABC-628B72C67AF5}"/>
              </a:ext>
              <a:ext uri="{C183D7F6-B498-43B3-948B-1728B52AA6E4}">
                <adec:decorative xmlns:adec="http://schemas.microsoft.com/office/drawing/2017/decorative" val="1"/>
              </a:ext>
            </a:extLst>
          </p:cNvPr>
          <p:cNvSpPr/>
          <p:nvPr/>
        </p:nvSpPr>
        <p:spPr>
          <a:xfrm>
            <a:off x="9880877" y="3668144"/>
            <a:ext cx="298434" cy="29835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E14C7B"/>
              </a:gs>
              <a:gs pos="20000">
                <a:srgbClr val="B5429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7" name="Freeform 142">
            <a:extLst>
              <a:ext uri="{FF2B5EF4-FFF2-40B4-BE49-F238E27FC236}">
                <a16:creationId xmlns:a16="http://schemas.microsoft.com/office/drawing/2014/main" id="{7EF7A5EF-0924-F5C6-B843-B6BD3DE0A450}"/>
              </a:ext>
              <a:ext uri="{C183D7F6-B498-43B3-948B-1728B52AA6E4}">
                <adec:decorative xmlns:adec="http://schemas.microsoft.com/office/drawing/2017/decorative" val="1"/>
              </a:ext>
            </a:extLst>
          </p:cNvPr>
          <p:cNvSpPr/>
          <p:nvPr/>
        </p:nvSpPr>
        <p:spPr>
          <a:xfrm>
            <a:off x="3107756" y="2877703"/>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8" name="Freeform 143">
            <a:extLst>
              <a:ext uri="{FF2B5EF4-FFF2-40B4-BE49-F238E27FC236}">
                <a16:creationId xmlns:a16="http://schemas.microsoft.com/office/drawing/2014/main" id="{40E15004-CF6F-7839-5B10-4149AFAA4F7C}"/>
              </a:ext>
              <a:ext uri="{C183D7F6-B498-43B3-948B-1728B52AA6E4}">
                <adec:decorative xmlns:adec="http://schemas.microsoft.com/office/drawing/2017/decorative" val="1"/>
              </a:ext>
            </a:extLst>
          </p:cNvPr>
          <p:cNvSpPr/>
          <p:nvPr/>
        </p:nvSpPr>
        <p:spPr>
          <a:xfrm>
            <a:off x="5310103" y="1765570"/>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9" name="Freeform 144">
            <a:extLst>
              <a:ext uri="{FF2B5EF4-FFF2-40B4-BE49-F238E27FC236}">
                <a16:creationId xmlns:a16="http://schemas.microsoft.com/office/drawing/2014/main" id="{53367D7B-AA36-5D9C-4AE2-81EC5D59B73B}"/>
              </a:ext>
              <a:ext uri="{C183D7F6-B498-43B3-948B-1728B52AA6E4}">
                <adec:decorative xmlns:adec="http://schemas.microsoft.com/office/drawing/2017/decorative" val="1"/>
              </a:ext>
            </a:extLst>
          </p:cNvPr>
          <p:cNvSpPr/>
          <p:nvPr/>
        </p:nvSpPr>
        <p:spPr>
          <a:xfrm>
            <a:off x="1417675" y="2689997"/>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0" name="Freeform 145">
            <a:extLst>
              <a:ext uri="{FF2B5EF4-FFF2-40B4-BE49-F238E27FC236}">
                <a16:creationId xmlns:a16="http://schemas.microsoft.com/office/drawing/2014/main" id="{E088B9A9-30D3-F913-6C4B-2C0C6A6D750B}"/>
              </a:ext>
              <a:ext uri="{C183D7F6-B498-43B3-948B-1728B52AA6E4}">
                <adec:decorative xmlns:adec="http://schemas.microsoft.com/office/drawing/2017/decorative" val="1"/>
              </a:ext>
            </a:extLst>
          </p:cNvPr>
          <p:cNvSpPr/>
          <p:nvPr/>
        </p:nvSpPr>
        <p:spPr>
          <a:xfrm>
            <a:off x="1015943" y="2844081"/>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1" name="Freeform 146">
            <a:extLst>
              <a:ext uri="{FF2B5EF4-FFF2-40B4-BE49-F238E27FC236}">
                <a16:creationId xmlns:a16="http://schemas.microsoft.com/office/drawing/2014/main" id="{7E7934CD-D696-5DEB-0B3F-EBEDD3FD6152}"/>
              </a:ext>
              <a:ext uri="{C183D7F6-B498-43B3-948B-1728B52AA6E4}">
                <adec:decorative xmlns:adec="http://schemas.microsoft.com/office/drawing/2017/decorative" val="1"/>
              </a:ext>
            </a:extLst>
          </p:cNvPr>
          <p:cNvSpPr/>
          <p:nvPr/>
        </p:nvSpPr>
        <p:spPr>
          <a:xfrm>
            <a:off x="2486912" y="2075375"/>
            <a:ext cx="282465" cy="28238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2" name="Freeform 147">
            <a:extLst>
              <a:ext uri="{FF2B5EF4-FFF2-40B4-BE49-F238E27FC236}">
                <a16:creationId xmlns:a16="http://schemas.microsoft.com/office/drawing/2014/main" id="{4582D96D-D50B-BDD3-4F34-8EECE89A2E51}"/>
              </a:ext>
              <a:ext uri="{C183D7F6-B498-43B3-948B-1728B52AA6E4}">
                <adec:decorative xmlns:adec="http://schemas.microsoft.com/office/drawing/2017/decorative" val="1"/>
              </a:ext>
            </a:extLst>
          </p:cNvPr>
          <p:cNvSpPr/>
          <p:nvPr/>
        </p:nvSpPr>
        <p:spPr>
          <a:xfrm>
            <a:off x="9311846" y="3149193"/>
            <a:ext cx="372271" cy="37216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3" name="Freeform 148">
            <a:extLst>
              <a:ext uri="{FF2B5EF4-FFF2-40B4-BE49-F238E27FC236}">
                <a16:creationId xmlns:a16="http://schemas.microsoft.com/office/drawing/2014/main" id="{F06845AE-1E7C-3BF0-DAD2-CA5F952DA898}"/>
              </a:ext>
              <a:ext uri="{C183D7F6-B498-43B3-948B-1728B52AA6E4}">
                <adec:decorative xmlns:adec="http://schemas.microsoft.com/office/drawing/2017/decorative" val="1"/>
              </a:ext>
            </a:extLst>
          </p:cNvPr>
          <p:cNvSpPr/>
          <p:nvPr/>
        </p:nvSpPr>
        <p:spPr>
          <a:xfrm>
            <a:off x="8602398" y="3161303"/>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4" name="Freeform 149">
            <a:extLst>
              <a:ext uri="{FF2B5EF4-FFF2-40B4-BE49-F238E27FC236}">
                <a16:creationId xmlns:a16="http://schemas.microsoft.com/office/drawing/2014/main" id="{E54E1456-15AE-ECD4-AE80-91060B2D6664}"/>
              </a:ext>
              <a:ext uri="{C183D7F6-B498-43B3-948B-1728B52AA6E4}">
                <adec:decorative xmlns:adec="http://schemas.microsoft.com/office/drawing/2017/decorative" val="1"/>
              </a:ext>
            </a:extLst>
          </p:cNvPr>
          <p:cNvSpPr/>
          <p:nvPr/>
        </p:nvSpPr>
        <p:spPr>
          <a:xfrm>
            <a:off x="8845615" y="227744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5" name="Freeform 150">
            <a:extLst>
              <a:ext uri="{FF2B5EF4-FFF2-40B4-BE49-F238E27FC236}">
                <a16:creationId xmlns:a16="http://schemas.microsoft.com/office/drawing/2014/main" id="{8F8B899F-F877-5F51-7A56-94E754FB3870}"/>
              </a:ext>
              <a:ext uri="{C183D7F6-B498-43B3-948B-1728B52AA6E4}">
                <adec:decorative xmlns:adec="http://schemas.microsoft.com/office/drawing/2017/decorative" val="1"/>
              </a:ext>
            </a:extLst>
          </p:cNvPr>
          <p:cNvSpPr/>
          <p:nvPr/>
        </p:nvSpPr>
        <p:spPr>
          <a:xfrm>
            <a:off x="7499348" y="2821096"/>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6" name="Freeform 151">
            <a:extLst>
              <a:ext uri="{FF2B5EF4-FFF2-40B4-BE49-F238E27FC236}">
                <a16:creationId xmlns:a16="http://schemas.microsoft.com/office/drawing/2014/main" id="{5EB982F5-7566-0BC3-48FC-13E25A42497A}"/>
              </a:ext>
              <a:ext uri="{C183D7F6-B498-43B3-948B-1728B52AA6E4}">
                <adec:decorative xmlns:adec="http://schemas.microsoft.com/office/drawing/2017/decorative" val="1"/>
              </a:ext>
            </a:extLst>
          </p:cNvPr>
          <p:cNvSpPr/>
          <p:nvPr/>
        </p:nvSpPr>
        <p:spPr>
          <a:xfrm>
            <a:off x="9353513" y="3822045"/>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32000">
                <a:srgbClr val="CA429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7" name="Freeform 152">
            <a:extLst>
              <a:ext uri="{FF2B5EF4-FFF2-40B4-BE49-F238E27FC236}">
                <a16:creationId xmlns:a16="http://schemas.microsoft.com/office/drawing/2014/main" id="{DC92196B-09FA-910E-F1EC-895DEE0F79BD}"/>
              </a:ext>
              <a:ext uri="{C183D7F6-B498-43B3-948B-1728B52AA6E4}">
                <adec:decorative xmlns:adec="http://schemas.microsoft.com/office/drawing/2017/decorative" val="1"/>
              </a:ext>
            </a:extLst>
          </p:cNvPr>
          <p:cNvSpPr/>
          <p:nvPr/>
        </p:nvSpPr>
        <p:spPr>
          <a:xfrm>
            <a:off x="5617276" y="351276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67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8" name="Freeform 153">
            <a:extLst>
              <a:ext uri="{FF2B5EF4-FFF2-40B4-BE49-F238E27FC236}">
                <a16:creationId xmlns:a16="http://schemas.microsoft.com/office/drawing/2014/main" id="{B90CD4BE-5D83-191A-194B-50E76793D291}"/>
              </a:ext>
              <a:ext uri="{C183D7F6-B498-43B3-948B-1728B52AA6E4}">
                <adec:decorative xmlns:adec="http://schemas.microsoft.com/office/drawing/2017/decorative" val="1"/>
              </a:ext>
            </a:extLst>
          </p:cNvPr>
          <p:cNvSpPr/>
          <p:nvPr/>
        </p:nvSpPr>
        <p:spPr>
          <a:xfrm>
            <a:off x="5065466" y="3262225"/>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67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9" name="Freeform 154">
            <a:extLst>
              <a:ext uri="{FF2B5EF4-FFF2-40B4-BE49-F238E27FC236}">
                <a16:creationId xmlns:a16="http://schemas.microsoft.com/office/drawing/2014/main" id="{4B8406D3-42DF-E6AB-A38F-43DB454408C8}"/>
              </a:ext>
              <a:ext uri="{C183D7F6-B498-43B3-948B-1728B52AA6E4}">
                <adec:decorative xmlns:adec="http://schemas.microsoft.com/office/drawing/2017/decorative" val="1"/>
              </a:ext>
            </a:extLst>
          </p:cNvPr>
          <p:cNvSpPr/>
          <p:nvPr/>
        </p:nvSpPr>
        <p:spPr>
          <a:xfrm>
            <a:off x="3935940" y="3885741"/>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0" name="Freeform 155">
            <a:extLst>
              <a:ext uri="{FF2B5EF4-FFF2-40B4-BE49-F238E27FC236}">
                <a16:creationId xmlns:a16="http://schemas.microsoft.com/office/drawing/2014/main" id="{6384DD45-AD4C-A1A2-2F76-9607CC6D209B}"/>
              </a:ext>
              <a:ext uri="{C183D7F6-B498-43B3-948B-1728B52AA6E4}">
                <adec:decorative xmlns:adec="http://schemas.microsoft.com/office/drawing/2017/decorative" val="1"/>
              </a:ext>
            </a:extLst>
          </p:cNvPr>
          <p:cNvSpPr/>
          <p:nvPr/>
        </p:nvSpPr>
        <p:spPr>
          <a:xfrm>
            <a:off x="1205886" y="404363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2" name="Freeform 157">
            <a:extLst>
              <a:ext uri="{FF2B5EF4-FFF2-40B4-BE49-F238E27FC236}">
                <a16:creationId xmlns:a16="http://schemas.microsoft.com/office/drawing/2014/main" id="{B870E3AF-96F4-A191-BA4F-4861A81AD014}"/>
              </a:ext>
              <a:ext uri="{C183D7F6-B498-43B3-948B-1728B52AA6E4}">
                <adec:decorative xmlns:adec="http://schemas.microsoft.com/office/drawing/2017/decorative" val="1"/>
              </a:ext>
            </a:extLst>
          </p:cNvPr>
          <p:cNvSpPr/>
          <p:nvPr/>
        </p:nvSpPr>
        <p:spPr>
          <a:xfrm>
            <a:off x="7423815" y="3374095"/>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5" name="Freeform 160">
            <a:extLst>
              <a:ext uri="{FF2B5EF4-FFF2-40B4-BE49-F238E27FC236}">
                <a16:creationId xmlns:a16="http://schemas.microsoft.com/office/drawing/2014/main" id="{473C97D6-8F98-7FA1-29E8-80F867E7EC22}"/>
              </a:ext>
              <a:ext uri="{C183D7F6-B498-43B3-948B-1728B52AA6E4}">
                <adec:decorative xmlns:adec="http://schemas.microsoft.com/office/drawing/2017/decorative" val="1"/>
              </a:ext>
            </a:extLst>
          </p:cNvPr>
          <p:cNvSpPr/>
          <p:nvPr/>
        </p:nvSpPr>
        <p:spPr>
          <a:xfrm>
            <a:off x="10127694" y="3159108"/>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500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6" name="Freeform 161">
            <a:extLst>
              <a:ext uri="{FF2B5EF4-FFF2-40B4-BE49-F238E27FC236}">
                <a16:creationId xmlns:a16="http://schemas.microsoft.com/office/drawing/2014/main" id="{D5671608-A694-1D06-E2BA-4BAC6EBDA5EA}"/>
              </a:ext>
              <a:ext uri="{C183D7F6-B498-43B3-948B-1728B52AA6E4}">
                <adec:decorative xmlns:adec="http://schemas.microsoft.com/office/drawing/2017/decorative" val="1"/>
              </a:ext>
            </a:extLst>
          </p:cNvPr>
          <p:cNvSpPr/>
          <p:nvPr/>
        </p:nvSpPr>
        <p:spPr>
          <a:xfrm>
            <a:off x="8032947" y="4037776"/>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7" name="Freeform 162">
            <a:extLst>
              <a:ext uri="{FF2B5EF4-FFF2-40B4-BE49-F238E27FC236}">
                <a16:creationId xmlns:a16="http://schemas.microsoft.com/office/drawing/2014/main" id="{03929C76-7370-A8B5-553E-F9EA6B4369DC}"/>
              </a:ext>
              <a:ext uri="{C183D7F6-B498-43B3-948B-1728B52AA6E4}">
                <adec:decorative xmlns:adec="http://schemas.microsoft.com/office/drawing/2017/decorative" val="1"/>
              </a:ext>
            </a:extLst>
          </p:cNvPr>
          <p:cNvSpPr/>
          <p:nvPr/>
        </p:nvSpPr>
        <p:spPr>
          <a:xfrm>
            <a:off x="3141150" y="3820875"/>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8" name="Freeform 163">
            <a:extLst>
              <a:ext uri="{FF2B5EF4-FFF2-40B4-BE49-F238E27FC236}">
                <a16:creationId xmlns:a16="http://schemas.microsoft.com/office/drawing/2014/main" id="{CBF701F1-B0FC-4570-5998-3F61C80DA8CD}"/>
              </a:ext>
              <a:ext uri="{C183D7F6-B498-43B3-948B-1728B52AA6E4}">
                <adec:decorative xmlns:adec="http://schemas.microsoft.com/office/drawing/2017/decorative" val="1"/>
              </a:ext>
            </a:extLst>
          </p:cNvPr>
          <p:cNvSpPr/>
          <p:nvPr/>
        </p:nvSpPr>
        <p:spPr>
          <a:xfrm>
            <a:off x="10306093" y="3579197"/>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E14C7B"/>
              </a:gs>
              <a:gs pos="20000">
                <a:srgbClr val="B5429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9" name="Freeform 164">
            <a:extLst>
              <a:ext uri="{FF2B5EF4-FFF2-40B4-BE49-F238E27FC236}">
                <a16:creationId xmlns:a16="http://schemas.microsoft.com/office/drawing/2014/main" id="{AE19297B-B51E-AE6C-1FC9-623D068D23D2}"/>
              </a:ext>
              <a:ext uri="{C183D7F6-B498-43B3-948B-1728B52AA6E4}">
                <adec:decorative xmlns:adec="http://schemas.microsoft.com/office/drawing/2017/decorative" val="1"/>
              </a:ext>
            </a:extLst>
          </p:cNvPr>
          <p:cNvSpPr/>
          <p:nvPr/>
        </p:nvSpPr>
        <p:spPr>
          <a:xfrm>
            <a:off x="4481993" y="270078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0" name="Freeform 165">
            <a:extLst>
              <a:ext uri="{FF2B5EF4-FFF2-40B4-BE49-F238E27FC236}">
                <a16:creationId xmlns:a16="http://schemas.microsoft.com/office/drawing/2014/main" id="{9E0D8A10-041C-7E6D-8F80-4C8878AD1A66}"/>
              </a:ext>
              <a:ext uri="{C183D7F6-B498-43B3-948B-1728B52AA6E4}">
                <adec:decorative xmlns:adec="http://schemas.microsoft.com/office/drawing/2017/decorative" val="1"/>
              </a:ext>
            </a:extLst>
          </p:cNvPr>
          <p:cNvSpPr/>
          <p:nvPr/>
        </p:nvSpPr>
        <p:spPr>
          <a:xfrm>
            <a:off x="4512249" y="3619079"/>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1" name="Freeform 166">
            <a:extLst>
              <a:ext uri="{FF2B5EF4-FFF2-40B4-BE49-F238E27FC236}">
                <a16:creationId xmlns:a16="http://schemas.microsoft.com/office/drawing/2014/main" id="{B110C6E2-B5EA-7D39-E82D-C01582FFAEBA}"/>
              </a:ext>
              <a:ext uri="{C183D7F6-B498-43B3-948B-1728B52AA6E4}">
                <adec:decorative xmlns:adec="http://schemas.microsoft.com/office/drawing/2017/decorative" val="1"/>
              </a:ext>
            </a:extLst>
          </p:cNvPr>
          <p:cNvSpPr/>
          <p:nvPr/>
        </p:nvSpPr>
        <p:spPr>
          <a:xfrm>
            <a:off x="5077047" y="253698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2" name="Freeform 167">
            <a:extLst>
              <a:ext uri="{FF2B5EF4-FFF2-40B4-BE49-F238E27FC236}">
                <a16:creationId xmlns:a16="http://schemas.microsoft.com/office/drawing/2014/main" id="{67EBEEFD-E6CC-0CD0-0C3C-0D03334E4B48}"/>
              </a:ext>
              <a:ext uri="{C183D7F6-B498-43B3-948B-1728B52AA6E4}">
                <adec:decorative xmlns:adec="http://schemas.microsoft.com/office/drawing/2017/decorative" val="1"/>
              </a:ext>
            </a:extLst>
          </p:cNvPr>
          <p:cNvSpPr/>
          <p:nvPr/>
        </p:nvSpPr>
        <p:spPr>
          <a:xfrm>
            <a:off x="5355677" y="405450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67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4" name="Freeform 169">
            <a:extLst>
              <a:ext uri="{FF2B5EF4-FFF2-40B4-BE49-F238E27FC236}">
                <a16:creationId xmlns:a16="http://schemas.microsoft.com/office/drawing/2014/main" id="{DA63E4F9-E411-5CF4-AA74-90FF52763C7E}"/>
              </a:ext>
              <a:ext uri="{C183D7F6-B498-43B3-948B-1728B52AA6E4}">
                <adec:decorative xmlns:adec="http://schemas.microsoft.com/office/drawing/2017/decorative" val="1"/>
              </a:ext>
            </a:extLst>
          </p:cNvPr>
          <p:cNvSpPr/>
          <p:nvPr/>
        </p:nvSpPr>
        <p:spPr>
          <a:xfrm>
            <a:off x="1986071" y="2930368"/>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73" name="TextBox 172">
            <a:extLst>
              <a:ext uri="{FF2B5EF4-FFF2-40B4-BE49-F238E27FC236}">
                <a16:creationId xmlns:a16="http://schemas.microsoft.com/office/drawing/2014/main" id="{F0122534-A7C1-FB32-2F56-46919F9FFD0D}"/>
              </a:ext>
            </a:extLst>
          </p:cNvPr>
          <p:cNvSpPr txBox="1"/>
          <p:nvPr/>
        </p:nvSpPr>
        <p:spPr>
          <a:xfrm>
            <a:off x="3873185" y="1257050"/>
            <a:ext cx="4348389" cy="271613"/>
          </a:xfrm>
          <a:prstGeom prst="rect">
            <a:avLst/>
          </a:prstGeom>
          <a:noFill/>
        </p:spPr>
        <p:txBody>
          <a:bodyPr wrap="square" lIns="0" tIns="0" rIns="0" bIns="0" rtlCol="0" anchor="t">
            <a:spAutoFit/>
          </a:bodyPr>
          <a:lstStyle/>
          <a:p>
            <a:pPr marL="0" marR="0" lvl="0" indent="0" algn="ctr" defTabSz="750265" rtl="0" eaLnBrk="1" fontAlgn="auto" latinLnBrk="0" hangingPunct="1">
              <a:lnSpc>
                <a:spcPct val="100000"/>
              </a:lnSpc>
              <a:spcBef>
                <a:spcPts val="0"/>
              </a:spcBef>
              <a:spcAft>
                <a:spcPts val="0"/>
              </a:spcAft>
              <a:buClrTx/>
              <a:buSzTx/>
              <a:buFontTx/>
              <a:buNone/>
              <a:tabLst/>
              <a:defRPr/>
            </a:pPr>
            <a:r>
              <a:rPr kumimoji="0" lang="fr-fr" sz="1765" b="0" i="0" u="none" strike="noStrike" kern="1200" cap="none" spc="0" normalizeH="0" baseline="0" noProof="0">
                <a:ln>
                  <a:noFill/>
                </a:ln>
                <a:solidFill>
                  <a:srgbClr val="2A446F"/>
                </a:solidFill>
                <a:effectLst/>
                <a:uLnTx/>
                <a:uFillTx/>
                <a:latin typeface="Segoe UI Semibold"/>
                <a:ea typeface="+mn-ea"/>
                <a:cs typeface="Segoe UI Semibold" panose="020B0702040204020203" pitchFamily="34" charset="0"/>
              </a:rPr>
              <a:t>La plateforme de contrôle pour les agents</a:t>
            </a:r>
          </a:p>
        </p:txBody>
      </p:sp>
      <p:sp>
        <p:nvSpPr>
          <p:cNvPr id="243" name="Freeform 128">
            <a:extLst>
              <a:ext uri="{FF2B5EF4-FFF2-40B4-BE49-F238E27FC236}">
                <a16:creationId xmlns:a16="http://schemas.microsoft.com/office/drawing/2014/main" id="{34BC90C1-76D6-6BFA-BE9C-2EECFC1B0B61}"/>
              </a:ext>
              <a:ext uri="{C183D7F6-B498-43B3-948B-1728B52AA6E4}">
                <adec:decorative xmlns:adec="http://schemas.microsoft.com/office/drawing/2017/decorative" val="1"/>
              </a:ext>
            </a:extLst>
          </p:cNvPr>
          <p:cNvSpPr/>
          <p:nvPr/>
        </p:nvSpPr>
        <p:spPr>
          <a:xfrm>
            <a:off x="10486879" y="4652348"/>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E14C7B"/>
              </a:gs>
              <a:gs pos="17000">
                <a:srgbClr val="B54292">
                  <a:lumMod val="83000"/>
                </a:srgbClr>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3" name="Freeform 138">
            <a:extLst>
              <a:ext uri="{FF2B5EF4-FFF2-40B4-BE49-F238E27FC236}">
                <a16:creationId xmlns:a16="http://schemas.microsoft.com/office/drawing/2014/main" id="{73E1EE91-9D90-82FC-8E95-5709C8F84667}"/>
              </a:ext>
              <a:ext uri="{C183D7F6-B498-43B3-948B-1728B52AA6E4}">
                <adec:decorative xmlns:adec="http://schemas.microsoft.com/office/drawing/2017/decorative" val="1"/>
              </a:ext>
            </a:extLst>
          </p:cNvPr>
          <p:cNvSpPr/>
          <p:nvPr/>
        </p:nvSpPr>
        <p:spPr>
          <a:xfrm>
            <a:off x="8463962" y="4625283"/>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1" name="Freeform 156">
            <a:extLst>
              <a:ext uri="{FF2B5EF4-FFF2-40B4-BE49-F238E27FC236}">
                <a16:creationId xmlns:a16="http://schemas.microsoft.com/office/drawing/2014/main" id="{2D513872-257D-796B-2801-412B86B60EF3}"/>
              </a:ext>
              <a:ext uri="{C183D7F6-B498-43B3-948B-1728B52AA6E4}">
                <adec:decorative xmlns:adec="http://schemas.microsoft.com/office/drawing/2017/decorative" val="1"/>
              </a:ext>
            </a:extLst>
          </p:cNvPr>
          <p:cNvSpPr/>
          <p:nvPr/>
        </p:nvSpPr>
        <p:spPr>
          <a:xfrm>
            <a:off x="6071522" y="4307976"/>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4" name="Freeform 159">
            <a:extLst>
              <a:ext uri="{FF2B5EF4-FFF2-40B4-BE49-F238E27FC236}">
                <a16:creationId xmlns:a16="http://schemas.microsoft.com/office/drawing/2014/main" id="{2B2C54F2-254B-2AC6-DB25-C8F0B0244BC1}"/>
              </a:ext>
              <a:ext uri="{C183D7F6-B498-43B3-948B-1728B52AA6E4}">
                <adec:decorative xmlns:adec="http://schemas.microsoft.com/office/drawing/2017/decorative" val="1"/>
              </a:ext>
            </a:extLst>
          </p:cNvPr>
          <p:cNvSpPr/>
          <p:nvPr/>
        </p:nvSpPr>
        <p:spPr>
          <a:xfrm>
            <a:off x="6916737" y="4332559"/>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3" name="Freeform 168">
            <a:extLst>
              <a:ext uri="{FF2B5EF4-FFF2-40B4-BE49-F238E27FC236}">
                <a16:creationId xmlns:a16="http://schemas.microsoft.com/office/drawing/2014/main" id="{46B5A0E8-AE63-CBD8-4E45-D175E99C79EA}"/>
              </a:ext>
              <a:ext uri="{C183D7F6-B498-43B3-948B-1728B52AA6E4}">
                <adec:decorative xmlns:adec="http://schemas.microsoft.com/office/drawing/2017/decorative" val="1"/>
              </a:ext>
            </a:extLst>
          </p:cNvPr>
          <p:cNvSpPr/>
          <p:nvPr/>
        </p:nvSpPr>
        <p:spPr>
          <a:xfrm>
            <a:off x="5903564" y="4732120"/>
            <a:ext cx="344060" cy="34396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alpha val="65000"/>
                </a:srgbClr>
              </a:gs>
              <a:gs pos="12000">
                <a:srgbClr val="AC35AF">
                  <a:alpha val="58000"/>
                </a:srgbClr>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308" name="Rectangle: Rounded Corners 307">
            <a:extLst>
              <a:ext uri="{FF2B5EF4-FFF2-40B4-BE49-F238E27FC236}">
                <a16:creationId xmlns:a16="http://schemas.microsoft.com/office/drawing/2014/main" id="{700E0290-0A78-B288-69B8-0901CB64B303}"/>
              </a:ext>
              <a:ext uri="{C183D7F6-B498-43B3-948B-1728B52AA6E4}">
                <adec:decorative xmlns:adec="http://schemas.microsoft.com/office/drawing/2017/decorative" val="1"/>
              </a:ext>
            </a:extLst>
          </p:cNvPr>
          <p:cNvSpPr>
            <a:spLocks/>
          </p:cNvSpPr>
          <p:nvPr/>
        </p:nvSpPr>
        <p:spPr bwMode="auto">
          <a:xfrm>
            <a:off x="723897" y="4151388"/>
            <a:ext cx="2024482" cy="2036051"/>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09" name="Rectangle: Rounded Corners 308">
            <a:extLst>
              <a:ext uri="{FF2B5EF4-FFF2-40B4-BE49-F238E27FC236}">
                <a16:creationId xmlns:a16="http://schemas.microsoft.com/office/drawing/2014/main" id="{74527B3A-4C76-52F1-113B-D7DEEA5F228E}"/>
              </a:ext>
              <a:ext uri="{C183D7F6-B498-43B3-948B-1728B52AA6E4}">
                <adec:decorative xmlns:adec="http://schemas.microsoft.com/office/drawing/2017/decorative" val="1"/>
              </a:ext>
            </a:extLst>
          </p:cNvPr>
          <p:cNvSpPr>
            <a:spLocks/>
          </p:cNvSpPr>
          <p:nvPr/>
        </p:nvSpPr>
        <p:spPr bwMode="auto">
          <a:xfrm>
            <a:off x="2903827" y="4126244"/>
            <a:ext cx="2024482" cy="2061195"/>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10" name="Rectangle: Rounded Corners 309">
            <a:extLst>
              <a:ext uri="{FF2B5EF4-FFF2-40B4-BE49-F238E27FC236}">
                <a16:creationId xmlns:a16="http://schemas.microsoft.com/office/drawing/2014/main" id="{50B4E901-08F9-F446-E384-6705AFF0CEA4}"/>
              </a:ext>
              <a:ext uri="{C183D7F6-B498-43B3-948B-1728B52AA6E4}">
                <adec:decorative xmlns:adec="http://schemas.microsoft.com/office/drawing/2017/decorative" val="1"/>
              </a:ext>
            </a:extLst>
          </p:cNvPr>
          <p:cNvSpPr>
            <a:spLocks/>
          </p:cNvSpPr>
          <p:nvPr/>
        </p:nvSpPr>
        <p:spPr bwMode="auto">
          <a:xfrm>
            <a:off x="5083757" y="4126244"/>
            <a:ext cx="2024482" cy="2061195"/>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11" name="Rectangle: Rounded Corners 310">
            <a:extLst>
              <a:ext uri="{FF2B5EF4-FFF2-40B4-BE49-F238E27FC236}">
                <a16:creationId xmlns:a16="http://schemas.microsoft.com/office/drawing/2014/main" id="{8D683CD0-6F34-51A2-0D45-93940142A3C1}"/>
              </a:ext>
              <a:ext uri="{C183D7F6-B498-43B3-948B-1728B52AA6E4}">
                <adec:decorative xmlns:adec="http://schemas.microsoft.com/office/drawing/2017/decorative" val="1"/>
              </a:ext>
            </a:extLst>
          </p:cNvPr>
          <p:cNvSpPr>
            <a:spLocks/>
          </p:cNvSpPr>
          <p:nvPr/>
        </p:nvSpPr>
        <p:spPr bwMode="auto">
          <a:xfrm>
            <a:off x="7263687" y="4126244"/>
            <a:ext cx="2024482" cy="2061195"/>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12" name="Rectangle: Rounded Corners 311">
            <a:extLst>
              <a:ext uri="{FF2B5EF4-FFF2-40B4-BE49-F238E27FC236}">
                <a16:creationId xmlns:a16="http://schemas.microsoft.com/office/drawing/2014/main" id="{D7528820-80CA-2F71-E118-4829EFDB59C8}"/>
              </a:ext>
              <a:ext uri="{C183D7F6-B498-43B3-948B-1728B52AA6E4}">
                <adec:decorative xmlns:adec="http://schemas.microsoft.com/office/drawing/2017/decorative" val="1"/>
              </a:ext>
            </a:extLst>
          </p:cNvPr>
          <p:cNvSpPr>
            <a:spLocks/>
          </p:cNvSpPr>
          <p:nvPr/>
        </p:nvSpPr>
        <p:spPr bwMode="auto">
          <a:xfrm>
            <a:off x="9443617" y="4769972"/>
            <a:ext cx="2024482" cy="1417467"/>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grpSp>
        <p:nvGrpSpPr>
          <p:cNvPr id="6" name="Group 5">
            <a:extLst>
              <a:ext uri="{FF2B5EF4-FFF2-40B4-BE49-F238E27FC236}">
                <a16:creationId xmlns:a16="http://schemas.microsoft.com/office/drawing/2014/main" id="{78EFF4C1-7009-3BE1-CBED-DE389057BDE5}"/>
              </a:ext>
              <a:ext uri="{C183D7F6-B498-43B3-948B-1728B52AA6E4}">
                <adec:decorative xmlns:adec="http://schemas.microsoft.com/office/drawing/2017/decorative" val="1"/>
              </a:ext>
            </a:extLst>
          </p:cNvPr>
          <p:cNvGrpSpPr/>
          <p:nvPr/>
        </p:nvGrpSpPr>
        <p:grpSpPr>
          <a:xfrm>
            <a:off x="1408783" y="3779056"/>
            <a:ext cx="654710" cy="654710"/>
            <a:chOff x="1408783" y="4316018"/>
            <a:chExt cx="654710" cy="654710"/>
          </a:xfrm>
        </p:grpSpPr>
        <p:sp>
          <p:nvSpPr>
            <p:cNvPr id="166" name="Box">
              <a:extLst>
                <a:ext uri="{FF2B5EF4-FFF2-40B4-BE49-F238E27FC236}">
                  <a16:creationId xmlns:a16="http://schemas.microsoft.com/office/drawing/2014/main" id="{C82D7133-A5C1-11FE-4228-8006F81AAA68}"/>
                </a:ext>
                <a:ext uri="{C183D7F6-B498-43B3-948B-1728B52AA6E4}">
                  <adec:decorative xmlns:adec="http://schemas.microsoft.com/office/drawing/2017/decorative" val="1"/>
                </a:ext>
              </a:extLst>
            </p:cNvPr>
            <p:cNvSpPr>
              <a:spLocks noChangeAspect="1"/>
            </p:cNvSpPr>
            <p:nvPr/>
          </p:nvSpPr>
          <p:spPr bwMode="auto">
            <a:xfrm>
              <a:off x="140878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3" name="Graphic 119">
              <a:extLst>
                <a:ext uri="{FF2B5EF4-FFF2-40B4-BE49-F238E27FC236}">
                  <a16:creationId xmlns:a16="http://schemas.microsoft.com/office/drawing/2014/main" id="{6B7E96CE-69CA-54D1-896C-2FDED5D07DEF}"/>
                </a:ext>
              </a:extLst>
            </p:cNvPr>
            <p:cNvSpPr/>
            <p:nvPr/>
          </p:nvSpPr>
          <p:spPr>
            <a:xfrm>
              <a:off x="1566340" y="4473576"/>
              <a:ext cx="339598" cy="339596"/>
            </a:xfrm>
            <a:custGeom>
              <a:avLst/>
              <a:gdLst>
                <a:gd name="csX0" fmla="*/ 802316 w 979097"/>
                <a:gd name="csY0" fmla="*/ 0 h 979097"/>
                <a:gd name="csX1" fmla="*/ 979097 w 979097"/>
                <a:gd name="csY1" fmla="*/ 176781 h 979097"/>
                <a:gd name="csX2" fmla="*/ 979097 w 979097"/>
                <a:gd name="csY2" fmla="*/ 802316 h 979097"/>
                <a:gd name="csX3" fmla="*/ 802316 w 979097"/>
                <a:gd name="csY3" fmla="*/ 979097 h 979097"/>
                <a:gd name="csX4" fmla="*/ 176781 w 979097"/>
                <a:gd name="csY4" fmla="*/ 979097 h 979097"/>
                <a:gd name="csX5" fmla="*/ 0 w 979097"/>
                <a:gd name="csY5" fmla="*/ 802316 h 979097"/>
                <a:gd name="csX6" fmla="*/ 0 w 979097"/>
                <a:gd name="csY6" fmla="*/ 176781 h 979097"/>
                <a:gd name="csX7" fmla="*/ 176781 w 979097"/>
                <a:gd name="csY7" fmla="*/ 0 h 979097"/>
                <a:gd name="csX8" fmla="*/ 802316 w 979097"/>
                <a:gd name="csY8" fmla="*/ 0 h 979097"/>
                <a:gd name="csX9" fmla="*/ 802316 w 979097"/>
                <a:gd name="csY9" fmla="*/ 81591 h 979097"/>
                <a:gd name="csX10" fmla="*/ 176781 w 979097"/>
                <a:gd name="csY10" fmla="*/ 81591 h 979097"/>
                <a:gd name="csX11" fmla="*/ 81591 w 979097"/>
                <a:gd name="csY11" fmla="*/ 176781 h 979097"/>
                <a:gd name="csX12" fmla="*/ 81591 w 979097"/>
                <a:gd name="csY12" fmla="*/ 802316 h 979097"/>
                <a:gd name="csX13" fmla="*/ 176781 w 979097"/>
                <a:gd name="csY13" fmla="*/ 897506 h 979097"/>
                <a:gd name="csX14" fmla="*/ 802316 w 979097"/>
                <a:gd name="csY14" fmla="*/ 897506 h 979097"/>
                <a:gd name="csX15" fmla="*/ 897506 w 979097"/>
                <a:gd name="csY15" fmla="*/ 802316 h 979097"/>
                <a:gd name="csX16" fmla="*/ 897506 w 979097"/>
                <a:gd name="csY16" fmla="*/ 176781 h 979097"/>
                <a:gd name="csX17" fmla="*/ 802316 w 979097"/>
                <a:gd name="csY17" fmla="*/ 81591 h 979097"/>
                <a:gd name="csX18" fmla="*/ 258373 w 979097"/>
                <a:gd name="csY18" fmla="*/ 217577 h 979097"/>
                <a:gd name="csX19" fmla="*/ 298796 w 979097"/>
                <a:gd name="csY19" fmla="*/ 252837 h 979097"/>
                <a:gd name="csX20" fmla="*/ 299169 w 979097"/>
                <a:gd name="csY20" fmla="*/ 258373 h 979097"/>
                <a:gd name="csX21" fmla="*/ 299169 w 979097"/>
                <a:gd name="csY21" fmla="*/ 312767 h 979097"/>
                <a:gd name="csX22" fmla="*/ 258373 w 979097"/>
                <a:gd name="csY22" fmla="*/ 353563 h 979097"/>
                <a:gd name="csX23" fmla="*/ 217950 w 979097"/>
                <a:gd name="csY23" fmla="*/ 318303 h 979097"/>
                <a:gd name="csX24" fmla="*/ 217577 w 979097"/>
                <a:gd name="csY24" fmla="*/ 312767 h 979097"/>
                <a:gd name="csX25" fmla="*/ 217577 w 979097"/>
                <a:gd name="csY25" fmla="*/ 258373 h 979097"/>
                <a:gd name="csX26" fmla="*/ 258373 w 979097"/>
                <a:gd name="csY26" fmla="*/ 217577 h 979097"/>
                <a:gd name="csX27" fmla="*/ 298796 w 979097"/>
                <a:gd name="csY27" fmla="*/ 660793 h 979097"/>
                <a:gd name="csX28" fmla="*/ 258373 w 979097"/>
                <a:gd name="csY28" fmla="*/ 625534 h 979097"/>
                <a:gd name="csX29" fmla="*/ 217577 w 979097"/>
                <a:gd name="csY29" fmla="*/ 666330 h 979097"/>
                <a:gd name="csX30" fmla="*/ 217577 w 979097"/>
                <a:gd name="csY30" fmla="*/ 720724 h 979097"/>
                <a:gd name="csX31" fmla="*/ 217950 w 979097"/>
                <a:gd name="csY31" fmla="*/ 726262 h 979097"/>
                <a:gd name="csX32" fmla="*/ 258373 w 979097"/>
                <a:gd name="csY32" fmla="*/ 761520 h 979097"/>
                <a:gd name="csX33" fmla="*/ 299169 w 979097"/>
                <a:gd name="csY33" fmla="*/ 720724 h 979097"/>
                <a:gd name="csX34" fmla="*/ 299169 w 979097"/>
                <a:gd name="csY34" fmla="*/ 666330 h 979097"/>
                <a:gd name="csX35" fmla="*/ 298796 w 979097"/>
                <a:gd name="csY35" fmla="*/ 660793 h 979097"/>
                <a:gd name="csX36" fmla="*/ 299169 w 979097"/>
                <a:gd name="csY36" fmla="*/ 452626 h 979097"/>
                <a:gd name="csX37" fmla="*/ 258745 w 979097"/>
                <a:gd name="csY37" fmla="*/ 417362 h 979097"/>
                <a:gd name="csX38" fmla="*/ 217950 w 979097"/>
                <a:gd name="csY38" fmla="*/ 458158 h 979097"/>
                <a:gd name="csX39" fmla="*/ 217577 w 979097"/>
                <a:gd name="csY39" fmla="*/ 520619 h 979097"/>
                <a:gd name="csX40" fmla="*/ 217950 w 979097"/>
                <a:gd name="csY40" fmla="*/ 526151 h 979097"/>
                <a:gd name="csX41" fmla="*/ 258373 w 979097"/>
                <a:gd name="csY41" fmla="*/ 561414 h 979097"/>
                <a:gd name="csX42" fmla="*/ 299169 w 979097"/>
                <a:gd name="csY42" fmla="*/ 520619 h 979097"/>
                <a:gd name="csX43" fmla="*/ 299541 w 979097"/>
                <a:gd name="csY43" fmla="*/ 458158 h 979097"/>
                <a:gd name="csX44" fmla="*/ 299169 w 979097"/>
                <a:gd name="csY44" fmla="*/ 452626 h 97909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Lst>
              <a:rect l="l" t="t" r="r" b="b"/>
              <a:pathLst>
                <a:path w="979097" h="979097">
                  <a:moveTo>
                    <a:pt x="802316" y="0"/>
                  </a:moveTo>
                  <a:cubicBezTo>
                    <a:pt x="899948" y="0"/>
                    <a:pt x="979097" y="79148"/>
                    <a:pt x="979097" y="176781"/>
                  </a:cubicBezTo>
                  <a:lnTo>
                    <a:pt x="979097" y="802316"/>
                  </a:lnTo>
                  <a:cubicBezTo>
                    <a:pt x="979097" y="899948"/>
                    <a:pt x="899948" y="979097"/>
                    <a:pt x="802316" y="979097"/>
                  </a:cubicBezTo>
                  <a:lnTo>
                    <a:pt x="176781" y="979097"/>
                  </a:lnTo>
                  <a:cubicBezTo>
                    <a:pt x="79148" y="979097"/>
                    <a:pt x="0" y="899948"/>
                    <a:pt x="0" y="802316"/>
                  </a:cubicBezTo>
                  <a:lnTo>
                    <a:pt x="0" y="176781"/>
                  </a:lnTo>
                  <a:cubicBezTo>
                    <a:pt x="0" y="79148"/>
                    <a:pt x="79148" y="0"/>
                    <a:pt x="176781" y="0"/>
                  </a:cubicBezTo>
                  <a:lnTo>
                    <a:pt x="802316" y="0"/>
                  </a:lnTo>
                  <a:close/>
                  <a:moveTo>
                    <a:pt x="802316" y="81591"/>
                  </a:moveTo>
                  <a:lnTo>
                    <a:pt x="176781" y="81591"/>
                  </a:lnTo>
                  <a:cubicBezTo>
                    <a:pt x="124209" y="81591"/>
                    <a:pt x="81591" y="124209"/>
                    <a:pt x="81591" y="176781"/>
                  </a:cubicBezTo>
                  <a:lnTo>
                    <a:pt x="81591" y="802316"/>
                  </a:lnTo>
                  <a:cubicBezTo>
                    <a:pt x="81591" y="854888"/>
                    <a:pt x="124209" y="897506"/>
                    <a:pt x="176781" y="897506"/>
                  </a:cubicBezTo>
                  <a:lnTo>
                    <a:pt x="802316" y="897506"/>
                  </a:lnTo>
                  <a:cubicBezTo>
                    <a:pt x="854888" y="897506"/>
                    <a:pt x="897506" y="854888"/>
                    <a:pt x="897506" y="802316"/>
                  </a:cubicBezTo>
                  <a:lnTo>
                    <a:pt x="897506" y="176781"/>
                  </a:lnTo>
                  <a:cubicBezTo>
                    <a:pt x="897506" y="124209"/>
                    <a:pt x="854888" y="81591"/>
                    <a:pt x="802316" y="81591"/>
                  </a:cubicBezTo>
                  <a:close/>
                  <a:moveTo>
                    <a:pt x="258373" y="217577"/>
                  </a:moveTo>
                  <a:cubicBezTo>
                    <a:pt x="279026" y="217577"/>
                    <a:pt x="296095" y="232925"/>
                    <a:pt x="298796" y="252837"/>
                  </a:cubicBezTo>
                  <a:lnTo>
                    <a:pt x="299169" y="258373"/>
                  </a:lnTo>
                  <a:lnTo>
                    <a:pt x="299169" y="312767"/>
                  </a:lnTo>
                  <a:cubicBezTo>
                    <a:pt x="299169" y="335298"/>
                    <a:pt x="280904" y="353563"/>
                    <a:pt x="258373" y="353563"/>
                  </a:cubicBezTo>
                  <a:cubicBezTo>
                    <a:pt x="237719" y="353563"/>
                    <a:pt x="220651" y="338216"/>
                    <a:pt x="217950" y="318303"/>
                  </a:cubicBezTo>
                  <a:lnTo>
                    <a:pt x="217577" y="312767"/>
                  </a:lnTo>
                  <a:lnTo>
                    <a:pt x="217577" y="258373"/>
                  </a:lnTo>
                  <a:cubicBezTo>
                    <a:pt x="217577" y="235842"/>
                    <a:pt x="235842" y="217577"/>
                    <a:pt x="258373" y="217577"/>
                  </a:cubicBezTo>
                  <a:close/>
                  <a:moveTo>
                    <a:pt x="298796" y="660793"/>
                  </a:moveTo>
                  <a:cubicBezTo>
                    <a:pt x="296095" y="640884"/>
                    <a:pt x="279026" y="625534"/>
                    <a:pt x="258373" y="625534"/>
                  </a:cubicBezTo>
                  <a:cubicBezTo>
                    <a:pt x="235842" y="625534"/>
                    <a:pt x="217577" y="643800"/>
                    <a:pt x="217577" y="666330"/>
                  </a:cubicBezTo>
                  <a:lnTo>
                    <a:pt x="217577" y="720724"/>
                  </a:lnTo>
                  <a:lnTo>
                    <a:pt x="217950" y="726262"/>
                  </a:lnTo>
                  <a:cubicBezTo>
                    <a:pt x="220651" y="746170"/>
                    <a:pt x="237719" y="761520"/>
                    <a:pt x="258373" y="761520"/>
                  </a:cubicBezTo>
                  <a:cubicBezTo>
                    <a:pt x="280904" y="761520"/>
                    <a:pt x="299169" y="743255"/>
                    <a:pt x="299169" y="720724"/>
                  </a:cubicBezTo>
                  <a:lnTo>
                    <a:pt x="299169" y="666330"/>
                  </a:lnTo>
                  <a:lnTo>
                    <a:pt x="298796" y="660793"/>
                  </a:lnTo>
                  <a:close/>
                  <a:moveTo>
                    <a:pt x="299169" y="452626"/>
                  </a:moveTo>
                  <a:cubicBezTo>
                    <a:pt x="296467" y="432712"/>
                    <a:pt x="279398" y="417362"/>
                    <a:pt x="258745" y="417362"/>
                  </a:cubicBezTo>
                  <a:cubicBezTo>
                    <a:pt x="236214" y="417362"/>
                    <a:pt x="217950" y="435628"/>
                    <a:pt x="217950" y="458158"/>
                  </a:cubicBezTo>
                  <a:lnTo>
                    <a:pt x="217577" y="520619"/>
                  </a:lnTo>
                  <a:lnTo>
                    <a:pt x="217950" y="526151"/>
                  </a:lnTo>
                  <a:cubicBezTo>
                    <a:pt x="220651" y="546064"/>
                    <a:pt x="237719" y="561414"/>
                    <a:pt x="258373" y="561414"/>
                  </a:cubicBezTo>
                  <a:cubicBezTo>
                    <a:pt x="280904" y="561414"/>
                    <a:pt x="299169" y="543149"/>
                    <a:pt x="299169" y="520619"/>
                  </a:cubicBezTo>
                  <a:lnTo>
                    <a:pt x="299541" y="458158"/>
                  </a:lnTo>
                  <a:lnTo>
                    <a:pt x="299169" y="452626"/>
                  </a:lnTo>
                  <a:close/>
                </a:path>
              </a:pathLst>
            </a:custGeom>
            <a:solidFill>
              <a:schemeClr val="tx1"/>
            </a:solidFill>
            <a:ln w="54372" cap="flat">
              <a:noFill/>
              <a:prstDash val="solid"/>
              <a:miter/>
            </a:ln>
          </p:spPr>
          <p:txBody>
            <a:bodyPr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5546F387-CC3B-933C-DD35-4CC6E3EAD7CB}"/>
              </a:ext>
              <a:ext uri="{C183D7F6-B498-43B3-948B-1728B52AA6E4}">
                <adec:decorative xmlns:adec="http://schemas.microsoft.com/office/drawing/2017/decorative" val="1"/>
              </a:ext>
            </a:extLst>
          </p:cNvPr>
          <p:cNvGrpSpPr/>
          <p:nvPr/>
        </p:nvGrpSpPr>
        <p:grpSpPr>
          <a:xfrm>
            <a:off x="7948573" y="3752302"/>
            <a:ext cx="654710" cy="654710"/>
            <a:chOff x="7948573" y="4316018"/>
            <a:chExt cx="654710" cy="654710"/>
          </a:xfrm>
        </p:grpSpPr>
        <p:sp>
          <p:nvSpPr>
            <p:cNvPr id="169" name="Box">
              <a:extLst>
                <a:ext uri="{FF2B5EF4-FFF2-40B4-BE49-F238E27FC236}">
                  <a16:creationId xmlns:a16="http://schemas.microsoft.com/office/drawing/2014/main" id="{90F9039F-6BFB-2A87-B3E2-A8FA29E18C22}"/>
                </a:ext>
                <a:ext uri="{C183D7F6-B498-43B3-948B-1728B52AA6E4}">
                  <adec:decorative xmlns:adec="http://schemas.microsoft.com/office/drawing/2017/decorative" val="1"/>
                </a:ext>
              </a:extLst>
            </p:cNvPr>
            <p:cNvSpPr>
              <a:spLocks noChangeAspect="1"/>
            </p:cNvSpPr>
            <p:nvPr/>
          </p:nvSpPr>
          <p:spPr bwMode="auto">
            <a:xfrm>
              <a:off x="794857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4" name="Graphic 16">
              <a:extLst>
                <a:ext uri="{FF2B5EF4-FFF2-40B4-BE49-F238E27FC236}">
                  <a16:creationId xmlns:a16="http://schemas.microsoft.com/office/drawing/2014/main" id="{9F1B2D05-4A00-F4B8-EFA2-40DADD305E79}"/>
                </a:ext>
              </a:extLst>
            </p:cNvPr>
            <p:cNvSpPr/>
            <p:nvPr/>
          </p:nvSpPr>
          <p:spPr>
            <a:xfrm>
              <a:off x="8111874" y="4479321"/>
              <a:ext cx="328108" cy="328106"/>
            </a:xfrm>
            <a:custGeom>
              <a:avLst/>
              <a:gdLst>
                <a:gd name="csX0" fmla="*/ 179785 w 1118663"/>
                <a:gd name="csY0" fmla="*/ 79905 h 1118663"/>
                <a:gd name="csX1" fmla="*/ 79905 w 1118663"/>
                <a:gd name="csY1" fmla="*/ 179785 h 1118663"/>
                <a:gd name="csX2" fmla="*/ 179785 w 1118663"/>
                <a:gd name="csY2" fmla="*/ 279666 h 1118663"/>
                <a:gd name="csX3" fmla="*/ 279666 w 1118663"/>
                <a:gd name="csY3" fmla="*/ 179785 h 1118663"/>
                <a:gd name="csX4" fmla="*/ 179785 w 1118663"/>
                <a:gd name="csY4" fmla="*/ 79905 h 1118663"/>
                <a:gd name="csX5" fmla="*/ 0 w 1118663"/>
                <a:gd name="csY5" fmla="*/ 179785 h 1118663"/>
                <a:gd name="csX6" fmla="*/ 179785 w 1118663"/>
                <a:gd name="csY6" fmla="*/ 0 h 1118663"/>
                <a:gd name="csX7" fmla="*/ 359571 w 1118663"/>
                <a:gd name="csY7" fmla="*/ 179785 h 1118663"/>
                <a:gd name="csX8" fmla="*/ 332003 w 1118663"/>
                <a:gd name="csY8" fmla="*/ 275501 h 1118663"/>
                <a:gd name="csX9" fmla="*/ 463618 w 1118663"/>
                <a:gd name="csY9" fmla="*/ 407114 h 1118663"/>
                <a:gd name="csX10" fmla="*/ 559332 w 1118663"/>
                <a:gd name="csY10" fmla="*/ 379547 h 1118663"/>
                <a:gd name="csX11" fmla="*/ 655046 w 1118663"/>
                <a:gd name="csY11" fmla="*/ 407114 h 1118663"/>
                <a:gd name="csX12" fmla="*/ 786660 w 1118663"/>
                <a:gd name="csY12" fmla="*/ 275501 h 1118663"/>
                <a:gd name="csX13" fmla="*/ 759093 w 1118663"/>
                <a:gd name="csY13" fmla="*/ 179785 h 1118663"/>
                <a:gd name="csX14" fmla="*/ 938879 w 1118663"/>
                <a:gd name="csY14" fmla="*/ 0 h 1118663"/>
                <a:gd name="csX15" fmla="*/ 1118664 w 1118663"/>
                <a:gd name="csY15" fmla="*/ 179785 h 1118663"/>
                <a:gd name="csX16" fmla="*/ 938879 w 1118663"/>
                <a:gd name="csY16" fmla="*/ 359571 h 1118663"/>
                <a:gd name="csX17" fmla="*/ 843165 w 1118663"/>
                <a:gd name="csY17" fmla="*/ 332003 h 1118663"/>
                <a:gd name="csX18" fmla="*/ 711550 w 1118663"/>
                <a:gd name="csY18" fmla="*/ 463618 h 1118663"/>
                <a:gd name="csX19" fmla="*/ 739117 w 1118663"/>
                <a:gd name="csY19" fmla="*/ 559332 h 1118663"/>
                <a:gd name="csX20" fmla="*/ 711550 w 1118663"/>
                <a:gd name="csY20" fmla="*/ 655046 h 1118663"/>
                <a:gd name="csX21" fmla="*/ 843165 w 1118663"/>
                <a:gd name="csY21" fmla="*/ 786660 h 1118663"/>
                <a:gd name="csX22" fmla="*/ 938879 w 1118663"/>
                <a:gd name="csY22" fmla="*/ 759093 h 1118663"/>
                <a:gd name="csX23" fmla="*/ 1118664 w 1118663"/>
                <a:gd name="csY23" fmla="*/ 938879 h 1118663"/>
                <a:gd name="csX24" fmla="*/ 938879 w 1118663"/>
                <a:gd name="csY24" fmla="*/ 1118664 h 1118663"/>
                <a:gd name="csX25" fmla="*/ 759093 w 1118663"/>
                <a:gd name="csY25" fmla="*/ 938879 h 1118663"/>
                <a:gd name="csX26" fmla="*/ 786660 w 1118663"/>
                <a:gd name="csY26" fmla="*/ 843165 h 1118663"/>
                <a:gd name="csX27" fmla="*/ 655046 w 1118663"/>
                <a:gd name="csY27" fmla="*/ 711550 h 1118663"/>
                <a:gd name="csX28" fmla="*/ 559332 w 1118663"/>
                <a:gd name="csY28" fmla="*/ 739117 h 1118663"/>
                <a:gd name="csX29" fmla="*/ 463618 w 1118663"/>
                <a:gd name="csY29" fmla="*/ 711550 h 1118663"/>
                <a:gd name="csX30" fmla="*/ 332003 w 1118663"/>
                <a:gd name="csY30" fmla="*/ 843165 h 1118663"/>
                <a:gd name="csX31" fmla="*/ 359571 w 1118663"/>
                <a:gd name="csY31" fmla="*/ 938879 h 1118663"/>
                <a:gd name="csX32" fmla="*/ 179785 w 1118663"/>
                <a:gd name="csY32" fmla="*/ 1118664 h 1118663"/>
                <a:gd name="csX33" fmla="*/ 0 w 1118663"/>
                <a:gd name="csY33" fmla="*/ 938879 h 1118663"/>
                <a:gd name="csX34" fmla="*/ 179785 w 1118663"/>
                <a:gd name="csY34" fmla="*/ 759093 h 1118663"/>
                <a:gd name="csX35" fmla="*/ 275501 w 1118663"/>
                <a:gd name="csY35" fmla="*/ 786660 h 1118663"/>
                <a:gd name="csX36" fmla="*/ 407114 w 1118663"/>
                <a:gd name="csY36" fmla="*/ 655046 h 1118663"/>
                <a:gd name="csX37" fmla="*/ 379547 w 1118663"/>
                <a:gd name="csY37" fmla="*/ 559332 h 1118663"/>
                <a:gd name="csX38" fmla="*/ 407114 w 1118663"/>
                <a:gd name="csY38" fmla="*/ 463618 h 1118663"/>
                <a:gd name="csX39" fmla="*/ 275501 w 1118663"/>
                <a:gd name="csY39" fmla="*/ 332003 h 1118663"/>
                <a:gd name="csX40" fmla="*/ 179785 w 1118663"/>
                <a:gd name="csY40" fmla="*/ 359571 h 1118663"/>
                <a:gd name="csX41" fmla="*/ 0 w 1118663"/>
                <a:gd name="csY41" fmla="*/ 179785 h 1118663"/>
                <a:gd name="csX42" fmla="*/ 938879 w 1118663"/>
                <a:gd name="csY42" fmla="*/ 79905 h 1118663"/>
                <a:gd name="csX43" fmla="*/ 838998 w 1118663"/>
                <a:gd name="csY43" fmla="*/ 179785 h 1118663"/>
                <a:gd name="csX44" fmla="*/ 938879 w 1118663"/>
                <a:gd name="csY44" fmla="*/ 279666 h 1118663"/>
                <a:gd name="csX45" fmla="*/ 1038759 w 1118663"/>
                <a:gd name="csY45" fmla="*/ 179785 h 1118663"/>
                <a:gd name="csX46" fmla="*/ 938879 w 1118663"/>
                <a:gd name="csY46" fmla="*/ 79905 h 1118663"/>
                <a:gd name="csX47" fmla="*/ 79905 w 1118663"/>
                <a:gd name="csY47" fmla="*/ 938879 h 1118663"/>
                <a:gd name="csX48" fmla="*/ 179785 w 1118663"/>
                <a:gd name="csY48" fmla="*/ 1038759 h 1118663"/>
                <a:gd name="csX49" fmla="*/ 279666 w 1118663"/>
                <a:gd name="csY49" fmla="*/ 938879 h 1118663"/>
                <a:gd name="csX50" fmla="*/ 179785 w 1118663"/>
                <a:gd name="csY50" fmla="*/ 838998 h 1118663"/>
                <a:gd name="csX51" fmla="*/ 79905 w 1118663"/>
                <a:gd name="csY51" fmla="*/ 938879 h 1118663"/>
                <a:gd name="csX52" fmla="*/ 559332 w 1118663"/>
                <a:gd name="csY52" fmla="*/ 459451 h 1118663"/>
                <a:gd name="csX53" fmla="*/ 459451 w 1118663"/>
                <a:gd name="csY53" fmla="*/ 559332 h 1118663"/>
                <a:gd name="csX54" fmla="*/ 559332 w 1118663"/>
                <a:gd name="csY54" fmla="*/ 659213 h 1118663"/>
                <a:gd name="csX55" fmla="*/ 659213 w 1118663"/>
                <a:gd name="csY55" fmla="*/ 559332 h 1118663"/>
                <a:gd name="csX56" fmla="*/ 559332 w 1118663"/>
                <a:gd name="csY56" fmla="*/ 459451 h 1118663"/>
                <a:gd name="csX57" fmla="*/ 838998 w 1118663"/>
                <a:gd name="csY57" fmla="*/ 938879 h 1118663"/>
                <a:gd name="csX58" fmla="*/ 938879 w 1118663"/>
                <a:gd name="csY58" fmla="*/ 1038759 h 1118663"/>
                <a:gd name="csX59" fmla="*/ 1038759 w 1118663"/>
                <a:gd name="csY59" fmla="*/ 938879 h 1118663"/>
                <a:gd name="csX60" fmla="*/ 938879 w 1118663"/>
                <a:gd name="csY60" fmla="*/ 838998 h 1118663"/>
                <a:gd name="csX61" fmla="*/ 838998 w 1118663"/>
                <a:gd name="csY61" fmla="*/ 938879 h 111866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Lst>
              <a:rect l="l" t="t" r="r" b="b"/>
              <a:pathLst>
                <a:path w="1118663" h="1118663">
                  <a:moveTo>
                    <a:pt x="179785" y="79905"/>
                  </a:moveTo>
                  <a:cubicBezTo>
                    <a:pt x="124623" y="79905"/>
                    <a:pt x="79905" y="124623"/>
                    <a:pt x="79905" y="179785"/>
                  </a:cubicBezTo>
                  <a:cubicBezTo>
                    <a:pt x="79905" y="234948"/>
                    <a:pt x="124623" y="279666"/>
                    <a:pt x="179785" y="279666"/>
                  </a:cubicBezTo>
                  <a:cubicBezTo>
                    <a:pt x="234948" y="279666"/>
                    <a:pt x="279666" y="234948"/>
                    <a:pt x="279666" y="179785"/>
                  </a:cubicBezTo>
                  <a:cubicBezTo>
                    <a:pt x="279666" y="124623"/>
                    <a:pt x="234948" y="79905"/>
                    <a:pt x="179785" y="79905"/>
                  </a:cubicBezTo>
                  <a:close/>
                  <a:moveTo>
                    <a:pt x="0" y="179785"/>
                  </a:moveTo>
                  <a:cubicBezTo>
                    <a:pt x="0" y="80493"/>
                    <a:pt x="80493" y="0"/>
                    <a:pt x="179785" y="0"/>
                  </a:cubicBezTo>
                  <a:cubicBezTo>
                    <a:pt x="279078" y="0"/>
                    <a:pt x="359571" y="80493"/>
                    <a:pt x="359571" y="179785"/>
                  </a:cubicBezTo>
                  <a:cubicBezTo>
                    <a:pt x="359571" y="214965"/>
                    <a:pt x="349467" y="247784"/>
                    <a:pt x="332003" y="275501"/>
                  </a:cubicBezTo>
                  <a:lnTo>
                    <a:pt x="463618" y="407114"/>
                  </a:lnTo>
                  <a:cubicBezTo>
                    <a:pt x="491333" y="389651"/>
                    <a:pt x="524154" y="379547"/>
                    <a:pt x="559332" y="379547"/>
                  </a:cubicBezTo>
                  <a:cubicBezTo>
                    <a:pt x="594510" y="379547"/>
                    <a:pt x="627331" y="389651"/>
                    <a:pt x="655046" y="407114"/>
                  </a:cubicBezTo>
                  <a:lnTo>
                    <a:pt x="786660" y="275501"/>
                  </a:lnTo>
                  <a:cubicBezTo>
                    <a:pt x="769197" y="247784"/>
                    <a:pt x="759093" y="214965"/>
                    <a:pt x="759093" y="179785"/>
                  </a:cubicBezTo>
                  <a:cubicBezTo>
                    <a:pt x="759093" y="80493"/>
                    <a:pt x="839585" y="0"/>
                    <a:pt x="938879" y="0"/>
                  </a:cubicBezTo>
                  <a:cubicBezTo>
                    <a:pt x="1038172" y="0"/>
                    <a:pt x="1118664" y="80493"/>
                    <a:pt x="1118664" y="179785"/>
                  </a:cubicBezTo>
                  <a:cubicBezTo>
                    <a:pt x="1118664" y="279078"/>
                    <a:pt x="1038172" y="359571"/>
                    <a:pt x="938879" y="359571"/>
                  </a:cubicBezTo>
                  <a:cubicBezTo>
                    <a:pt x="903701" y="359571"/>
                    <a:pt x="870880" y="349467"/>
                    <a:pt x="843165" y="332003"/>
                  </a:cubicBezTo>
                  <a:lnTo>
                    <a:pt x="711550" y="463618"/>
                  </a:lnTo>
                  <a:cubicBezTo>
                    <a:pt x="729013" y="491333"/>
                    <a:pt x="739117" y="524154"/>
                    <a:pt x="739117" y="559332"/>
                  </a:cubicBezTo>
                  <a:cubicBezTo>
                    <a:pt x="739117" y="594510"/>
                    <a:pt x="729013" y="627331"/>
                    <a:pt x="711550" y="655046"/>
                  </a:cubicBezTo>
                  <a:lnTo>
                    <a:pt x="843165" y="786660"/>
                  </a:lnTo>
                  <a:cubicBezTo>
                    <a:pt x="870880" y="769197"/>
                    <a:pt x="903701" y="759093"/>
                    <a:pt x="938879" y="759093"/>
                  </a:cubicBezTo>
                  <a:cubicBezTo>
                    <a:pt x="1038172" y="759093"/>
                    <a:pt x="1118664" y="839585"/>
                    <a:pt x="1118664" y="938879"/>
                  </a:cubicBezTo>
                  <a:cubicBezTo>
                    <a:pt x="1118664" y="1038172"/>
                    <a:pt x="1038172" y="1118664"/>
                    <a:pt x="938879" y="1118664"/>
                  </a:cubicBezTo>
                  <a:cubicBezTo>
                    <a:pt x="839585" y="1118664"/>
                    <a:pt x="759093" y="1038172"/>
                    <a:pt x="759093" y="938879"/>
                  </a:cubicBezTo>
                  <a:cubicBezTo>
                    <a:pt x="759093" y="903701"/>
                    <a:pt x="769197" y="870880"/>
                    <a:pt x="786660" y="843165"/>
                  </a:cubicBezTo>
                  <a:lnTo>
                    <a:pt x="655046" y="711550"/>
                  </a:lnTo>
                  <a:cubicBezTo>
                    <a:pt x="627331" y="729013"/>
                    <a:pt x="594510" y="739117"/>
                    <a:pt x="559332" y="739117"/>
                  </a:cubicBezTo>
                  <a:cubicBezTo>
                    <a:pt x="524154" y="739117"/>
                    <a:pt x="491333" y="729013"/>
                    <a:pt x="463618" y="711550"/>
                  </a:cubicBezTo>
                  <a:lnTo>
                    <a:pt x="332003" y="843165"/>
                  </a:lnTo>
                  <a:cubicBezTo>
                    <a:pt x="349467" y="870880"/>
                    <a:pt x="359571" y="903701"/>
                    <a:pt x="359571" y="938879"/>
                  </a:cubicBezTo>
                  <a:cubicBezTo>
                    <a:pt x="359571" y="1038172"/>
                    <a:pt x="279078" y="1118664"/>
                    <a:pt x="179785" y="1118664"/>
                  </a:cubicBezTo>
                  <a:cubicBezTo>
                    <a:pt x="80493" y="1118664"/>
                    <a:pt x="0" y="1038172"/>
                    <a:pt x="0" y="938879"/>
                  </a:cubicBezTo>
                  <a:cubicBezTo>
                    <a:pt x="0" y="839585"/>
                    <a:pt x="80493" y="759093"/>
                    <a:pt x="179785" y="759093"/>
                  </a:cubicBezTo>
                  <a:cubicBezTo>
                    <a:pt x="214965" y="759093"/>
                    <a:pt x="247784" y="769197"/>
                    <a:pt x="275501" y="786660"/>
                  </a:cubicBezTo>
                  <a:lnTo>
                    <a:pt x="407114" y="655046"/>
                  </a:lnTo>
                  <a:cubicBezTo>
                    <a:pt x="389651" y="627331"/>
                    <a:pt x="379547" y="594510"/>
                    <a:pt x="379547" y="559332"/>
                  </a:cubicBezTo>
                  <a:cubicBezTo>
                    <a:pt x="379547" y="524154"/>
                    <a:pt x="389651" y="491333"/>
                    <a:pt x="407114" y="463618"/>
                  </a:cubicBezTo>
                  <a:lnTo>
                    <a:pt x="275501" y="332003"/>
                  </a:lnTo>
                  <a:cubicBezTo>
                    <a:pt x="247784" y="349467"/>
                    <a:pt x="214965" y="359571"/>
                    <a:pt x="179785" y="359571"/>
                  </a:cubicBezTo>
                  <a:cubicBezTo>
                    <a:pt x="80493" y="359571"/>
                    <a:pt x="0" y="279078"/>
                    <a:pt x="0" y="179785"/>
                  </a:cubicBezTo>
                  <a:close/>
                  <a:moveTo>
                    <a:pt x="938879" y="79905"/>
                  </a:moveTo>
                  <a:cubicBezTo>
                    <a:pt x="883717" y="79905"/>
                    <a:pt x="838998" y="124623"/>
                    <a:pt x="838998" y="179785"/>
                  </a:cubicBezTo>
                  <a:cubicBezTo>
                    <a:pt x="838998" y="234948"/>
                    <a:pt x="883717" y="279666"/>
                    <a:pt x="938879" y="279666"/>
                  </a:cubicBezTo>
                  <a:cubicBezTo>
                    <a:pt x="994041" y="279666"/>
                    <a:pt x="1038759" y="234948"/>
                    <a:pt x="1038759" y="179785"/>
                  </a:cubicBezTo>
                  <a:cubicBezTo>
                    <a:pt x="1038759" y="124623"/>
                    <a:pt x="994041" y="79905"/>
                    <a:pt x="938879" y="79905"/>
                  </a:cubicBezTo>
                  <a:close/>
                  <a:moveTo>
                    <a:pt x="79905" y="938879"/>
                  </a:moveTo>
                  <a:cubicBezTo>
                    <a:pt x="79905" y="994041"/>
                    <a:pt x="124623" y="1038759"/>
                    <a:pt x="179785" y="1038759"/>
                  </a:cubicBezTo>
                  <a:cubicBezTo>
                    <a:pt x="234948" y="1038759"/>
                    <a:pt x="279666" y="994041"/>
                    <a:pt x="279666" y="938879"/>
                  </a:cubicBezTo>
                  <a:cubicBezTo>
                    <a:pt x="279666" y="883717"/>
                    <a:pt x="234948" y="838998"/>
                    <a:pt x="179785" y="838998"/>
                  </a:cubicBezTo>
                  <a:cubicBezTo>
                    <a:pt x="124623" y="838998"/>
                    <a:pt x="79905" y="883717"/>
                    <a:pt x="79905" y="938879"/>
                  </a:cubicBezTo>
                  <a:close/>
                  <a:moveTo>
                    <a:pt x="559332" y="459451"/>
                  </a:moveTo>
                  <a:cubicBezTo>
                    <a:pt x="504170" y="459451"/>
                    <a:pt x="459451" y="504170"/>
                    <a:pt x="459451" y="559332"/>
                  </a:cubicBezTo>
                  <a:cubicBezTo>
                    <a:pt x="459451" y="614494"/>
                    <a:pt x="504170" y="659213"/>
                    <a:pt x="559332" y="659213"/>
                  </a:cubicBezTo>
                  <a:cubicBezTo>
                    <a:pt x="614494" y="659213"/>
                    <a:pt x="659213" y="614494"/>
                    <a:pt x="659213" y="559332"/>
                  </a:cubicBezTo>
                  <a:cubicBezTo>
                    <a:pt x="659213" y="504170"/>
                    <a:pt x="614494" y="459451"/>
                    <a:pt x="559332" y="459451"/>
                  </a:cubicBezTo>
                  <a:close/>
                  <a:moveTo>
                    <a:pt x="838998" y="938879"/>
                  </a:moveTo>
                  <a:cubicBezTo>
                    <a:pt x="838998" y="994041"/>
                    <a:pt x="883717" y="1038759"/>
                    <a:pt x="938879" y="1038759"/>
                  </a:cubicBezTo>
                  <a:cubicBezTo>
                    <a:pt x="994041" y="1038759"/>
                    <a:pt x="1038759" y="994041"/>
                    <a:pt x="1038759" y="938879"/>
                  </a:cubicBezTo>
                  <a:cubicBezTo>
                    <a:pt x="1038759" y="883717"/>
                    <a:pt x="994041" y="838998"/>
                    <a:pt x="938879" y="838998"/>
                  </a:cubicBezTo>
                  <a:cubicBezTo>
                    <a:pt x="883717" y="838998"/>
                    <a:pt x="838998" y="883717"/>
                    <a:pt x="838998" y="938879"/>
                  </a:cubicBezTo>
                  <a:close/>
                </a:path>
              </a:pathLst>
            </a:custGeom>
            <a:solidFill>
              <a:schemeClr val="tx1"/>
            </a:solidFill>
            <a:ln w="39886"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7A68A31A-39B3-366B-806B-AE79F6583635}"/>
              </a:ext>
              <a:ext uri="{C183D7F6-B498-43B3-948B-1728B52AA6E4}">
                <adec:decorative xmlns:adec="http://schemas.microsoft.com/office/drawing/2017/decorative" val="1"/>
              </a:ext>
            </a:extLst>
          </p:cNvPr>
          <p:cNvGrpSpPr/>
          <p:nvPr/>
        </p:nvGrpSpPr>
        <p:grpSpPr>
          <a:xfrm>
            <a:off x="5768643" y="3769313"/>
            <a:ext cx="654710" cy="654710"/>
            <a:chOff x="5768643" y="4316018"/>
            <a:chExt cx="654710" cy="654710"/>
          </a:xfrm>
        </p:grpSpPr>
        <p:sp>
          <p:nvSpPr>
            <p:cNvPr id="168" name="Box">
              <a:extLst>
                <a:ext uri="{FF2B5EF4-FFF2-40B4-BE49-F238E27FC236}">
                  <a16:creationId xmlns:a16="http://schemas.microsoft.com/office/drawing/2014/main" id="{01AC3E4B-8CC7-8707-D1AD-C5C0C9A8A979}"/>
                </a:ext>
                <a:ext uri="{C183D7F6-B498-43B3-948B-1728B52AA6E4}">
                  <adec:decorative xmlns:adec="http://schemas.microsoft.com/office/drawing/2017/decorative" val="1"/>
                </a:ext>
              </a:extLst>
            </p:cNvPr>
            <p:cNvSpPr>
              <a:spLocks noChangeAspect="1"/>
            </p:cNvSpPr>
            <p:nvPr/>
          </p:nvSpPr>
          <p:spPr bwMode="auto">
            <a:xfrm>
              <a:off x="576864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5" name="Graphic 23">
              <a:extLst>
                <a:ext uri="{FF2B5EF4-FFF2-40B4-BE49-F238E27FC236}">
                  <a16:creationId xmlns:a16="http://schemas.microsoft.com/office/drawing/2014/main" id="{7EB7FFF4-0FD9-659B-CBA4-AEC9CAF8B677}"/>
                </a:ext>
              </a:extLst>
            </p:cNvPr>
            <p:cNvSpPr/>
            <p:nvPr/>
          </p:nvSpPr>
          <p:spPr>
            <a:xfrm>
              <a:off x="5918190" y="4456447"/>
              <a:ext cx="355616" cy="373852"/>
            </a:xfrm>
            <a:custGeom>
              <a:avLst/>
              <a:gdLst>
                <a:gd name="csX0" fmla="*/ 656957 w 1075017"/>
                <a:gd name="csY0" fmla="*/ 333865 h 1130146"/>
                <a:gd name="csX1" fmla="*/ 644752 w 1075017"/>
                <a:gd name="csY1" fmla="*/ 319983 h 1130146"/>
                <a:gd name="csX2" fmla="*/ 586808 w 1075017"/>
                <a:gd name="csY2" fmla="*/ 284119 h 1130146"/>
                <a:gd name="csX3" fmla="*/ 515071 w 1075017"/>
                <a:gd name="csY3" fmla="*/ 260821 h 1130146"/>
                <a:gd name="csX4" fmla="*/ 501366 w 1075017"/>
                <a:gd name="csY4" fmla="*/ 250474 h 1130146"/>
                <a:gd name="csX5" fmla="*/ 496162 w 1075017"/>
                <a:gd name="csY5" fmla="*/ 234120 h 1130146"/>
                <a:gd name="csX6" fmla="*/ 501366 w 1075017"/>
                <a:gd name="csY6" fmla="*/ 217764 h 1130146"/>
                <a:gd name="csX7" fmla="*/ 515071 w 1075017"/>
                <a:gd name="csY7" fmla="*/ 207418 h 1130146"/>
                <a:gd name="csX8" fmla="*/ 586808 w 1075017"/>
                <a:gd name="csY8" fmla="*/ 184121 h 1130146"/>
                <a:gd name="csX9" fmla="*/ 643875 w 1075017"/>
                <a:gd name="csY9" fmla="*/ 148148 h 1130146"/>
                <a:gd name="csX10" fmla="*/ 678394 w 1075017"/>
                <a:gd name="csY10" fmla="*/ 92351 h 1130146"/>
                <a:gd name="csX11" fmla="*/ 678990 w 1075017"/>
                <a:gd name="csY11" fmla="*/ 90577 h 1130146"/>
                <a:gd name="csX12" fmla="*/ 702304 w 1075017"/>
                <a:gd name="csY12" fmla="*/ 18895 h 1130146"/>
                <a:gd name="csX13" fmla="*/ 712660 w 1075017"/>
                <a:gd name="csY13" fmla="*/ 5201 h 1130146"/>
                <a:gd name="csX14" fmla="*/ 729028 w 1075017"/>
                <a:gd name="csY14" fmla="*/ 0 h 1130146"/>
                <a:gd name="csX15" fmla="*/ 745393 w 1075017"/>
                <a:gd name="csY15" fmla="*/ 5201 h 1130146"/>
                <a:gd name="csX16" fmla="*/ 755749 w 1075017"/>
                <a:gd name="csY16" fmla="*/ 18895 h 1130146"/>
                <a:gd name="csX17" fmla="*/ 779063 w 1075017"/>
                <a:gd name="csY17" fmla="*/ 90577 h 1130146"/>
                <a:gd name="csX18" fmla="*/ 814800 w 1075017"/>
                <a:gd name="csY18" fmla="*/ 148411 h 1130146"/>
                <a:gd name="csX19" fmla="*/ 872680 w 1075017"/>
                <a:gd name="csY19" fmla="*/ 184121 h 1130146"/>
                <a:gd name="csX20" fmla="*/ 944417 w 1075017"/>
                <a:gd name="csY20" fmla="*/ 207418 h 1130146"/>
                <a:gd name="csX21" fmla="*/ 945850 w 1075017"/>
                <a:gd name="csY21" fmla="*/ 207776 h 1130146"/>
                <a:gd name="csX22" fmla="*/ 959556 w 1075017"/>
                <a:gd name="csY22" fmla="*/ 218123 h 1130146"/>
                <a:gd name="csX23" fmla="*/ 964760 w 1075017"/>
                <a:gd name="csY23" fmla="*/ 234478 h 1130146"/>
                <a:gd name="csX24" fmla="*/ 959556 w 1075017"/>
                <a:gd name="csY24" fmla="*/ 250832 h 1130146"/>
                <a:gd name="csX25" fmla="*/ 945850 w 1075017"/>
                <a:gd name="csY25" fmla="*/ 261180 h 1130146"/>
                <a:gd name="csX26" fmla="*/ 874114 w 1075017"/>
                <a:gd name="csY26" fmla="*/ 284477 h 1130146"/>
                <a:gd name="csX27" fmla="*/ 816236 w 1075017"/>
                <a:gd name="csY27" fmla="*/ 320187 h 1130146"/>
                <a:gd name="csX28" fmla="*/ 780496 w 1075017"/>
                <a:gd name="csY28" fmla="*/ 378020 h 1130146"/>
                <a:gd name="csX29" fmla="*/ 757182 w 1075017"/>
                <a:gd name="csY29" fmla="*/ 449702 h 1130146"/>
                <a:gd name="csX30" fmla="*/ 756493 w 1075017"/>
                <a:gd name="csY30" fmla="*/ 451463 h 1130146"/>
                <a:gd name="csX31" fmla="*/ 746829 w 1075017"/>
                <a:gd name="csY31" fmla="*/ 463396 h 1130146"/>
                <a:gd name="csX32" fmla="*/ 730461 w 1075017"/>
                <a:gd name="csY32" fmla="*/ 468598 h 1130146"/>
                <a:gd name="csX33" fmla="*/ 714093 w 1075017"/>
                <a:gd name="csY33" fmla="*/ 463396 h 1130146"/>
                <a:gd name="csX34" fmla="*/ 703740 w 1075017"/>
                <a:gd name="csY34" fmla="*/ 449702 h 1130146"/>
                <a:gd name="csX35" fmla="*/ 680426 w 1075017"/>
                <a:gd name="csY35" fmla="*/ 378020 h 1130146"/>
                <a:gd name="csX36" fmla="*/ 656957 w 1075017"/>
                <a:gd name="csY36" fmla="*/ 333865 h 1130146"/>
                <a:gd name="csX37" fmla="*/ 1064248 w 1075017"/>
                <a:gd name="csY37" fmla="*/ 523277 h 1130146"/>
                <a:gd name="csX38" fmla="*/ 1026270 w 1075017"/>
                <a:gd name="csY38" fmla="*/ 510945 h 1130146"/>
                <a:gd name="csX39" fmla="*/ 995629 w 1075017"/>
                <a:gd name="csY39" fmla="*/ 492039 h 1130146"/>
                <a:gd name="csX40" fmla="*/ 976709 w 1075017"/>
                <a:gd name="csY40" fmla="*/ 461420 h 1130146"/>
                <a:gd name="csX41" fmla="*/ 964366 w 1075017"/>
                <a:gd name="csY41" fmla="*/ 423472 h 1130146"/>
                <a:gd name="csX42" fmla="*/ 958883 w 1075017"/>
                <a:gd name="csY42" fmla="*/ 416222 h 1130146"/>
                <a:gd name="csX43" fmla="*/ 950217 w 1075017"/>
                <a:gd name="csY43" fmla="*/ 413468 h 1130146"/>
                <a:gd name="csX44" fmla="*/ 941553 w 1075017"/>
                <a:gd name="csY44" fmla="*/ 416222 h 1130146"/>
                <a:gd name="csX45" fmla="*/ 936071 w 1075017"/>
                <a:gd name="csY45" fmla="*/ 423472 h 1130146"/>
                <a:gd name="csX46" fmla="*/ 923727 w 1075017"/>
                <a:gd name="csY46" fmla="*/ 461420 h 1130146"/>
                <a:gd name="csX47" fmla="*/ 905138 w 1075017"/>
                <a:gd name="csY47" fmla="*/ 491901 h 1130146"/>
                <a:gd name="csX48" fmla="*/ 874927 w 1075017"/>
                <a:gd name="csY48" fmla="*/ 510945 h 1130146"/>
                <a:gd name="csX49" fmla="*/ 836948 w 1075017"/>
                <a:gd name="csY49" fmla="*/ 523277 h 1130146"/>
                <a:gd name="csX50" fmla="*/ 829693 w 1075017"/>
                <a:gd name="csY50" fmla="*/ 528754 h 1130146"/>
                <a:gd name="csX51" fmla="*/ 826937 w 1075017"/>
                <a:gd name="csY51" fmla="*/ 537415 h 1130146"/>
                <a:gd name="csX52" fmla="*/ 829693 w 1075017"/>
                <a:gd name="csY52" fmla="*/ 546073 h 1130146"/>
                <a:gd name="csX53" fmla="*/ 836948 w 1075017"/>
                <a:gd name="csY53" fmla="*/ 551550 h 1130146"/>
                <a:gd name="csX54" fmla="*/ 874927 w 1075017"/>
                <a:gd name="csY54" fmla="*/ 563883 h 1130146"/>
                <a:gd name="csX55" fmla="*/ 886992 w 1075017"/>
                <a:gd name="csY55" fmla="*/ 569065 h 1130146"/>
                <a:gd name="csX56" fmla="*/ 887072 w 1075017"/>
                <a:gd name="csY56" fmla="*/ 569484 h 1130146"/>
                <a:gd name="csX57" fmla="*/ 905551 w 1075017"/>
                <a:gd name="csY57" fmla="*/ 583181 h 1130146"/>
                <a:gd name="csX58" fmla="*/ 924482 w 1075017"/>
                <a:gd name="csY58" fmla="*/ 613863 h 1130146"/>
                <a:gd name="csX59" fmla="*/ 936831 w 1075017"/>
                <a:gd name="csY59" fmla="*/ 651819 h 1130146"/>
                <a:gd name="csX60" fmla="*/ 942311 w 1075017"/>
                <a:gd name="csY60" fmla="*/ 659072 h 1130146"/>
                <a:gd name="csX61" fmla="*/ 950972 w 1075017"/>
                <a:gd name="csY61" fmla="*/ 661825 h 1130146"/>
                <a:gd name="csX62" fmla="*/ 959635 w 1075017"/>
                <a:gd name="csY62" fmla="*/ 659072 h 1130146"/>
                <a:gd name="csX63" fmla="*/ 964694 w 1075017"/>
                <a:gd name="csY63" fmla="*/ 652880 h 1130146"/>
                <a:gd name="csX64" fmla="*/ 964688 w 1075017"/>
                <a:gd name="csY64" fmla="*/ 652641 h 1130146"/>
                <a:gd name="csX65" fmla="*/ 965124 w 1075017"/>
                <a:gd name="csY65" fmla="*/ 651546 h 1130146"/>
                <a:gd name="csX66" fmla="*/ 977467 w 1075017"/>
                <a:gd name="csY66" fmla="*/ 613598 h 1130146"/>
                <a:gd name="csX67" fmla="*/ 996387 w 1075017"/>
                <a:gd name="csY67" fmla="*/ 582979 h 1130146"/>
                <a:gd name="csX68" fmla="*/ 1027028 w 1075017"/>
                <a:gd name="csY68" fmla="*/ 564073 h 1130146"/>
                <a:gd name="csX69" fmla="*/ 1065007 w 1075017"/>
                <a:gd name="csY69" fmla="*/ 551741 h 1130146"/>
                <a:gd name="csX70" fmla="*/ 1072262 w 1075017"/>
                <a:gd name="csY70" fmla="*/ 546264 h 1130146"/>
                <a:gd name="csX71" fmla="*/ 1075018 w 1075017"/>
                <a:gd name="csY71" fmla="*/ 537603 h 1130146"/>
                <a:gd name="csX72" fmla="*/ 1072262 w 1075017"/>
                <a:gd name="csY72" fmla="*/ 528945 h 1130146"/>
                <a:gd name="csX73" fmla="*/ 1065007 w 1075017"/>
                <a:gd name="csY73" fmla="*/ 523468 h 1130146"/>
                <a:gd name="csX74" fmla="*/ 1064248 w 1075017"/>
                <a:gd name="csY74" fmla="*/ 523277 h 1130146"/>
                <a:gd name="csX75" fmla="*/ 385904 w 1075017"/>
                <a:gd name="csY75" fmla="*/ 137823 h 1130146"/>
                <a:gd name="csX76" fmla="*/ 500316 w 1075017"/>
                <a:gd name="csY76" fmla="*/ 155066 h 1130146"/>
                <a:gd name="csX77" fmla="*/ 498188 w 1075017"/>
                <a:gd name="csY77" fmla="*/ 155752 h 1130146"/>
                <a:gd name="csX78" fmla="*/ 456566 w 1075017"/>
                <a:gd name="csY78" fmla="*/ 186625 h 1130146"/>
                <a:gd name="csX79" fmla="*/ 444233 w 1075017"/>
                <a:gd name="csY79" fmla="*/ 212089 h 1130146"/>
                <a:gd name="csX80" fmla="*/ 385904 w 1075017"/>
                <a:gd name="csY80" fmla="*/ 206734 h 1130146"/>
                <a:gd name="csX81" fmla="*/ 68911 w 1075017"/>
                <a:gd name="csY81" fmla="*/ 523727 h 1130146"/>
                <a:gd name="csX82" fmla="*/ 385904 w 1075017"/>
                <a:gd name="csY82" fmla="*/ 840719 h 1130146"/>
                <a:gd name="csX83" fmla="*/ 702896 w 1075017"/>
                <a:gd name="csY83" fmla="*/ 523727 h 1130146"/>
                <a:gd name="csX84" fmla="*/ 702847 w 1075017"/>
                <a:gd name="csY84" fmla="*/ 518054 h 1130146"/>
                <a:gd name="csX85" fmla="*/ 730971 w 1075017"/>
                <a:gd name="csY85" fmla="*/ 522985 h 1130146"/>
                <a:gd name="csX86" fmla="*/ 771642 w 1075017"/>
                <a:gd name="csY86" fmla="*/ 512293 h 1130146"/>
                <a:gd name="csX87" fmla="*/ 771808 w 1075017"/>
                <a:gd name="csY87" fmla="*/ 523727 h 1130146"/>
                <a:gd name="csX88" fmla="*/ 682060 w 1075017"/>
                <a:gd name="csY88" fmla="*/ 771154 h 1130146"/>
                <a:gd name="csX89" fmla="*/ 982233 w 1075017"/>
                <a:gd name="csY89" fmla="*/ 1071327 h 1130146"/>
                <a:gd name="csX90" fmla="*/ 982233 w 1075017"/>
                <a:gd name="csY90" fmla="*/ 1120056 h 1130146"/>
                <a:gd name="csX91" fmla="*/ 933507 w 1075017"/>
                <a:gd name="csY91" fmla="*/ 1120056 h 1130146"/>
                <a:gd name="csX92" fmla="*/ 633332 w 1075017"/>
                <a:gd name="csY92" fmla="*/ 819883 h 1130146"/>
                <a:gd name="csX93" fmla="*/ 385904 w 1075017"/>
                <a:gd name="csY93" fmla="*/ 909631 h 1130146"/>
                <a:gd name="csX94" fmla="*/ 0 w 1075017"/>
                <a:gd name="csY94" fmla="*/ 523727 h 1130146"/>
                <a:gd name="csX95" fmla="*/ 385904 w 1075017"/>
                <a:gd name="csY95" fmla="*/ 137823 h 113014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Lst>
              <a:rect l="l" t="t" r="r" b="b"/>
              <a:pathLst>
                <a:path w="1075017" h="1130146">
                  <a:moveTo>
                    <a:pt x="656957" y="333865"/>
                  </a:moveTo>
                  <a:cubicBezTo>
                    <a:pt x="653192" y="329000"/>
                    <a:pt x="649118" y="324363"/>
                    <a:pt x="644752" y="319983"/>
                  </a:cubicBezTo>
                  <a:cubicBezTo>
                    <a:pt x="628500" y="303679"/>
                    <a:pt x="608656" y="291399"/>
                    <a:pt x="586808" y="284119"/>
                  </a:cubicBezTo>
                  <a:lnTo>
                    <a:pt x="515071" y="260821"/>
                  </a:lnTo>
                  <a:cubicBezTo>
                    <a:pt x="509542" y="258873"/>
                    <a:pt x="504754" y="255256"/>
                    <a:pt x="501366" y="250474"/>
                  </a:cubicBezTo>
                  <a:cubicBezTo>
                    <a:pt x="497981" y="245693"/>
                    <a:pt x="496162" y="239978"/>
                    <a:pt x="496162" y="234120"/>
                  </a:cubicBezTo>
                  <a:cubicBezTo>
                    <a:pt x="496162" y="228261"/>
                    <a:pt x="497981" y="222547"/>
                    <a:pt x="501366" y="217764"/>
                  </a:cubicBezTo>
                  <a:cubicBezTo>
                    <a:pt x="504754" y="212982"/>
                    <a:pt x="509542" y="209367"/>
                    <a:pt x="515071" y="207418"/>
                  </a:cubicBezTo>
                  <a:lnTo>
                    <a:pt x="586808" y="184121"/>
                  </a:lnTo>
                  <a:cubicBezTo>
                    <a:pt x="608353" y="176688"/>
                    <a:pt x="627882" y="164376"/>
                    <a:pt x="643875" y="148148"/>
                  </a:cubicBezTo>
                  <a:cubicBezTo>
                    <a:pt x="659427" y="132365"/>
                    <a:pt x="671222" y="113294"/>
                    <a:pt x="678394" y="92351"/>
                  </a:cubicBezTo>
                  <a:lnTo>
                    <a:pt x="678990" y="90577"/>
                  </a:lnTo>
                  <a:lnTo>
                    <a:pt x="702304" y="18895"/>
                  </a:lnTo>
                  <a:cubicBezTo>
                    <a:pt x="704255" y="13370"/>
                    <a:pt x="707872" y="8586"/>
                    <a:pt x="712660" y="5201"/>
                  </a:cubicBezTo>
                  <a:cubicBezTo>
                    <a:pt x="717445" y="1817"/>
                    <a:pt x="723162" y="0"/>
                    <a:pt x="729028" y="0"/>
                  </a:cubicBezTo>
                  <a:cubicBezTo>
                    <a:pt x="734891" y="0"/>
                    <a:pt x="740607" y="1817"/>
                    <a:pt x="745393" y="5201"/>
                  </a:cubicBezTo>
                  <a:cubicBezTo>
                    <a:pt x="750181" y="8586"/>
                    <a:pt x="753797" y="13370"/>
                    <a:pt x="755749" y="18895"/>
                  </a:cubicBezTo>
                  <a:lnTo>
                    <a:pt x="779063" y="90577"/>
                  </a:lnTo>
                  <a:cubicBezTo>
                    <a:pt x="786312" y="112369"/>
                    <a:pt x="798548" y="132172"/>
                    <a:pt x="814800" y="148411"/>
                  </a:cubicBezTo>
                  <a:cubicBezTo>
                    <a:pt x="831052" y="164650"/>
                    <a:pt x="850868" y="176877"/>
                    <a:pt x="872680" y="184121"/>
                  </a:cubicBezTo>
                  <a:lnTo>
                    <a:pt x="944417" y="207418"/>
                  </a:lnTo>
                  <a:lnTo>
                    <a:pt x="945850" y="207776"/>
                  </a:lnTo>
                  <a:cubicBezTo>
                    <a:pt x="951380" y="209726"/>
                    <a:pt x="956168" y="213340"/>
                    <a:pt x="959556" y="218123"/>
                  </a:cubicBezTo>
                  <a:cubicBezTo>
                    <a:pt x="962940" y="222905"/>
                    <a:pt x="964760" y="228619"/>
                    <a:pt x="964760" y="234478"/>
                  </a:cubicBezTo>
                  <a:cubicBezTo>
                    <a:pt x="964760" y="240337"/>
                    <a:pt x="962940" y="246051"/>
                    <a:pt x="959556" y="250832"/>
                  </a:cubicBezTo>
                  <a:cubicBezTo>
                    <a:pt x="956168" y="255614"/>
                    <a:pt x="951380" y="259231"/>
                    <a:pt x="945850" y="261180"/>
                  </a:cubicBezTo>
                  <a:lnTo>
                    <a:pt x="874114" y="284477"/>
                  </a:lnTo>
                  <a:cubicBezTo>
                    <a:pt x="852305" y="291721"/>
                    <a:pt x="832486" y="303949"/>
                    <a:pt x="816236" y="320187"/>
                  </a:cubicBezTo>
                  <a:cubicBezTo>
                    <a:pt x="799984" y="336425"/>
                    <a:pt x="787748" y="356228"/>
                    <a:pt x="780496" y="378020"/>
                  </a:cubicBezTo>
                  <a:lnTo>
                    <a:pt x="757182" y="449702"/>
                  </a:lnTo>
                  <a:cubicBezTo>
                    <a:pt x="756973" y="450300"/>
                    <a:pt x="756744" y="450887"/>
                    <a:pt x="756493" y="451463"/>
                  </a:cubicBezTo>
                  <a:cubicBezTo>
                    <a:pt x="754439" y="456243"/>
                    <a:pt x="751099" y="460378"/>
                    <a:pt x="746829" y="463396"/>
                  </a:cubicBezTo>
                  <a:cubicBezTo>
                    <a:pt x="742044" y="466781"/>
                    <a:pt x="736324" y="468598"/>
                    <a:pt x="730461" y="468598"/>
                  </a:cubicBezTo>
                  <a:cubicBezTo>
                    <a:pt x="724598" y="468598"/>
                    <a:pt x="718878" y="466781"/>
                    <a:pt x="714093" y="463396"/>
                  </a:cubicBezTo>
                  <a:cubicBezTo>
                    <a:pt x="709308" y="460011"/>
                    <a:pt x="705689" y="455229"/>
                    <a:pt x="703740" y="449702"/>
                  </a:cubicBezTo>
                  <a:lnTo>
                    <a:pt x="680426" y="378020"/>
                  </a:lnTo>
                  <a:cubicBezTo>
                    <a:pt x="675158" y="362033"/>
                    <a:pt x="667209" y="347107"/>
                    <a:pt x="656957" y="333865"/>
                  </a:cubicBezTo>
                  <a:close/>
                  <a:moveTo>
                    <a:pt x="1064248" y="523277"/>
                  </a:moveTo>
                  <a:lnTo>
                    <a:pt x="1026270" y="510945"/>
                  </a:lnTo>
                  <a:cubicBezTo>
                    <a:pt x="1014723" y="507108"/>
                    <a:pt x="1004232" y="500636"/>
                    <a:pt x="995629" y="492039"/>
                  </a:cubicBezTo>
                  <a:cubicBezTo>
                    <a:pt x="987024" y="483441"/>
                    <a:pt x="980546" y="472958"/>
                    <a:pt x="976709" y="461420"/>
                  </a:cubicBezTo>
                  <a:lnTo>
                    <a:pt x="964366" y="423472"/>
                  </a:lnTo>
                  <a:cubicBezTo>
                    <a:pt x="963332" y="420547"/>
                    <a:pt x="961416" y="418014"/>
                    <a:pt x="958883" y="416222"/>
                  </a:cubicBezTo>
                  <a:cubicBezTo>
                    <a:pt x="956350" y="414430"/>
                    <a:pt x="953323" y="413468"/>
                    <a:pt x="950217" y="413468"/>
                  </a:cubicBezTo>
                  <a:cubicBezTo>
                    <a:pt x="947113" y="413468"/>
                    <a:pt x="944086" y="414430"/>
                    <a:pt x="941553" y="416222"/>
                  </a:cubicBezTo>
                  <a:cubicBezTo>
                    <a:pt x="939020" y="418014"/>
                    <a:pt x="937104" y="420547"/>
                    <a:pt x="936071" y="423472"/>
                  </a:cubicBezTo>
                  <a:lnTo>
                    <a:pt x="923727" y="461420"/>
                  </a:lnTo>
                  <a:cubicBezTo>
                    <a:pt x="919967" y="472878"/>
                    <a:pt x="913603" y="483309"/>
                    <a:pt x="905138" y="491901"/>
                  </a:cubicBezTo>
                  <a:cubicBezTo>
                    <a:pt x="896672" y="500493"/>
                    <a:pt x="886330" y="507009"/>
                    <a:pt x="874927" y="510945"/>
                  </a:cubicBezTo>
                  <a:lnTo>
                    <a:pt x="836948" y="523277"/>
                  </a:lnTo>
                  <a:cubicBezTo>
                    <a:pt x="834021" y="524311"/>
                    <a:pt x="831485" y="526224"/>
                    <a:pt x="829693" y="528754"/>
                  </a:cubicBezTo>
                  <a:cubicBezTo>
                    <a:pt x="827899" y="531288"/>
                    <a:pt x="826937" y="534312"/>
                    <a:pt x="826937" y="537415"/>
                  </a:cubicBezTo>
                  <a:cubicBezTo>
                    <a:pt x="826937" y="540516"/>
                    <a:pt x="827899" y="543540"/>
                    <a:pt x="829693" y="546073"/>
                  </a:cubicBezTo>
                  <a:cubicBezTo>
                    <a:pt x="831485" y="548604"/>
                    <a:pt x="834021" y="550519"/>
                    <a:pt x="836948" y="551550"/>
                  </a:cubicBezTo>
                  <a:lnTo>
                    <a:pt x="874927" y="563883"/>
                  </a:lnTo>
                  <a:cubicBezTo>
                    <a:pt x="879100" y="565275"/>
                    <a:pt x="883133" y="567009"/>
                    <a:pt x="886992" y="569065"/>
                  </a:cubicBezTo>
                  <a:lnTo>
                    <a:pt x="887072" y="569484"/>
                  </a:lnTo>
                  <a:cubicBezTo>
                    <a:pt x="893853" y="573103"/>
                    <a:pt x="900082" y="577712"/>
                    <a:pt x="905551" y="583181"/>
                  </a:cubicBezTo>
                  <a:cubicBezTo>
                    <a:pt x="914165" y="591795"/>
                    <a:pt x="920648" y="602300"/>
                    <a:pt x="924482" y="613863"/>
                  </a:cubicBezTo>
                  <a:lnTo>
                    <a:pt x="936831" y="651819"/>
                  </a:lnTo>
                  <a:cubicBezTo>
                    <a:pt x="937865" y="654744"/>
                    <a:pt x="939778" y="657277"/>
                    <a:pt x="942311" y="659072"/>
                  </a:cubicBezTo>
                  <a:cubicBezTo>
                    <a:pt x="944844" y="660863"/>
                    <a:pt x="947871" y="661825"/>
                    <a:pt x="950972" y="661825"/>
                  </a:cubicBezTo>
                  <a:cubicBezTo>
                    <a:pt x="954076" y="661825"/>
                    <a:pt x="957102" y="660863"/>
                    <a:pt x="959635" y="659072"/>
                  </a:cubicBezTo>
                  <a:cubicBezTo>
                    <a:pt x="961854" y="657500"/>
                    <a:pt x="963602" y="655359"/>
                    <a:pt x="964694" y="652880"/>
                  </a:cubicBezTo>
                  <a:lnTo>
                    <a:pt x="964688" y="652641"/>
                  </a:lnTo>
                  <a:cubicBezTo>
                    <a:pt x="964848" y="652282"/>
                    <a:pt x="964994" y="651918"/>
                    <a:pt x="965124" y="651546"/>
                  </a:cubicBezTo>
                  <a:lnTo>
                    <a:pt x="977467" y="613598"/>
                  </a:lnTo>
                  <a:cubicBezTo>
                    <a:pt x="981307" y="602060"/>
                    <a:pt x="987784" y="591577"/>
                    <a:pt x="996387" y="582979"/>
                  </a:cubicBezTo>
                  <a:cubicBezTo>
                    <a:pt x="1004990" y="574382"/>
                    <a:pt x="1015484" y="567910"/>
                    <a:pt x="1027028" y="564073"/>
                  </a:cubicBezTo>
                  <a:lnTo>
                    <a:pt x="1065007" y="551741"/>
                  </a:lnTo>
                  <a:cubicBezTo>
                    <a:pt x="1067934" y="550707"/>
                    <a:pt x="1070470" y="548794"/>
                    <a:pt x="1072262" y="546264"/>
                  </a:cubicBezTo>
                  <a:cubicBezTo>
                    <a:pt x="1074056" y="543730"/>
                    <a:pt x="1075018" y="540706"/>
                    <a:pt x="1075018" y="537603"/>
                  </a:cubicBezTo>
                  <a:cubicBezTo>
                    <a:pt x="1075018" y="534502"/>
                    <a:pt x="1074056" y="531478"/>
                    <a:pt x="1072262" y="528945"/>
                  </a:cubicBezTo>
                  <a:cubicBezTo>
                    <a:pt x="1070470" y="526414"/>
                    <a:pt x="1067934" y="524499"/>
                    <a:pt x="1065007" y="523468"/>
                  </a:cubicBezTo>
                  <a:lnTo>
                    <a:pt x="1064248" y="523277"/>
                  </a:lnTo>
                  <a:close/>
                  <a:moveTo>
                    <a:pt x="385904" y="137823"/>
                  </a:moveTo>
                  <a:cubicBezTo>
                    <a:pt x="425740" y="137823"/>
                    <a:pt x="464165" y="143859"/>
                    <a:pt x="500316" y="155066"/>
                  </a:cubicBezTo>
                  <a:lnTo>
                    <a:pt x="498188" y="155752"/>
                  </a:lnTo>
                  <a:cubicBezTo>
                    <a:pt x="481437" y="161454"/>
                    <a:pt x="466883" y="172247"/>
                    <a:pt x="456566" y="186625"/>
                  </a:cubicBezTo>
                  <a:cubicBezTo>
                    <a:pt x="451009" y="194361"/>
                    <a:pt x="446844" y="202979"/>
                    <a:pt x="444233" y="212089"/>
                  </a:cubicBezTo>
                  <a:cubicBezTo>
                    <a:pt x="425327" y="208573"/>
                    <a:pt x="405830" y="206734"/>
                    <a:pt x="385904" y="206734"/>
                  </a:cubicBezTo>
                  <a:cubicBezTo>
                    <a:pt x="210833" y="206734"/>
                    <a:pt x="68911" y="348656"/>
                    <a:pt x="68911" y="523727"/>
                  </a:cubicBezTo>
                  <a:cubicBezTo>
                    <a:pt x="68911" y="698798"/>
                    <a:pt x="210833" y="840719"/>
                    <a:pt x="385904" y="840719"/>
                  </a:cubicBezTo>
                  <a:cubicBezTo>
                    <a:pt x="560975" y="840719"/>
                    <a:pt x="702896" y="698798"/>
                    <a:pt x="702896" y="523727"/>
                  </a:cubicBezTo>
                  <a:cubicBezTo>
                    <a:pt x="702896" y="521833"/>
                    <a:pt x="702880" y="519942"/>
                    <a:pt x="702847" y="518054"/>
                  </a:cubicBezTo>
                  <a:cubicBezTo>
                    <a:pt x="711814" y="521296"/>
                    <a:pt x="721326" y="522985"/>
                    <a:pt x="730971" y="522985"/>
                  </a:cubicBezTo>
                  <a:cubicBezTo>
                    <a:pt x="745271" y="522985"/>
                    <a:pt x="759274" y="519278"/>
                    <a:pt x="771642" y="512293"/>
                  </a:cubicBezTo>
                  <a:cubicBezTo>
                    <a:pt x="771753" y="516091"/>
                    <a:pt x="771808" y="519901"/>
                    <a:pt x="771808" y="523727"/>
                  </a:cubicBezTo>
                  <a:cubicBezTo>
                    <a:pt x="771808" y="617884"/>
                    <a:pt x="738085" y="704167"/>
                    <a:pt x="682060" y="771154"/>
                  </a:cubicBezTo>
                  <a:lnTo>
                    <a:pt x="982233" y="1071327"/>
                  </a:lnTo>
                  <a:cubicBezTo>
                    <a:pt x="995690" y="1084784"/>
                    <a:pt x="995690" y="1106599"/>
                    <a:pt x="982233" y="1120056"/>
                  </a:cubicBezTo>
                  <a:cubicBezTo>
                    <a:pt x="968779" y="1133510"/>
                    <a:pt x="946961" y="1133510"/>
                    <a:pt x="933507" y="1120056"/>
                  </a:cubicBezTo>
                  <a:lnTo>
                    <a:pt x="633332" y="819883"/>
                  </a:lnTo>
                  <a:cubicBezTo>
                    <a:pt x="566344" y="875908"/>
                    <a:pt x="480062" y="909631"/>
                    <a:pt x="385904" y="909631"/>
                  </a:cubicBezTo>
                  <a:cubicBezTo>
                    <a:pt x="172775" y="909631"/>
                    <a:pt x="0" y="736856"/>
                    <a:pt x="0" y="523727"/>
                  </a:cubicBezTo>
                  <a:cubicBezTo>
                    <a:pt x="0" y="310597"/>
                    <a:pt x="172775" y="137823"/>
                    <a:pt x="385904" y="137823"/>
                  </a:cubicBezTo>
                  <a:close/>
                </a:path>
              </a:pathLst>
            </a:custGeom>
            <a:solidFill>
              <a:schemeClr val="tx1"/>
            </a:solidFill>
            <a:ln w="2738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2B876109-0DD0-65EC-E7D1-2C51668CD710}"/>
              </a:ext>
              <a:ext uri="{C183D7F6-B498-43B3-948B-1728B52AA6E4}">
                <adec:decorative xmlns:adec="http://schemas.microsoft.com/office/drawing/2017/decorative" val="1"/>
              </a:ext>
            </a:extLst>
          </p:cNvPr>
          <p:cNvGrpSpPr/>
          <p:nvPr/>
        </p:nvGrpSpPr>
        <p:grpSpPr>
          <a:xfrm>
            <a:off x="3588713" y="3794163"/>
            <a:ext cx="654710" cy="654710"/>
            <a:chOff x="3588713" y="4316018"/>
            <a:chExt cx="654710" cy="654710"/>
          </a:xfrm>
        </p:grpSpPr>
        <p:sp>
          <p:nvSpPr>
            <p:cNvPr id="167" name="Box">
              <a:extLst>
                <a:ext uri="{FF2B5EF4-FFF2-40B4-BE49-F238E27FC236}">
                  <a16:creationId xmlns:a16="http://schemas.microsoft.com/office/drawing/2014/main" id="{8B2E0486-7718-A103-4844-01B0E198D480}"/>
                </a:ext>
                <a:ext uri="{C183D7F6-B498-43B3-948B-1728B52AA6E4}">
                  <adec:decorative xmlns:adec="http://schemas.microsoft.com/office/drawing/2017/decorative" val="1"/>
                </a:ext>
              </a:extLst>
            </p:cNvPr>
            <p:cNvSpPr>
              <a:spLocks noChangeAspect="1"/>
            </p:cNvSpPr>
            <p:nvPr/>
          </p:nvSpPr>
          <p:spPr bwMode="auto">
            <a:xfrm>
              <a:off x="358871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6" name="Graphic 152">
              <a:extLst>
                <a:ext uri="{FF2B5EF4-FFF2-40B4-BE49-F238E27FC236}">
                  <a16:creationId xmlns:a16="http://schemas.microsoft.com/office/drawing/2014/main" id="{62F3CBE5-2915-A951-1BC7-C93FB8598B21}"/>
                </a:ext>
              </a:extLst>
            </p:cNvPr>
            <p:cNvSpPr/>
            <p:nvPr/>
          </p:nvSpPr>
          <p:spPr>
            <a:xfrm>
              <a:off x="3727066" y="4492126"/>
              <a:ext cx="378004" cy="302496"/>
            </a:xfrm>
            <a:custGeom>
              <a:avLst/>
              <a:gdLst>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398507 w 1028405"/>
                <a:gd name="csY18" fmla="*/ 437072 h 822981"/>
                <a:gd name="csX19" fmla="*/ 437072 w 1028405"/>
                <a:gd name="csY19" fmla="*/ 475637 h 822981"/>
                <a:gd name="csX20" fmla="*/ 437072 w 1028405"/>
                <a:gd name="csY20" fmla="*/ 500988 h 822981"/>
                <a:gd name="csX21" fmla="*/ 436661 w 1028405"/>
                <a:gd name="csY21" fmla="*/ 506541 h 822981"/>
                <a:gd name="csX22" fmla="*/ 308522 w 1028405"/>
                <a:gd name="csY22" fmla="*/ 591384 h 822981"/>
                <a:gd name="csX23" fmla="*/ 180382 w 1028405"/>
                <a:gd name="csY23" fmla="*/ 506541 h 822981"/>
                <a:gd name="csX24" fmla="*/ 179971 w 1028405"/>
                <a:gd name="csY24" fmla="*/ 500885 h 822981"/>
                <a:gd name="csX25" fmla="*/ 179971 w 1028405"/>
                <a:gd name="csY25" fmla="*/ 475637 h 822981"/>
                <a:gd name="csX26" fmla="*/ 218536 w 1028405"/>
                <a:gd name="csY26" fmla="*/ 437072 h 822981"/>
                <a:gd name="csX27" fmla="*/ 398507 w 1028405"/>
                <a:gd name="csY27" fmla="*/ 437072 h 822981"/>
                <a:gd name="csX28" fmla="*/ 578581 w 1028405"/>
                <a:gd name="csY28" fmla="*/ 462577 h 822981"/>
                <a:gd name="csX29" fmla="*/ 809869 w 1028405"/>
                <a:gd name="csY29" fmla="*/ 462577 h 822981"/>
                <a:gd name="csX30" fmla="*/ 848424 w 1028405"/>
                <a:gd name="csY30" fmla="*/ 501152 h 822981"/>
                <a:gd name="csX31" fmla="*/ 815114 w 1028405"/>
                <a:gd name="csY31" fmla="*/ 539347 h 822981"/>
                <a:gd name="csX32" fmla="*/ 809869 w 1028405"/>
                <a:gd name="csY32" fmla="*/ 539707 h 822981"/>
                <a:gd name="csX33" fmla="*/ 578581 w 1028405"/>
                <a:gd name="csY33" fmla="*/ 539707 h 822981"/>
                <a:gd name="csX34" fmla="*/ 540026 w 1028405"/>
                <a:gd name="csY34" fmla="*/ 501131 h 822981"/>
                <a:gd name="csX35" fmla="*/ 573336 w 1028405"/>
                <a:gd name="csY35" fmla="*/ 462937 h 822981"/>
                <a:gd name="csX36" fmla="*/ 578581 w 1028405"/>
                <a:gd name="csY36" fmla="*/ 462577 h 822981"/>
                <a:gd name="csX37" fmla="*/ 809869 w 1028405"/>
                <a:gd name="csY37" fmla="*/ 462577 h 822981"/>
                <a:gd name="csX38" fmla="*/ 578581 w 1028405"/>
                <a:gd name="csY38" fmla="*/ 462577 h 822981"/>
                <a:gd name="csX39" fmla="*/ 308522 w 1028405"/>
                <a:gd name="csY39" fmla="*/ 231494 h 822981"/>
                <a:gd name="csX40" fmla="*/ 385652 w 1028405"/>
                <a:gd name="csY40" fmla="*/ 308624 h 822981"/>
                <a:gd name="csX41" fmla="*/ 308522 w 1028405"/>
                <a:gd name="csY41" fmla="*/ 385755 h 822981"/>
                <a:gd name="csX42" fmla="*/ 231391 w 1028405"/>
                <a:gd name="csY42" fmla="*/ 308624 h 822981"/>
                <a:gd name="csX43" fmla="*/ 308522 w 1028405"/>
                <a:gd name="csY43" fmla="*/ 231494 h 822981"/>
                <a:gd name="csX44" fmla="*/ 578581 w 1028405"/>
                <a:gd name="csY44" fmla="*/ 282811 h 822981"/>
                <a:gd name="csX45" fmla="*/ 809869 w 1028405"/>
                <a:gd name="csY45" fmla="*/ 282811 h 822981"/>
                <a:gd name="csX46" fmla="*/ 848424 w 1028405"/>
                <a:gd name="csY46" fmla="*/ 321387 h 822981"/>
                <a:gd name="csX47" fmla="*/ 815114 w 1028405"/>
                <a:gd name="csY47" fmla="*/ 359582 h 822981"/>
                <a:gd name="csX48" fmla="*/ 809869 w 1028405"/>
                <a:gd name="csY48" fmla="*/ 359942 h 822981"/>
                <a:gd name="csX49" fmla="*/ 578581 w 1028405"/>
                <a:gd name="csY49" fmla="*/ 359942 h 822981"/>
                <a:gd name="csX50" fmla="*/ 540026 w 1028405"/>
                <a:gd name="csY50" fmla="*/ 321366 h 822981"/>
                <a:gd name="csX51" fmla="*/ 573336 w 1028405"/>
                <a:gd name="csY51" fmla="*/ 283171 h 822981"/>
                <a:gd name="csX52" fmla="*/ 578581 w 1028405"/>
                <a:gd name="csY52" fmla="*/ 282811 h 822981"/>
                <a:gd name="csX53" fmla="*/ 809869 w 1028405"/>
                <a:gd name="csY53" fmla="*/ 282811 h 822981"/>
                <a:gd name="csX54" fmla="*/ 578581 w 1028405"/>
                <a:gd name="csY54" fmla="*/ 282811 h 82298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Lst>
              <a:rect l="l" t="t" r="r" b="b"/>
              <a:pathLst>
                <a:path w="1028405" h="822981">
                  <a:moveTo>
                    <a:pt x="912709" y="0"/>
                  </a:moveTo>
                  <a:cubicBezTo>
                    <a:pt x="976604" y="0"/>
                    <a:pt x="1028405" y="51799"/>
                    <a:pt x="1028405" y="115696"/>
                  </a:cubicBezTo>
                  <a:lnTo>
                    <a:pt x="1028405" y="707286"/>
                  </a:lnTo>
                  <a:cubicBezTo>
                    <a:pt x="1028405" y="771180"/>
                    <a:pt x="976604" y="822981"/>
                    <a:pt x="912709" y="822981"/>
                  </a:cubicBezTo>
                  <a:lnTo>
                    <a:pt x="115696" y="822981"/>
                  </a:lnTo>
                  <a:cubicBezTo>
                    <a:pt x="51799" y="822981"/>
                    <a:pt x="0" y="771180"/>
                    <a:pt x="0" y="707286"/>
                  </a:cubicBezTo>
                  <a:lnTo>
                    <a:pt x="0" y="115696"/>
                  </a:lnTo>
                  <a:cubicBezTo>
                    <a:pt x="0" y="51799"/>
                    <a:pt x="51799" y="0"/>
                    <a:pt x="115696" y="0"/>
                  </a:cubicBezTo>
                  <a:lnTo>
                    <a:pt x="912709" y="0"/>
                  </a:lnTo>
                  <a:close/>
                  <a:moveTo>
                    <a:pt x="912709" y="77130"/>
                  </a:moveTo>
                  <a:lnTo>
                    <a:pt x="115696" y="77130"/>
                  </a:lnTo>
                  <a:cubicBezTo>
                    <a:pt x="94397" y="77130"/>
                    <a:pt x="77130" y="94397"/>
                    <a:pt x="77130" y="115696"/>
                  </a:cubicBezTo>
                  <a:lnTo>
                    <a:pt x="77130" y="707286"/>
                  </a:lnTo>
                  <a:cubicBezTo>
                    <a:pt x="77130" y="728574"/>
                    <a:pt x="94408" y="745851"/>
                    <a:pt x="115696" y="745851"/>
                  </a:cubicBezTo>
                  <a:lnTo>
                    <a:pt x="912709" y="745851"/>
                  </a:lnTo>
                  <a:cubicBezTo>
                    <a:pt x="934008" y="745851"/>
                    <a:pt x="951275" y="728584"/>
                    <a:pt x="951275" y="707286"/>
                  </a:cubicBezTo>
                  <a:lnTo>
                    <a:pt x="951275" y="115696"/>
                  </a:lnTo>
                  <a:cubicBezTo>
                    <a:pt x="951275" y="94397"/>
                    <a:pt x="934008" y="77130"/>
                    <a:pt x="912709" y="77130"/>
                  </a:cubicBezTo>
                  <a:close/>
                  <a:moveTo>
                    <a:pt x="398507" y="437072"/>
                  </a:moveTo>
                  <a:cubicBezTo>
                    <a:pt x="419805" y="437072"/>
                    <a:pt x="437072" y="454339"/>
                    <a:pt x="437072" y="475637"/>
                  </a:cubicBezTo>
                  <a:lnTo>
                    <a:pt x="437072" y="500988"/>
                  </a:lnTo>
                  <a:lnTo>
                    <a:pt x="436661" y="506541"/>
                  </a:lnTo>
                  <a:cubicBezTo>
                    <a:pt x="428279" y="563772"/>
                    <a:pt x="380407" y="591384"/>
                    <a:pt x="308522" y="591384"/>
                  </a:cubicBezTo>
                  <a:cubicBezTo>
                    <a:pt x="236636" y="591384"/>
                    <a:pt x="188712" y="563772"/>
                    <a:pt x="180382" y="506541"/>
                  </a:cubicBezTo>
                  <a:lnTo>
                    <a:pt x="179971" y="500885"/>
                  </a:lnTo>
                  <a:lnTo>
                    <a:pt x="179971" y="475637"/>
                  </a:lnTo>
                  <a:cubicBezTo>
                    <a:pt x="179971" y="454339"/>
                    <a:pt x="197237" y="437072"/>
                    <a:pt x="218536" y="437072"/>
                  </a:cubicBezTo>
                  <a:lnTo>
                    <a:pt x="398507" y="437072"/>
                  </a:lnTo>
                  <a:close/>
                  <a:moveTo>
                    <a:pt x="578581" y="462577"/>
                  </a:moveTo>
                  <a:lnTo>
                    <a:pt x="809869" y="462577"/>
                  </a:lnTo>
                  <a:cubicBezTo>
                    <a:pt x="831167" y="462582"/>
                    <a:pt x="848429" y="479854"/>
                    <a:pt x="848424" y="501152"/>
                  </a:cubicBezTo>
                  <a:cubicBezTo>
                    <a:pt x="848419" y="520419"/>
                    <a:pt x="834196" y="536719"/>
                    <a:pt x="815114" y="539347"/>
                  </a:cubicBezTo>
                  <a:lnTo>
                    <a:pt x="809869" y="539707"/>
                  </a:lnTo>
                  <a:lnTo>
                    <a:pt x="578581" y="539707"/>
                  </a:lnTo>
                  <a:cubicBezTo>
                    <a:pt x="557282" y="539702"/>
                    <a:pt x="540021" y="522430"/>
                    <a:pt x="540026" y="501131"/>
                  </a:cubicBezTo>
                  <a:cubicBezTo>
                    <a:pt x="540031" y="481864"/>
                    <a:pt x="554254" y="465564"/>
                    <a:pt x="573336" y="462937"/>
                  </a:cubicBezTo>
                  <a:lnTo>
                    <a:pt x="578581" y="462577"/>
                  </a:lnTo>
                  <a:lnTo>
                    <a:pt x="809869" y="462577"/>
                  </a:lnTo>
                  <a:lnTo>
                    <a:pt x="578581" y="462577"/>
                  </a:lnTo>
                  <a:close/>
                  <a:moveTo>
                    <a:pt x="308522" y="231494"/>
                  </a:moveTo>
                  <a:cubicBezTo>
                    <a:pt x="351120" y="231494"/>
                    <a:pt x="385652" y="266026"/>
                    <a:pt x="385652" y="308624"/>
                  </a:cubicBezTo>
                  <a:cubicBezTo>
                    <a:pt x="385652" y="351221"/>
                    <a:pt x="351120" y="385755"/>
                    <a:pt x="308522" y="385755"/>
                  </a:cubicBezTo>
                  <a:cubicBezTo>
                    <a:pt x="265923" y="385755"/>
                    <a:pt x="231391" y="351221"/>
                    <a:pt x="231391" y="308624"/>
                  </a:cubicBezTo>
                  <a:cubicBezTo>
                    <a:pt x="231391" y="266026"/>
                    <a:pt x="265923" y="231494"/>
                    <a:pt x="308522" y="231494"/>
                  </a:cubicBezTo>
                  <a:close/>
                  <a:moveTo>
                    <a:pt x="578581" y="282811"/>
                  </a:moveTo>
                  <a:lnTo>
                    <a:pt x="809869" y="282811"/>
                  </a:lnTo>
                  <a:cubicBezTo>
                    <a:pt x="831167" y="282818"/>
                    <a:pt x="848429" y="300090"/>
                    <a:pt x="848424" y="321387"/>
                  </a:cubicBezTo>
                  <a:cubicBezTo>
                    <a:pt x="848419" y="340654"/>
                    <a:pt x="834196" y="356954"/>
                    <a:pt x="815114" y="359582"/>
                  </a:cubicBezTo>
                  <a:lnTo>
                    <a:pt x="809869" y="359942"/>
                  </a:lnTo>
                  <a:lnTo>
                    <a:pt x="578581" y="359942"/>
                  </a:lnTo>
                  <a:cubicBezTo>
                    <a:pt x="557282" y="359937"/>
                    <a:pt x="540021" y="342665"/>
                    <a:pt x="540026" y="321366"/>
                  </a:cubicBezTo>
                  <a:cubicBezTo>
                    <a:pt x="540031" y="302102"/>
                    <a:pt x="554254" y="285797"/>
                    <a:pt x="573336" y="283171"/>
                  </a:cubicBezTo>
                  <a:lnTo>
                    <a:pt x="578581" y="282811"/>
                  </a:lnTo>
                  <a:lnTo>
                    <a:pt x="809869" y="282811"/>
                  </a:lnTo>
                  <a:lnTo>
                    <a:pt x="578581" y="282811"/>
                  </a:lnTo>
                  <a:close/>
                </a:path>
              </a:pathLst>
            </a:custGeom>
            <a:solidFill>
              <a:schemeClr val="tx1"/>
            </a:solidFill>
            <a:ln w="54372"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0C5BAEAD-7E7F-1332-7DE1-50C4A54A1419}"/>
              </a:ext>
              <a:ext uri="{C183D7F6-B498-43B3-948B-1728B52AA6E4}">
                <adec:decorative xmlns:adec="http://schemas.microsoft.com/office/drawing/2017/decorative" val="1"/>
              </a:ext>
            </a:extLst>
          </p:cNvPr>
          <p:cNvGrpSpPr/>
          <p:nvPr/>
        </p:nvGrpSpPr>
        <p:grpSpPr>
          <a:xfrm>
            <a:off x="10128503" y="4457611"/>
            <a:ext cx="654710" cy="654710"/>
            <a:chOff x="10128503" y="4316018"/>
            <a:chExt cx="654710" cy="654710"/>
          </a:xfrm>
        </p:grpSpPr>
        <p:sp>
          <p:nvSpPr>
            <p:cNvPr id="170" name="Box">
              <a:extLst>
                <a:ext uri="{FF2B5EF4-FFF2-40B4-BE49-F238E27FC236}">
                  <a16:creationId xmlns:a16="http://schemas.microsoft.com/office/drawing/2014/main" id="{ECF9FD64-5D05-8391-DC34-6973F971BA95}"/>
                </a:ext>
                <a:ext uri="{C183D7F6-B498-43B3-948B-1728B52AA6E4}">
                  <adec:decorative xmlns:adec="http://schemas.microsoft.com/office/drawing/2017/decorative" val="1"/>
                </a:ext>
              </a:extLst>
            </p:cNvPr>
            <p:cNvSpPr>
              <a:spLocks noChangeAspect="1"/>
            </p:cNvSpPr>
            <p:nvPr/>
          </p:nvSpPr>
          <p:spPr bwMode="auto">
            <a:xfrm>
              <a:off x="1012850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7" name="Graphic 140">
              <a:extLst>
                <a:ext uri="{FF2B5EF4-FFF2-40B4-BE49-F238E27FC236}">
                  <a16:creationId xmlns:a16="http://schemas.microsoft.com/office/drawing/2014/main" id="{8AC485F0-2B72-DC16-C836-90A37926A36E}"/>
                </a:ext>
              </a:extLst>
            </p:cNvPr>
            <p:cNvSpPr/>
            <p:nvPr/>
          </p:nvSpPr>
          <p:spPr>
            <a:xfrm>
              <a:off x="10312238" y="4483794"/>
              <a:ext cx="287240" cy="319158"/>
            </a:xfrm>
            <a:custGeom>
              <a:avLst/>
              <a:gdLst>
                <a:gd name="csX0" fmla="*/ 0 w 859618"/>
                <a:gd name="csY0" fmla="*/ 179087 h 955142"/>
                <a:gd name="csX1" fmla="*/ 35817 w 859618"/>
                <a:gd name="csY1" fmla="*/ 143270 h 955142"/>
                <a:gd name="csX2" fmla="*/ 408319 w 859618"/>
                <a:gd name="csY2" fmla="*/ 7163 h 955142"/>
                <a:gd name="csX3" fmla="*/ 451300 w 859618"/>
                <a:gd name="csY3" fmla="*/ 7163 h 955142"/>
                <a:gd name="csX4" fmla="*/ 823801 w 859618"/>
                <a:gd name="csY4" fmla="*/ 143270 h 955142"/>
                <a:gd name="csX5" fmla="*/ 859619 w 859618"/>
                <a:gd name="csY5" fmla="*/ 179087 h 955142"/>
                <a:gd name="csX6" fmla="*/ 859619 w 859618"/>
                <a:gd name="csY6" fmla="*/ 429809 h 955142"/>
                <a:gd name="csX7" fmla="*/ 442942 w 859618"/>
                <a:gd name="csY7" fmla="*/ 952648 h 955142"/>
                <a:gd name="csX8" fmla="*/ 416676 w 859618"/>
                <a:gd name="csY8" fmla="*/ 952648 h 955142"/>
                <a:gd name="csX9" fmla="*/ 0 w 859618"/>
                <a:gd name="csY9" fmla="*/ 429809 h 955142"/>
                <a:gd name="csX10" fmla="*/ 0 w 859618"/>
                <a:gd name="csY10" fmla="*/ 179087 h 955142"/>
                <a:gd name="csX11" fmla="*/ 71635 w 859618"/>
                <a:gd name="csY11" fmla="*/ 213854 h 955142"/>
                <a:gd name="csX12" fmla="*/ 71635 w 859618"/>
                <a:gd name="csY12" fmla="*/ 429809 h 955142"/>
                <a:gd name="csX13" fmla="*/ 429809 w 859618"/>
                <a:gd name="csY13" fmla="*/ 880727 h 955142"/>
                <a:gd name="csX14" fmla="*/ 787984 w 859618"/>
                <a:gd name="csY14" fmla="*/ 429809 h 955142"/>
                <a:gd name="csX15" fmla="*/ 787984 w 859618"/>
                <a:gd name="csY15" fmla="*/ 213854 h 955142"/>
                <a:gd name="csX16" fmla="*/ 429809 w 859618"/>
                <a:gd name="csY16" fmla="*/ 80136 h 955142"/>
                <a:gd name="csX17" fmla="*/ 71635 w 859618"/>
                <a:gd name="csY17" fmla="*/ 213854 h 95514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859618" h="955142">
                  <a:moveTo>
                    <a:pt x="0" y="179087"/>
                  </a:moveTo>
                  <a:cubicBezTo>
                    <a:pt x="0" y="159306"/>
                    <a:pt x="16036" y="143270"/>
                    <a:pt x="35817" y="143270"/>
                  </a:cubicBezTo>
                  <a:cubicBezTo>
                    <a:pt x="162993" y="143270"/>
                    <a:pt x="286922" y="98235"/>
                    <a:pt x="408319" y="7163"/>
                  </a:cubicBezTo>
                  <a:cubicBezTo>
                    <a:pt x="421054" y="-2388"/>
                    <a:pt x="438565" y="-2388"/>
                    <a:pt x="451300" y="7163"/>
                  </a:cubicBezTo>
                  <a:cubicBezTo>
                    <a:pt x="572697" y="98235"/>
                    <a:pt x="696625" y="143270"/>
                    <a:pt x="823801" y="143270"/>
                  </a:cubicBezTo>
                  <a:cubicBezTo>
                    <a:pt x="843583" y="143270"/>
                    <a:pt x="859619" y="159306"/>
                    <a:pt x="859619" y="179087"/>
                  </a:cubicBezTo>
                  <a:lnTo>
                    <a:pt x="859619" y="429809"/>
                  </a:lnTo>
                  <a:cubicBezTo>
                    <a:pt x="859619" y="668640"/>
                    <a:pt x="718355" y="844145"/>
                    <a:pt x="442942" y="952648"/>
                  </a:cubicBezTo>
                  <a:cubicBezTo>
                    <a:pt x="434503" y="955974"/>
                    <a:pt x="425116" y="955974"/>
                    <a:pt x="416676" y="952648"/>
                  </a:cubicBezTo>
                  <a:cubicBezTo>
                    <a:pt x="141264" y="844145"/>
                    <a:pt x="0" y="668592"/>
                    <a:pt x="0" y="429809"/>
                  </a:cubicBezTo>
                  <a:lnTo>
                    <a:pt x="0" y="179087"/>
                  </a:lnTo>
                  <a:close/>
                  <a:moveTo>
                    <a:pt x="71635" y="213854"/>
                  </a:moveTo>
                  <a:lnTo>
                    <a:pt x="71635" y="429809"/>
                  </a:lnTo>
                  <a:cubicBezTo>
                    <a:pt x="71635" y="633061"/>
                    <a:pt x="188782" y="782205"/>
                    <a:pt x="429809" y="880727"/>
                  </a:cubicBezTo>
                  <a:cubicBezTo>
                    <a:pt x="670837" y="782205"/>
                    <a:pt x="787984" y="633061"/>
                    <a:pt x="787984" y="429809"/>
                  </a:cubicBezTo>
                  <a:lnTo>
                    <a:pt x="787984" y="213854"/>
                  </a:lnTo>
                  <a:cubicBezTo>
                    <a:pt x="664915" y="206595"/>
                    <a:pt x="545380" y="161799"/>
                    <a:pt x="429809" y="80136"/>
                  </a:cubicBezTo>
                  <a:cubicBezTo>
                    <a:pt x="314238" y="161799"/>
                    <a:pt x="194704" y="206595"/>
                    <a:pt x="71635" y="213854"/>
                  </a:cubicBezTo>
                  <a:close/>
                </a:path>
              </a:pathLst>
            </a:custGeom>
            <a:solidFill>
              <a:schemeClr val="tx1"/>
            </a:solidFill>
            <a:ln w="54372"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23" name="TextBox 322">
            <a:extLst>
              <a:ext uri="{FF2B5EF4-FFF2-40B4-BE49-F238E27FC236}">
                <a16:creationId xmlns:a16="http://schemas.microsoft.com/office/drawing/2014/main" id="{8817DD33-9153-D8E1-C941-A5C7B1CC253B}"/>
              </a:ext>
            </a:extLst>
          </p:cNvPr>
          <p:cNvSpPr txBox="1"/>
          <p:nvPr/>
        </p:nvSpPr>
        <p:spPr>
          <a:xfrm>
            <a:off x="818342" y="4580326"/>
            <a:ext cx="1835592" cy="1142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500" b="0" i="0" u="none" strike="noStrike" kern="1200" cap="none" spc="0" normalizeH="0" baseline="0" noProof="0">
                <a:ln>
                  <a:noFill/>
                </a:ln>
                <a:solidFill>
                  <a:srgbClr val="2A446F"/>
                </a:solidFill>
                <a:effectLst/>
                <a:uLnTx/>
                <a:uFillTx/>
                <a:latin typeface="Segoe UI Semibold"/>
                <a:cs typeface="Segoe UI" pitchFamily="34" charset="0"/>
              </a:rPr>
              <a:t>Registr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500" b="1" i="0" u="none" strike="noStrike" kern="1200" cap="none" spc="0" normalizeH="0" baseline="0" noProof="0">
                <a:ln>
                  <a:noFill/>
                </a:ln>
                <a:solidFill>
                  <a:srgbClr val="2A446F"/>
                </a:solidFill>
                <a:effectLst/>
                <a:uLnTx/>
                <a:uFillTx/>
                <a:latin typeface="Segoe UI Semibold"/>
                <a:cs typeface="Segoe UI" pitchFamily="34" charset="0"/>
              </a:rPr>
              <a:t>Vue complète des agents qui existent dans l’ensemble de votre organisation. </a:t>
            </a:r>
          </a:p>
        </p:txBody>
      </p:sp>
      <p:sp>
        <p:nvSpPr>
          <p:cNvPr id="324" name="TextBox 323">
            <a:extLst>
              <a:ext uri="{FF2B5EF4-FFF2-40B4-BE49-F238E27FC236}">
                <a16:creationId xmlns:a16="http://schemas.microsoft.com/office/drawing/2014/main" id="{523AD5E0-6655-60B9-0035-CF197DA348ED}"/>
              </a:ext>
            </a:extLst>
          </p:cNvPr>
          <p:cNvSpPr txBox="1"/>
          <p:nvPr/>
        </p:nvSpPr>
        <p:spPr>
          <a:xfrm>
            <a:off x="2997096" y="4580326"/>
            <a:ext cx="1837944" cy="11596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500" b="0" i="0" u="none" strike="noStrike" kern="1200" cap="none" spc="0" normalizeH="0" baseline="0" noProof="0">
                <a:ln>
                  <a:noFill/>
                </a:ln>
                <a:solidFill>
                  <a:srgbClr val="2A446F"/>
                </a:solidFill>
                <a:effectLst/>
                <a:uLnTx/>
                <a:uFillTx/>
                <a:latin typeface="Segoe UI Semibold"/>
                <a:cs typeface="Segoe UI" pitchFamily="34" charset="0"/>
              </a:rPr>
              <a:t>Contrôle des accès</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500" b="0" i="0" u="none" strike="noStrike" kern="1200" cap="none" spc="0" normalizeH="0" baseline="0" noProof="0">
                <a:ln>
                  <a:noFill/>
                </a:ln>
                <a:solidFill>
                  <a:srgbClr val="2A446F"/>
                </a:solidFill>
                <a:effectLst/>
                <a:uLnTx/>
                <a:uFillTx/>
                <a:latin typeface="Segoe UI Semibold"/>
                <a:cs typeface="Segoe UI" pitchFamily="34" charset="0"/>
              </a:rPr>
              <a:t>Accès au moindre privilège pour l’agent, basé sur </a:t>
            </a:r>
            <a:br>
              <a:rPr kumimoji="0" lang="fr-fr" sz="1500" b="0" i="0" u="none" strike="noStrike" kern="1200" cap="none" spc="0" normalizeH="0" baseline="0" noProof="0">
                <a:ln>
                  <a:noFill/>
                </a:ln>
                <a:solidFill>
                  <a:srgbClr val="2A446F"/>
                </a:solidFill>
                <a:effectLst/>
                <a:uLnTx/>
                <a:uFillTx/>
                <a:latin typeface="Segoe UI Semibold"/>
                <a:cs typeface="Segoe UI" pitchFamily="34" charset="0"/>
              </a:rPr>
            </a:br>
            <a:r>
              <a:rPr kumimoji="0" lang="fr-fr" sz="1500" b="0" i="0" u="none" strike="noStrike" kern="1200" cap="none" spc="0" normalizeH="0" baseline="0" noProof="0">
                <a:ln>
                  <a:noFill/>
                </a:ln>
                <a:solidFill>
                  <a:srgbClr val="2A446F"/>
                </a:solidFill>
                <a:effectLst/>
                <a:uLnTx/>
                <a:uFillTx/>
                <a:latin typeface="Segoe UI Semibold"/>
                <a:cs typeface="Segoe UI" pitchFamily="34" charset="0"/>
              </a:rPr>
              <a:t>le JTBD. </a:t>
            </a:r>
          </a:p>
        </p:txBody>
      </p:sp>
      <p:sp>
        <p:nvSpPr>
          <p:cNvPr id="325" name="TextBox 324">
            <a:extLst>
              <a:ext uri="{FF2B5EF4-FFF2-40B4-BE49-F238E27FC236}">
                <a16:creationId xmlns:a16="http://schemas.microsoft.com/office/drawing/2014/main" id="{3B419B44-3D4B-BA13-1F78-DC89613EC649}"/>
              </a:ext>
            </a:extLst>
          </p:cNvPr>
          <p:cNvSpPr txBox="1"/>
          <p:nvPr/>
        </p:nvSpPr>
        <p:spPr>
          <a:xfrm>
            <a:off x="5177026" y="4571361"/>
            <a:ext cx="1837944" cy="1438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500" b="0" i="0" u="none" strike="noStrike" kern="1200" cap="none" spc="0" normalizeH="0" baseline="0" noProof="0">
                <a:ln>
                  <a:noFill/>
                </a:ln>
                <a:solidFill>
                  <a:srgbClr val="2A446F"/>
                </a:solidFill>
                <a:effectLst/>
                <a:uLnTx/>
                <a:uFillTx/>
                <a:latin typeface="Segoe UI Semibold"/>
                <a:cs typeface="Segoe UI" pitchFamily="34" charset="0"/>
              </a:rPr>
              <a:t>Visualisation</a:t>
            </a:r>
            <a:r>
              <a:rPr lang="fr-fr" sz="1500">
                <a:solidFill>
                  <a:srgbClr val="2A446F"/>
                </a:solidFill>
                <a:latin typeface="Segoe UI Semibold"/>
              </a:rPr>
              <a:t> </a:t>
            </a:r>
            <a:r>
              <a:rPr kumimoji="0" lang="fr-fr" sz="1500" b="0" i="0" u="none" strike="noStrike" kern="1200" cap="none" spc="0" normalizeH="0" baseline="0" noProof="0">
                <a:ln>
                  <a:noFill/>
                </a:ln>
                <a:solidFill>
                  <a:srgbClr val="2A446F"/>
                </a:solidFill>
                <a:effectLst/>
                <a:uLnTx/>
                <a:uFillTx/>
                <a:latin typeface="Segoe UI Semibold"/>
                <a:cs typeface="Segoe UI" pitchFamily="34" charset="0"/>
              </a:rPr>
              <a:t>Analyses approfondies de l’activité et de la performance des agents.</a:t>
            </a:r>
          </a:p>
        </p:txBody>
      </p:sp>
      <p:sp>
        <p:nvSpPr>
          <p:cNvPr id="326" name="TextBox 325">
            <a:extLst>
              <a:ext uri="{FF2B5EF4-FFF2-40B4-BE49-F238E27FC236}">
                <a16:creationId xmlns:a16="http://schemas.microsoft.com/office/drawing/2014/main" id="{E8290E4D-4AED-96B1-58D9-E8ED27877744}"/>
              </a:ext>
            </a:extLst>
          </p:cNvPr>
          <p:cNvSpPr txBox="1"/>
          <p:nvPr/>
        </p:nvSpPr>
        <p:spPr>
          <a:xfrm>
            <a:off x="7356956" y="4599109"/>
            <a:ext cx="1837944" cy="14593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500" b="0" i="0" u="none" strike="noStrike" kern="1200" cap="none" spc="0" normalizeH="0" baseline="0" noProof="0">
                <a:ln>
                  <a:noFill/>
                </a:ln>
                <a:solidFill>
                  <a:srgbClr val="2A446F"/>
                </a:solidFill>
                <a:effectLst/>
                <a:uLnTx/>
                <a:uFillTx/>
                <a:latin typeface="Segoe UI Semibold"/>
                <a:cs typeface="Segoe UI" pitchFamily="34" charset="0"/>
              </a:rPr>
              <a:t>Interopérabilité</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500" b="0" i="0" u="none" strike="noStrike" kern="1200" cap="none" spc="0" normalizeH="0" baseline="0" noProof="0">
                <a:ln>
                  <a:noFill/>
                </a:ln>
                <a:solidFill>
                  <a:srgbClr val="2A446F"/>
                </a:solidFill>
                <a:effectLst/>
                <a:uLnTx/>
                <a:uFillTx/>
                <a:latin typeface="Segoe UI Semibold"/>
                <a:cs typeface="Segoe UI" pitchFamily="34" charset="0"/>
              </a:rPr>
              <a:t>Donner aux agents les moyens d’accomplir un travail concret grâce à des outils de productivité. </a:t>
            </a:r>
          </a:p>
        </p:txBody>
      </p:sp>
      <p:sp>
        <p:nvSpPr>
          <p:cNvPr id="327" name="TextBox 326">
            <a:extLst>
              <a:ext uri="{FF2B5EF4-FFF2-40B4-BE49-F238E27FC236}">
                <a16:creationId xmlns:a16="http://schemas.microsoft.com/office/drawing/2014/main" id="{A9122FF7-D754-625B-0CED-4E6B5C6AC5F4}"/>
              </a:ext>
            </a:extLst>
          </p:cNvPr>
          <p:cNvSpPr txBox="1"/>
          <p:nvPr/>
        </p:nvSpPr>
        <p:spPr>
          <a:xfrm>
            <a:off x="9536887" y="5274294"/>
            <a:ext cx="1837944" cy="7443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500" b="0" i="0" u="none" strike="noStrike" kern="1200" cap="none" spc="0" normalizeH="0" baseline="0" noProof="0">
                <a:ln>
                  <a:noFill/>
                </a:ln>
                <a:solidFill>
                  <a:srgbClr val="2A446F"/>
                </a:solidFill>
                <a:effectLst/>
                <a:uLnTx/>
                <a:uFillTx/>
                <a:latin typeface="Segoe UI Semibold"/>
                <a:cs typeface="Segoe UI" pitchFamily="34" charset="0"/>
              </a:rPr>
              <a:t>Sécurité</a:t>
            </a:r>
          </a:p>
        </p:txBody>
      </p:sp>
      <p:sp>
        <p:nvSpPr>
          <p:cNvPr id="7" name="Rounded Rectangle 5">
            <a:extLst>
              <a:ext uri="{FF2B5EF4-FFF2-40B4-BE49-F238E27FC236}">
                <a16:creationId xmlns:a16="http://schemas.microsoft.com/office/drawing/2014/main" id="{C5FBDBFC-F324-3895-6113-49A7E67074A9}"/>
              </a:ext>
            </a:extLst>
          </p:cNvPr>
          <p:cNvSpPr txBox="1">
            <a:spLocks/>
          </p:cNvSpPr>
          <p:nvPr/>
        </p:nvSpPr>
        <p:spPr bwMode="auto">
          <a:xfrm>
            <a:off x="4381498" y="486496"/>
            <a:ext cx="3429004" cy="609682"/>
          </a:xfrm>
          <a:prstGeom prst="roundRect">
            <a:avLst>
              <a:gd name="adj" fmla="val 50000"/>
            </a:avLst>
          </a:prstGeom>
          <a:gradFill flip="none" rotWithShape="1">
            <a:gsLst>
              <a:gs pos="100000">
                <a:srgbClr val="BABAFF">
                  <a:lumMod val="90000"/>
                </a:srgbClr>
              </a:gs>
              <a:gs pos="29400">
                <a:srgbClr val="58AAFE">
                  <a:lumMod val="40000"/>
                  <a:lumOff val="60000"/>
                </a:srgbClr>
              </a:gs>
              <a:gs pos="0">
                <a:srgbClr val="FECBE6"/>
              </a:gs>
            </a:gsLst>
            <a:path path="circle">
              <a:fillToRect l="100000" t="100000"/>
            </a:path>
            <a:tileRect r="-100000" b="-100000"/>
          </a:gradFill>
          <a:ln w="76200" cap="flat" cmpd="sng" algn="ctr">
            <a:noFill/>
            <a:prstDash val="solid"/>
            <a:headEnd type="none" w="med" len="med"/>
            <a:tailEnd type="none" w="med" len="med"/>
          </a:ln>
          <a:effectLst>
            <a:outerShdw blurRad="375109" dist="101600" dir="5400000" sx="105000" sy="105000" algn="t" rotWithShape="0">
              <a:prstClr val="black">
                <a:alpha val="2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400" b="0" i="0" u="none" strike="noStrike" kern="1200" cap="none" spc="0" normalizeH="0" baseline="0" noProof="0">
                <a:ln w="3175">
                  <a:noFill/>
                </a:ln>
                <a:solidFill>
                  <a:srgbClr val="002060"/>
                </a:solidFill>
                <a:effectLst/>
                <a:uLnTx/>
                <a:uFillTx/>
                <a:latin typeface="Segoe Sans Display Semibold"/>
                <a:ea typeface="+mn-ea"/>
                <a:cs typeface="Segoe Sans Display Semibold" pitchFamily="2" charset="0"/>
              </a:rPr>
              <a:t>Microsoft Agent 365</a:t>
            </a:r>
          </a:p>
        </p:txBody>
      </p:sp>
    </p:spTree>
    <p:custDataLst>
      <p:tags r:id="rId1"/>
    </p:custDataLst>
    <p:extLst>
      <p:ext uri="{BB962C8B-B14F-4D97-AF65-F5344CB8AC3E}">
        <p14:creationId xmlns:p14="http://schemas.microsoft.com/office/powerpoint/2010/main" val="20979378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0A61A9-49AA-B8BE-EEF7-EE610AE2884A}"/>
              </a:ext>
            </a:extLst>
          </p:cNvPr>
          <p:cNvSpPr>
            <a:spLocks noGrp="1"/>
          </p:cNvSpPr>
          <p:nvPr>
            <p:ph type="title"/>
          </p:nvPr>
        </p:nvSpPr>
        <p:spPr>
          <a:xfrm>
            <a:off x="591450" y="2511166"/>
            <a:ext cx="5980800" cy="1754326"/>
          </a:xfrm>
          <a:prstGeom prst="rect">
            <a:avLst/>
          </a:prstGeom>
        </p:spPr>
        <p:txBody>
          <a:bodyPr/>
          <a:lstStyle/>
          <a:p>
            <a:r>
              <a:rPr lang="fr-fr" b="1"/>
              <a:t>Gouvernance </a:t>
            </a:r>
            <a:br>
              <a:rPr lang="fr-fr" b="1"/>
            </a:br>
            <a:r>
              <a:rPr lang="fr-fr" b="1"/>
              <a:t>des agents</a:t>
            </a:r>
          </a:p>
        </p:txBody>
      </p:sp>
      <p:sp>
        <p:nvSpPr>
          <p:cNvPr id="2" name="Text Placeholder 1">
            <a:extLst>
              <a:ext uri="{FF2B5EF4-FFF2-40B4-BE49-F238E27FC236}">
                <a16:creationId xmlns:a16="http://schemas.microsoft.com/office/drawing/2014/main" id="{79C55DFC-05C3-5211-7C8C-01629B2A242D}"/>
              </a:ext>
            </a:extLst>
          </p:cNvPr>
          <p:cNvSpPr>
            <a:spLocks noGrp="1"/>
          </p:cNvSpPr>
          <p:nvPr>
            <p:ph type="body" sz="quarter" idx="10"/>
          </p:nvPr>
        </p:nvSpPr>
        <p:spPr>
          <a:prstGeom prst="rect">
            <a:avLst/>
          </a:prstGeom>
        </p:spPr>
        <p:txBody>
          <a:bodyPr/>
          <a:lstStyle/>
          <a:p>
            <a:pPr lvl="0" defTabSz="457200">
              <a:lnSpc>
                <a:spcPct val="90000"/>
              </a:lnSpc>
              <a:spcBef>
                <a:spcPts val="0"/>
              </a:spcBef>
              <a:buSzTx/>
              <a:defRPr/>
            </a:pPr>
            <a:r>
              <a:rPr lang="fr-fr">
                <a:solidFill>
                  <a:prstClr val="white"/>
                </a:solidFill>
                <a:latin typeface="Segoe Sans Display" pitchFamily="2" charset="0"/>
              </a:rPr>
              <a:t>18 mars 2026</a:t>
            </a:r>
            <a:endParaRPr lang="en-US">
              <a:solidFill>
                <a:prstClr val="white"/>
              </a:solidFill>
              <a:latin typeface="Segoe Sans Display" pitchFamily="2" charset="0"/>
            </a:endParaRPr>
          </a:p>
        </p:txBody>
      </p:sp>
      <p:sp>
        <p:nvSpPr>
          <p:cNvPr id="3" name="object 33">
            <a:extLst>
              <a:ext uri="{FF2B5EF4-FFF2-40B4-BE49-F238E27FC236}">
                <a16:creationId xmlns:a16="http://schemas.microsoft.com/office/drawing/2014/main" id="{C933D51D-CF35-A3D9-6F54-C62823178A79}"/>
              </a:ext>
            </a:extLst>
          </p:cNvPr>
          <p:cNvSpPr txBox="1">
            <a:spLocks/>
          </p:cNvSpPr>
          <p:nvPr/>
        </p:nvSpPr>
        <p:spPr>
          <a:xfrm>
            <a:off x="571500" y="6410684"/>
            <a:ext cx="2755901" cy="142347"/>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0" lvl="0" indent="0" algn="l" defTabSz="914400" rtl="0" eaLnBrk="1" fontAlgn="auto" latinLnBrk="0" hangingPunct="1">
              <a:lnSpc>
                <a:spcPct val="100000"/>
              </a:lnSpc>
              <a:spcBef>
                <a:spcPts val="150"/>
              </a:spcBef>
              <a:spcAft>
                <a:spcPts val="0"/>
              </a:spcAft>
              <a:buClrTx/>
              <a:buSzTx/>
              <a:buFontTx/>
              <a:buNone/>
              <a:tabLst/>
              <a:defRPr/>
            </a:pPr>
            <a:r>
              <a:rPr kumimoji="0" lang="fr-fr" sz="800" b="0" i="0" u="none" strike="noStrike" kern="100" cap="none" spc="0" normalizeH="0" baseline="0" noProof="0">
                <a:ln>
                  <a:noFill/>
                </a:ln>
                <a:solidFill>
                  <a:prstClr val="white"/>
                </a:solidFill>
                <a:effectLst/>
                <a:uLnTx/>
                <a:uFillTx/>
                <a:latin typeface="Segoe Sans Small" pitchFamily="2" charset="0"/>
                <a:ea typeface="+mn-ea"/>
                <a:cs typeface="Segoe Sans Small" pitchFamily="2" charset="0"/>
              </a:rPr>
              <a:t>Microsoft </a:t>
            </a:r>
            <a:r>
              <a:rPr kumimoji="0" lang="fr-fr" sz="800" b="0" i="0" u="none" strike="noStrike" kern="1200" cap="none" spc="0" normalizeH="0" baseline="0" noProof="0">
                <a:ln>
                  <a:noFill/>
                </a:ln>
                <a:solidFill>
                  <a:prstClr val="white"/>
                </a:solidFill>
                <a:effectLst/>
                <a:uLnTx/>
                <a:uFillTx/>
                <a:latin typeface="Segoe Sans Small" pitchFamily="2" charset="0"/>
                <a:ea typeface="+mn-ea"/>
                <a:cs typeface="Segoe Sans Small" pitchFamily="2" charset="0"/>
              </a:rPr>
              <a:t>Confidentiel</a:t>
            </a:r>
            <a:endParaRPr kumimoji="0" lang="en-US" sz="800" b="0" i="0" u="none" strike="noStrike" kern="100" cap="none" spc="0" normalizeH="0" baseline="0" noProof="0">
              <a:ln>
                <a:noFill/>
              </a:ln>
              <a:solidFill>
                <a:prstClr val="white"/>
              </a:solidFill>
              <a:effectLst/>
              <a:uLnTx/>
              <a:uFillTx/>
              <a:latin typeface="Segoe Sans Small" pitchFamily="2" charset="0"/>
              <a:ea typeface="+mn-ea"/>
              <a:cs typeface="Segoe Sans Small" pitchFamily="2" charset="0"/>
            </a:endParaRPr>
          </a:p>
        </p:txBody>
      </p:sp>
    </p:spTree>
    <p:extLst>
      <p:ext uri="{BB962C8B-B14F-4D97-AF65-F5344CB8AC3E}">
        <p14:creationId xmlns:p14="http://schemas.microsoft.com/office/powerpoint/2010/main" val="96629358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70832-3044-3CA0-9D3F-22744DB90156}"/>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449E8CD-FD1A-FB02-F365-FAA049B3C61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0" progId="TCLayout.ActiveDocument.1">
                  <p:embed/>
                </p:oleObj>
              </mc:Choice>
              <mc:Fallback>
                <p:oleObj name="think-cell Slide" r:id="rId5" imgW="532" imgH="530" progId="TCLayout.ActiveDocument.1">
                  <p:embed/>
                  <p:pic>
                    <p:nvPicPr>
                      <p:cNvPr id="8" name="think-cell data - do not delete" hidden="1">
                        <a:extLst>
                          <a:ext uri="{FF2B5EF4-FFF2-40B4-BE49-F238E27FC236}">
                            <a16:creationId xmlns:a16="http://schemas.microsoft.com/office/drawing/2014/main" id="{A449E8CD-FD1A-FB02-F365-FAA049B3C6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4" name="Rectangle: Rounded Corners 173">
            <a:extLst>
              <a:ext uri="{FF2B5EF4-FFF2-40B4-BE49-F238E27FC236}">
                <a16:creationId xmlns:a16="http://schemas.microsoft.com/office/drawing/2014/main" id="{E3C3AF79-C0C4-AE09-F318-320A9B2A5EEC}"/>
              </a:ext>
              <a:ext uri="{C183D7F6-B498-43B3-948B-1728B52AA6E4}">
                <adec:decorative xmlns:adec="http://schemas.microsoft.com/office/drawing/2017/decorative" val="1"/>
              </a:ext>
            </a:extLst>
          </p:cNvPr>
          <p:cNvSpPr>
            <a:spLocks/>
          </p:cNvSpPr>
          <p:nvPr/>
        </p:nvSpPr>
        <p:spPr bwMode="auto">
          <a:xfrm>
            <a:off x="571498" y="807678"/>
            <a:ext cx="11049001" cy="5555837"/>
          </a:xfrm>
          <a:prstGeom prst="roundRect">
            <a:avLst>
              <a:gd name="adj" fmla="val 4215"/>
            </a:avLst>
          </a:prstGeom>
          <a:gradFill>
            <a:gsLst>
              <a:gs pos="0">
                <a:srgbClr val="FECBE6">
                  <a:alpha val="58000"/>
                </a:srgbClr>
              </a:gs>
              <a:gs pos="33000">
                <a:srgbClr val="BABAFF">
                  <a:alpha val="58000"/>
                </a:srgbClr>
              </a:gs>
              <a:gs pos="82000">
                <a:schemeClr val="accent6">
                  <a:lumMod val="25000"/>
                  <a:lumOff val="75000"/>
                  <a:alpha val="70000"/>
                </a:schemeClr>
              </a:gs>
              <a:gs pos="98165">
                <a:schemeClr val="bg1">
                  <a:alpha val="33000"/>
                </a:schemeClr>
              </a:gs>
            </a:gsLst>
            <a:lin ang="15600000" scaled="0"/>
          </a:gradFill>
          <a:ln w="6350">
            <a:solidFill>
              <a:schemeClr val="bg2">
                <a:lumMod val="90000"/>
              </a:schemeClr>
            </a:solidFill>
            <a:headEnd type="none" w="med" len="med"/>
            <a:tailEnd type="none" w="med" len="med"/>
          </a:ln>
          <a:effectLst>
            <a:outerShdw blurRad="152400" algn="ctr" rotWithShape="0">
              <a:schemeClr val="bg1">
                <a:alpha val="4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85" name="Freeform 170">
            <a:extLst>
              <a:ext uri="{FF2B5EF4-FFF2-40B4-BE49-F238E27FC236}">
                <a16:creationId xmlns:a16="http://schemas.microsoft.com/office/drawing/2014/main" id="{D3F42E3B-DA7B-E7EE-F90F-4D5F1B1E386D}"/>
              </a:ext>
              <a:ext uri="{C183D7F6-B498-43B3-948B-1728B52AA6E4}">
                <adec:decorative xmlns:adec="http://schemas.microsoft.com/office/drawing/2017/decorative" val="1"/>
              </a:ext>
            </a:extLst>
          </p:cNvPr>
          <p:cNvSpPr/>
          <p:nvPr/>
        </p:nvSpPr>
        <p:spPr bwMode="auto">
          <a:xfrm>
            <a:off x="8175209" y="3965305"/>
            <a:ext cx="657087" cy="798081"/>
          </a:xfrm>
          <a:custGeom>
            <a:avLst/>
            <a:gdLst>
              <a:gd name="connsiteX0" fmla="*/ 0 w 1306286"/>
              <a:gd name="connsiteY0" fmla="*/ 298580 h 1268963"/>
              <a:gd name="connsiteX1" fmla="*/ 1306286 w 1306286"/>
              <a:gd name="connsiteY1" fmla="*/ 0 h 1268963"/>
              <a:gd name="connsiteX2" fmla="*/ 765110 w 1306286"/>
              <a:gd name="connsiteY2" fmla="*/ 1268963 h 1268963"/>
            </a:gdLst>
            <a:ahLst/>
            <a:cxnLst>
              <a:cxn ang="0">
                <a:pos x="connsiteX0" y="connsiteY0"/>
              </a:cxn>
              <a:cxn ang="0">
                <a:pos x="connsiteX1" y="connsiteY1"/>
              </a:cxn>
              <a:cxn ang="0">
                <a:pos x="connsiteX2" y="connsiteY2"/>
              </a:cxn>
            </a:cxnLst>
            <a:rect l="l" t="t" r="r" b="b"/>
            <a:pathLst>
              <a:path w="1306286" h="1268963">
                <a:moveTo>
                  <a:pt x="0" y="298580"/>
                </a:moveTo>
                <a:lnTo>
                  <a:pt x="1306286" y="0"/>
                </a:lnTo>
                <a:lnTo>
                  <a:pt x="765110" y="126896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lt"/>
              <a:cs typeface="Segoe UI"/>
              <a:sym typeface="+mn-lt"/>
            </a:endParaRPr>
          </a:p>
        </p:txBody>
      </p:sp>
      <p:sp>
        <p:nvSpPr>
          <p:cNvPr id="286" name="Freeform 171">
            <a:extLst>
              <a:ext uri="{FF2B5EF4-FFF2-40B4-BE49-F238E27FC236}">
                <a16:creationId xmlns:a16="http://schemas.microsoft.com/office/drawing/2014/main" id="{12721EFD-804C-DADA-9819-BEA93A9F995E}"/>
              </a:ext>
              <a:ext uri="{C183D7F6-B498-43B3-948B-1728B52AA6E4}">
                <adec:decorative xmlns:adec="http://schemas.microsoft.com/office/drawing/2017/decorative" val="1"/>
              </a:ext>
            </a:extLst>
          </p:cNvPr>
          <p:cNvSpPr/>
          <p:nvPr/>
        </p:nvSpPr>
        <p:spPr bwMode="auto">
          <a:xfrm>
            <a:off x="576066" y="2803393"/>
            <a:ext cx="746664" cy="1631372"/>
          </a:xfrm>
          <a:custGeom>
            <a:avLst/>
            <a:gdLst>
              <a:gd name="connsiteX0" fmla="*/ 167951 w 1455575"/>
              <a:gd name="connsiteY0" fmla="*/ 0 h 2593910"/>
              <a:gd name="connsiteX1" fmla="*/ 1063690 w 1455575"/>
              <a:gd name="connsiteY1" fmla="*/ 167951 h 2593910"/>
              <a:gd name="connsiteX2" fmla="*/ 783771 w 1455575"/>
              <a:gd name="connsiteY2" fmla="*/ 895739 h 2593910"/>
              <a:gd name="connsiteX3" fmla="*/ 0 w 1455575"/>
              <a:gd name="connsiteY3" fmla="*/ 1063690 h 2593910"/>
              <a:gd name="connsiteX4" fmla="*/ 298579 w 1455575"/>
              <a:gd name="connsiteY4" fmla="*/ 2593910 h 2593910"/>
              <a:gd name="connsiteX5" fmla="*/ 1455575 w 1455575"/>
              <a:gd name="connsiteY5" fmla="*/ 2146041 h 2593910"/>
              <a:gd name="connsiteX0" fmla="*/ 0 w 1497801"/>
              <a:gd name="connsiteY0" fmla="*/ 0 h 2593910"/>
              <a:gd name="connsiteX1" fmla="*/ 1105916 w 1497801"/>
              <a:gd name="connsiteY1" fmla="*/ 167951 h 2593910"/>
              <a:gd name="connsiteX2" fmla="*/ 825997 w 1497801"/>
              <a:gd name="connsiteY2" fmla="*/ 895739 h 2593910"/>
              <a:gd name="connsiteX3" fmla="*/ 42226 w 1497801"/>
              <a:gd name="connsiteY3" fmla="*/ 1063690 h 2593910"/>
              <a:gd name="connsiteX4" fmla="*/ 340805 w 1497801"/>
              <a:gd name="connsiteY4" fmla="*/ 2593910 h 2593910"/>
              <a:gd name="connsiteX5" fmla="*/ 1497801 w 1497801"/>
              <a:gd name="connsiteY5" fmla="*/ 2146041 h 2593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7801" h="2593910">
                <a:moveTo>
                  <a:pt x="0" y="0"/>
                </a:moveTo>
                <a:lnTo>
                  <a:pt x="1105916" y="167951"/>
                </a:lnTo>
                <a:lnTo>
                  <a:pt x="825997" y="895739"/>
                </a:lnTo>
                <a:lnTo>
                  <a:pt x="42226" y="1063690"/>
                </a:lnTo>
                <a:lnTo>
                  <a:pt x="340805" y="2593910"/>
                </a:lnTo>
                <a:lnTo>
                  <a:pt x="1497801" y="2146041"/>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87" name="Freeform 176">
            <a:extLst>
              <a:ext uri="{FF2B5EF4-FFF2-40B4-BE49-F238E27FC236}">
                <a16:creationId xmlns:a16="http://schemas.microsoft.com/office/drawing/2014/main" id="{724D14ED-37A9-E26C-2AD0-87B9C7F5C6B1}"/>
              </a:ext>
              <a:ext uri="{C183D7F6-B498-43B3-948B-1728B52AA6E4}">
                <adec:decorative xmlns:adec="http://schemas.microsoft.com/office/drawing/2017/decorative" val="1"/>
              </a:ext>
            </a:extLst>
          </p:cNvPr>
          <p:cNvSpPr/>
          <p:nvPr/>
        </p:nvSpPr>
        <p:spPr bwMode="auto">
          <a:xfrm>
            <a:off x="10568884" y="3249379"/>
            <a:ext cx="1047475" cy="1588110"/>
          </a:xfrm>
          <a:custGeom>
            <a:avLst/>
            <a:gdLst>
              <a:gd name="connsiteX0" fmla="*/ 2052735 w 2052735"/>
              <a:gd name="connsiteY0" fmla="*/ 0 h 2463282"/>
              <a:gd name="connsiteX1" fmla="*/ 877078 w 2052735"/>
              <a:gd name="connsiteY1" fmla="*/ 93306 h 2463282"/>
              <a:gd name="connsiteX2" fmla="*/ 0 w 2052735"/>
              <a:gd name="connsiteY2" fmla="*/ 2220686 h 2463282"/>
              <a:gd name="connsiteX3" fmla="*/ 1754156 w 2052735"/>
              <a:gd name="connsiteY3" fmla="*/ 2463282 h 2463282"/>
              <a:gd name="connsiteX0" fmla="*/ 2052735 w 2120245"/>
              <a:gd name="connsiteY0" fmla="*/ 0 h 2513765"/>
              <a:gd name="connsiteX1" fmla="*/ 877078 w 2120245"/>
              <a:gd name="connsiteY1" fmla="*/ 93306 h 2513765"/>
              <a:gd name="connsiteX2" fmla="*/ 0 w 2120245"/>
              <a:gd name="connsiteY2" fmla="*/ 2220686 h 2513765"/>
              <a:gd name="connsiteX3" fmla="*/ 2120245 w 2120245"/>
              <a:gd name="connsiteY3" fmla="*/ 2513765 h 2513765"/>
              <a:gd name="connsiteX0" fmla="*/ 2052735 w 2082374"/>
              <a:gd name="connsiteY0" fmla="*/ 0 h 2525124"/>
              <a:gd name="connsiteX1" fmla="*/ 877078 w 2082374"/>
              <a:gd name="connsiteY1" fmla="*/ 93306 h 2525124"/>
              <a:gd name="connsiteX2" fmla="*/ 0 w 2082374"/>
              <a:gd name="connsiteY2" fmla="*/ 2220686 h 2525124"/>
              <a:gd name="connsiteX3" fmla="*/ 2082374 w 2082374"/>
              <a:gd name="connsiteY3" fmla="*/ 2525124 h 2525124"/>
            </a:gdLst>
            <a:ahLst/>
            <a:cxnLst>
              <a:cxn ang="0">
                <a:pos x="connsiteX0" y="connsiteY0"/>
              </a:cxn>
              <a:cxn ang="0">
                <a:pos x="connsiteX1" y="connsiteY1"/>
              </a:cxn>
              <a:cxn ang="0">
                <a:pos x="connsiteX2" y="connsiteY2"/>
              </a:cxn>
              <a:cxn ang="0">
                <a:pos x="connsiteX3" y="connsiteY3"/>
              </a:cxn>
            </a:cxnLst>
            <a:rect l="l" t="t" r="r" b="b"/>
            <a:pathLst>
              <a:path w="2082374" h="2525124">
                <a:moveTo>
                  <a:pt x="2052735" y="0"/>
                </a:moveTo>
                <a:lnTo>
                  <a:pt x="877078" y="93306"/>
                </a:lnTo>
                <a:lnTo>
                  <a:pt x="0" y="2220686"/>
                </a:lnTo>
                <a:lnTo>
                  <a:pt x="2082374" y="2525124"/>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88" name="Freeform 177">
            <a:extLst>
              <a:ext uri="{FF2B5EF4-FFF2-40B4-BE49-F238E27FC236}">
                <a16:creationId xmlns:a16="http://schemas.microsoft.com/office/drawing/2014/main" id="{724F590A-7815-5236-6987-E5B1AE327CD3}"/>
              </a:ext>
              <a:ext uri="{C183D7F6-B498-43B3-948B-1728B52AA6E4}">
                <adec:decorative xmlns:adec="http://schemas.microsoft.com/office/drawing/2017/decorative" val="1"/>
              </a:ext>
            </a:extLst>
          </p:cNvPr>
          <p:cNvSpPr/>
          <p:nvPr/>
        </p:nvSpPr>
        <p:spPr bwMode="auto">
          <a:xfrm>
            <a:off x="4129429" y="1829264"/>
            <a:ext cx="1417431" cy="2323825"/>
          </a:xfrm>
          <a:custGeom>
            <a:avLst/>
            <a:gdLst>
              <a:gd name="connsiteX0" fmla="*/ 2817845 w 2817845"/>
              <a:gd name="connsiteY0" fmla="*/ 0 h 3694923"/>
              <a:gd name="connsiteX1" fmla="*/ 877078 w 2817845"/>
              <a:gd name="connsiteY1" fmla="*/ 1530221 h 3694923"/>
              <a:gd name="connsiteX2" fmla="*/ 2108719 w 2817845"/>
              <a:gd name="connsiteY2" fmla="*/ 1250302 h 3694923"/>
              <a:gd name="connsiteX3" fmla="*/ 0 w 2817845"/>
              <a:gd name="connsiteY3" fmla="*/ 2202025 h 3694923"/>
              <a:gd name="connsiteX4" fmla="*/ 2164702 w 2817845"/>
              <a:gd name="connsiteY4" fmla="*/ 2481943 h 3694923"/>
              <a:gd name="connsiteX5" fmla="*/ 1026368 w 2817845"/>
              <a:gd name="connsiteY5" fmla="*/ 3116425 h 3694923"/>
              <a:gd name="connsiteX6" fmla="*/ 503854 w 2817845"/>
              <a:gd name="connsiteY6" fmla="*/ 3694923 h 3694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7845" h="3694923">
                <a:moveTo>
                  <a:pt x="2817845" y="0"/>
                </a:moveTo>
                <a:lnTo>
                  <a:pt x="877078" y="1530221"/>
                </a:lnTo>
                <a:lnTo>
                  <a:pt x="2108719" y="1250302"/>
                </a:lnTo>
                <a:lnTo>
                  <a:pt x="0" y="2202025"/>
                </a:lnTo>
                <a:lnTo>
                  <a:pt x="2164702" y="2481943"/>
                </a:lnTo>
                <a:lnTo>
                  <a:pt x="1026368" y="3116425"/>
                </a:lnTo>
                <a:lnTo>
                  <a:pt x="503854" y="369492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89" name="Freeform 178">
            <a:extLst>
              <a:ext uri="{FF2B5EF4-FFF2-40B4-BE49-F238E27FC236}">
                <a16:creationId xmlns:a16="http://schemas.microsoft.com/office/drawing/2014/main" id="{690FA01F-7F97-E857-260F-F9DFC6E6FF30}"/>
              </a:ext>
              <a:ext uri="{C183D7F6-B498-43B3-948B-1728B52AA6E4}">
                <adec:decorative xmlns:adec="http://schemas.microsoft.com/office/drawing/2017/decorative" val="1"/>
              </a:ext>
            </a:extLst>
          </p:cNvPr>
          <p:cNvSpPr/>
          <p:nvPr/>
        </p:nvSpPr>
        <p:spPr bwMode="auto">
          <a:xfrm>
            <a:off x="2589968" y="2803393"/>
            <a:ext cx="1539461" cy="2288615"/>
          </a:xfrm>
          <a:custGeom>
            <a:avLst/>
            <a:gdLst>
              <a:gd name="connsiteX0" fmla="*/ 317240 w 3060440"/>
              <a:gd name="connsiteY0" fmla="*/ 839755 h 3638939"/>
              <a:gd name="connsiteX1" fmla="*/ 1194318 w 3060440"/>
              <a:gd name="connsiteY1" fmla="*/ 298579 h 3638939"/>
              <a:gd name="connsiteX2" fmla="*/ 2444620 w 3060440"/>
              <a:gd name="connsiteY2" fmla="*/ 0 h 3638939"/>
              <a:gd name="connsiteX3" fmla="*/ 1343608 w 3060440"/>
              <a:gd name="connsiteY3" fmla="*/ 1810139 h 3638939"/>
              <a:gd name="connsiteX4" fmla="*/ 466530 w 3060440"/>
              <a:gd name="connsiteY4" fmla="*/ 877077 h 3638939"/>
              <a:gd name="connsiteX5" fmla="*/ 0 w 3060440"/>
              <a:gd name="connsiteY5" fmla="*/ 1623526 h 3638939"/>
              <a:gd name="connsiteX6" fmla="*/ 3060440 w 3060440"/>
              <a:gd name="connsiteY6" fmla="*/ 3638939 h 3638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0440" h="3638939">
                <a:moveTo>
                  <a:pt x="317240" y="839755"/>
                </a:moveTo>
                <a:lnTo>
                  <a:pt x="1194318" y="298579"/>
                </a:lnTo>
                <a:lnTo>
                  <a:pt x="2444620" y="0"/>
                </a:lnTo>
                <a:lnTo>
                  <a:pt x="1343608" y="1810139"/>
                </a:lnTo>
                <a:lnTo>
                  <a:pt x="466530" y="877077"/>
                </a:lnTo>
                <a:lnTo>
                  <a:pt x="0" y="1623526"/>
                </a:lnTo>
                <a:lnTo>
                  <a:pt x="3060440" y="3638939"/>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0" name="Freeform 179">
            <a:extLst>
              <a:ext uri="{FF2B5EF4-FFF2-40B4-BE49-F238E27FC236}">
                <a16:creationId xmlns:a16="http://schemas.microsoft.com/office/drawing/2014/main" id="{B23487CA-2064-2CE9-18B9-1A507CE9D8E7}"/>
              </a:ext>
              <a:ext uri="{C183D7F6-B498-43B3-948B-1728B52AA6E4}">
                <adec:decorative xmlns:adec="http://schemas.microsoft.com/office/drawing/2017/decorative" val="1"/>
              </a:ext>
            </a:extLst>
          </p:cNvPr>
          <p:cNvSpPr/>
          <p:nvPr/>
        </p:nvSpPr>
        <p:spPr bwMode="auto">
          <a:xfrm>
            <a:off x="1557403" y="2181359"/>
            <a:ext cx="1163983" cy="845027"/>
          </a:xfrm>
          <a:custGeom>
            <a:avLst/>
            <a:gdLst>
              <a:gd name="connsiteX0" fmla="*/ 0 w 2313992"/>
              <a:gd name="connsiteY0" fmla="*/ 1007706 h 1343608"/>
              <a:gd name="connsiteX1" fmla="*/ 1045029 w 2313992"/>
              <a:gd name="connsiteY1" fmla="*/ 1343608 h 1343608"/>
              <a:gd name="connsiteX2" fmla="*/ 2108718 w 2313992"/>
              <a:gd name="connsiteY2" fmla="*/ 0 h 1343608"/>
              <a:gd name="connsiteX3" fmla="*/ 2108718 w 2313992"/>
              <a:gd name="connsiteY3" fmla="*/ 0 h 1343608"/>
              <a:gd name="connsiteX4" fmla="*/ 2313992 w 2313992"/>
              <a:gd name="connsiteY4" fmla="*/ 653143 h 1343608"/>
              <a:gd name="connsiteX5" fmla="*/ 1082351 w 2313992"/>
              <a:gd name="connsiteY5" fmla="*/ 1324947 h 134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3992" h="1343608">
                <a:moveTo>
                  <a:pt x="0" y="1007706"/>
                </a:moveTo>
                <a:lnTo>
                  <a:pt x="1045029" y="1343608"/>
                </a:lnTo>
                <a:lnTo>
                  <a:pt x="2108718" y="0"/>
                </a:lnTo>
                <a:lnTo>
                  <a:pt x="2108718" y="0"/>
                </a:lnTo>
                <a:lnTo>
                  <a:pt x="2313992" y="653143"/>
                </a:lnTo>
                <a:lnTo>
                  <a:pt x="1082351" y="1324947"/>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1" name="Freeform 180">
            <a:extLst>
              <a:ext uri="{FF2B5EF4-FFF2-40B4-BE49-F238E27FC236}">
                <a16:creationId xmlns:a16="http://schemas.microsoft.com/office/drawing/2014/main" id="{4AA0942D-2743-0DDF-3B20-FE2F0963B1E1}"/>
              </a:ext>
              <a:ext uri="{C183D7F6-B498-43B3-948B-1728B52AA6E4}">
                <adec:decorative xmlns:adec="http://schemas.microsoft.com/office/drawing/2017/decorative" val="1"/>
              </a:ext>
            </a:extLst>
          </p:cNvPr>
          <p:cNvSpPr/>
          <p:nvPr/>
        </p:nvSpPr>
        <p:spPr bwMode="auto">
          <a:xfrm>
            <a:off x="1116215" y="2615609"/>
            <a:ext cx="3050762" cy="2441189"/>
          </a:xfrm>
          <a:custGeom>
            <a:avLst/>
            <a:gdLst>
              <a:gd name="connsiteX0" fmla="*/ 6064898 w 6064898"/>
              <a:gd name="connsiteY0" fmla="*/ 3881535 h 3881535"/>
              <a:gd name="connsiteX1" fmla="*/ 4348066 w 6064898"/>
              <a:gd name="connsiteY1" fmla="*/ 2164702 h 3881535"/>
              <a:gd name="connsiteX2" fmla="*/ 6027576 w 6064898"/>
              <a:gd name="connsiteY2" fmla="*/ 989045 h 3881535"/>
              <a:gd name="connsiteX3" fmla="*/ 6027576 w 6064898"/>
              <a:gd name="connsiteY3" fmla="*/ 186612 h 3881535"/>
              <a:gd name="connsiteX4" fmla="*/ 5299788 w 6064898"/>
              <a:gd name="connsiteY4" fmla="*/ 317241 h 3881535"/>
              <a:gd name="connsiteX5" fmla="*/ 3209731 w 6064898"/>
              <a:gd name="connsiteY5" fmla="*/ 0 h 3881535"/>
              <a:gd name="connsiteX6" fmla="*/ 3359021 w 6064898"/>
              <a:gd name="connsiteY6" fmla="*/ 1119674 h 3881535"/>
              <a:gd name="connsiteX7" fmla="*/ 317241 w 6064898"/>
              <a:gd name="connsiteY7" fmla="*/ 2463282 h 3881535"/>
              <a:gd name="connsiteX8" fmla="*/ 1306286 w 6064898"/>
              <a:gd name="connsiteY8" fmla="*/ 1287625 h 3881535"/>
              <a:gd name="connsiteX9" fmla="*/ 0 w 6064898"/>
              <a:gd name="connsiteY9" fmla="*/ 466531 h 3881535"/>
              <a:gd name="connsiteX10" fmla="*/ 858417 w 6064898"/>
              <a:gd name="connsiteY10" fmla="*/ 354563 h 3881535"/>
              <a:gd name="connsiteX11" fmla="*/ 1268964 w 6064898"/>
              <a:gd name="connsiteY11" fmla="*/ 1250302 h 3881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64898" h="3881535">
                <a:moveTo>
                  <a:pt x="6064898" y="3881535"/>
                </a:moveTo>
                <a:lnTo>
                  <a:pt x="4348066" y="2164702"/>
                </a:lnTo>
                <a:lnTo>
                  <a:pt x="6027576" y="989045"/>
                </a:lnTo>
                <a:lnTo>
                  <a:pt x="6027576" y="186612"/>
                </a:lnTo>
                <a:lnTo>
                  <a:pt x="5299788" y="317241"/>
                </a:lnTo>
                <a:lnTo>
                  <a:pt x="3209731" y="0"/>
                </a:lnTo>
                <a:lnTo>
                  <a:pt x="3359021" y="1119674"/>
                </a:lnTo>
                <a:lnTo>
                  <a:pt x="317241" y="2463282"/>
                </a:lnTo>
                <a:lnTo>
                  <a:pt x="1306286" y="1287625"/>
                </a:lnTo>
                <a:lnTo>
                  <a:pt x="0" y="466531"/>
                </a:lnTo>
                <a:lnTo>
                  <a:pt x="858417" y="354563"/>
                </a:lnTo>
                <a:lnTo>
                  <a:pt x="1268964" y="1250302"/>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2" name="Freeform 181">
            <a:extLst>
              <a:ext uri="{FF2B5EF4-FFF2-40B4-BE49-F238E27FC236}">
                <a16:creationId xmlns:a16="http://schemas.microsoft.com/office/drawing/2014/main" id="{326782BB-91E6-5856-C890-62A06D6C3292}"/>
              </a:ext>
              <a:ext uri="{C183D7F6-B498-43B3-948B-1728B52AA6E4}">
                <adec:decorative xmlns:adec="http://schemas.microsoft.com/office/drawing/2017/decorative" val="1"/>
              </a:ext>
            </a:extLst>
          </p:cNvPr>
          <p:cNvSpPr/>
          <p:nvPr/>
        </p:nvSpPr>
        <p:spPr bwMode="auto">
          <a:xfrm>
            <a:off x="4176365" y="2709501"/>
            <a:ext cx="7425085" cy="2370770"/>
          </a:xfrm>
          <a:custGeom>
            <a:avLst/>
            <a:gdLst>
              <a:gd name="connsiteX0" fmla="*/ 14481110 w 14481110"/>
              <a:gd name="connsiteY0" fmla="*/ 0 h 3769567"/>
              <a:gd name="connsiteX1" fmla="*/ 11961844 w 14481110"/>
              <a:gd name="connsiteY1" fmla="*/ 895739 h 3769567"/>
              <a:gd name="connsiteX2" fmla="*/ 10599575 w 14481110"/>
              <a:gd name="connsiteY2" fmla="*/ 989045 h 3769567"/>
              <a:gd name="connsiteX3" fmla="*/ 9050693 w 14481110"/>
              <a:gd name="connsiteY3" fmla="*/ 914400 h 3769567"/>
              <a:gd name="connsiteX4" fmla="*/ 6699379 w 14481110"/>
              <a:gd name="connsiteY4" fmla="*/ 1212980 h 3769567"/>
              <a:gd name="connsiteX5" fmla="*/ 6736702 w 14481110"/>
              <a:gd name="connsiteY5" fmla="*/ 2052735 h 3769567"/>
              <a:gd name="connsiteX6" fmla="*/ 5710334 w 14481110"/>
              <a:gd name="connsiteY6" fmla="*/ 2799184 h 3769567"/>
              <a:gd name="connsiteX7" fmla="*/ 6736702 w 14481110"/>
              <a:gd name="connsiteY7" fmla="*/ 1212980 h 3769567"/>
              <a:gd name="connsiteX8" fmla="*/ 4348065 w 14481110"/>
              <a:gd name="connsiteY8" fmla="*/ 1660849 h 3769567"/>
              <a:gd name="connsiteX9" fmla="*/ 3750906 w 14481110"/>
              <a:gd name="connsiteY9" fmla="*/ 3321698 h 3769567"/>
              <a:gd name="connsiteX10" fmla="*/ 5710334 w 14481110"/>
              <a:gd name="connsiteY10" fmla="*/ 2761861 h 3769567"/>
              <a:gd name="connsiteX11" fmla="*/ 3097763 w 14481110"/>
              <a:gd name="connsiteY11" fmla="*/ 1474237 h 3769567"/>
              <a:gd name="connsiteX12" fmla="*/ 0 w 14481110"/>
              <a:gd name="connsiteY12" fmla="*/ 3769567 h 3769567"/>
              <a:gd name="connsiteX13" fmla="*/ 2575249 w 14481110"/>
              <a:gd name="connsiteY13" fmla="*/ 2313992 h 3769567"/>
              <a:gd name="connsiteX14" fmla="*/ 3676261 w 14481110"/>
              <a:gd name="connsiteY14" fmla="*/ 3247053 h 3769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81110" h="3769567">
                <a:moveTo>
                  <a:pt x="14481110" y="0"/>
                </a:moveTo>
                <a:lnTo>
                  <a:pt x="11961844" y="895739"/>
                </a:lnTo>
                <a:lnTo>
                  <a:pt x="10599575" y="989045"/>
                </a:lnTo>
                <a:lnTo>
                  <a:pt x="9050693" y="914400"/>
                </a:lnTo>
                <a:lnTo>
                  <a:pt x="6699379" y="1212980"/>
                </a:lnTo>
                <a:lnTo>
                  <a:pt x="6736702" y="2052735"/>
                </a:lnTo>
                <a:lnTo>
                  <a:pt x="5710334" y="2799184"/>
                </a:lnTo>
                <a:lnTo>
                  <a:pt x="6736702" y="1212980"/>
                </a:lnTo>
                <a:lnTo>
                  <a:pt x="4348065" y="1660849"/>
                </a:lnTo>
                <a:lnTo>
                  <a:pt x="3750906" y="3321698"/>
                </a:lnTo>
                <a:lnTo>
                  <a:pt x="5710334" y="2761861"/>
                </a:lnTo>
                <a:lnTo>
                  <a:pt x="3097763" y="1474237"/>
                </a:lnTo>
                <a:lnTo>
                  <a:pt x="0" y="3769567"/>
                </a:lnTo>
                <a:lnTo>
                  <a:pt x="2575249" y="2313992"/>
                </a:lnTo>
                <a:lnTo>
                  <a:pt x="3676261" y="324705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3" name="Freeform 182">
            <a:extLst>
              <a:ext uri="{FF2B5EF4-FFF2-40B4-BE49-F238E27FC236}">
                <a16:creationId xmlns:a16="http://schemas.microsoft.com/office/drawing/2014/main" id="{A32D745C-C9FD-A770-986A-018A19254914}"/>
              </a:ext>
              <a:ext uri="{C183D7F6-B498-43B3-948B-1728B52AA6E4}">
                <adec:decorative xmlns:adec="http://schemas.microsoft.com/office/drawing/2017/decorative" val="1"/>
              </a:ext>
            </a:extLst>
          </p:cNvPr>
          <p:cNvSpPr/>
          <p:nvPr/>
        </p:nvSpPr>
        <p:spPr bwMode="auto">
          <a:xfrm>
            <a:off x="590546" y="1817528"/>
            <a:ext cx="10400751" cy="3251007"/>
          </a:xfrm>
          <a:custGeom>
            <a:avLst/>
            <a:gdLst>
              <a:gd name="connsiteX0" fmla="*/ 0 w 20266090"/>
              <a:gd name="connsiteY0" fmla="*/ 1101012 h 5169159"/>
              <a:gd name="connsiteX1" fmla="*/ 1511559 w 20266090"/>
              <a:gd name="connsiteY1" fmla="*/ 1642188 h 5169159"/>
              <a:gd name="connsiteX2" fmla="*/ 3732245 w 20266090"/>
              <a:gd name="connsiteY2" fmla="*/ 522514 h 5169159"/>
              <a:gd name="connsiteX3" fmla="*/ 5952930 w 20266090"/>
              <a:gd name="connsiteY3" fmla="*/ 1604865 h 5169159"/>
              <a:gd name="connsiteX4" fmla="*/ 6643396 w 20266090"/>
              <a:gd name="connsiteY4" fmla="*/ 2220686 h 5169159"/>
              <a:gd name="connsiteX5" fmla="*/ 6400800 w 20266090"/>
              <a:gd name="connsiteY5" fmla="*/ 3452326 h 5169159"/>
              <a:gd name="connsiteX6" fmla="*/ 5001208 w 20266090"/>
              <a:gd name="connsiteY6" fmla="*/ 3433665 h 5169159"/>
              <a:gd name="connsiteX7" fmla="*/ 3564294 w 20266090"/>
              <a:gd name="connsiteY7" fmla="*/ 3228392 h 5169159"/>
              <a:gd name="connsiteX8" fmla="*/ 1007706 w 20266090"/>
              <a:gd name="connsiteY8" fmla="*/ 3732245 h 5169159"/>
              <a:gd name="connsiteX9" fmla="*/ 391885 w 20266090"/>
              <a:gd name="connsiteY9" fmla="*/ 2444620 h 5169159"/>
              <a:gd name="connsiteX10" fmla="*/ 1884783 w 20266090"/>
              <a:gd name="connsiteY10" fmla="*/ 2593910 h 5169159"/>
              <a:gd name="connsiteX11" fmla="*/ 2500604 w 20266090"/>
              <a:gd name="connsiteY11" fmla="*/ 1922106 h 5169159"/>
              <a:gd name="connsiteX12" fmla="*/ 3993502 w 20266090"/>
              <a:gd name="connsiteY12" fmla="*/ 2425959 h 5169159"/>
              <a:gd name="connsiteX13" fmla="*/ 6662057 w 20266090"/>
              <a:gd name="connsiteY13" fmla="*/ 2239347 h 5169159"/>
              <a:gd name="connsiteX14" fmla="*/ 7613779 w 20266090"/>
              <a:gd name="connsiteY14" fmla="*/ 1530220 h 5169159"/>
              <a:gd name="connsiteX15" fmla="*/ 6662057 w 20266090"/>
              <a:gd name="connsiteY15" fmla="*/ 1455575 h 5169159"/>
              <a:gd name="connsiteX16" fmla="*/ 9386596 w 20266090"/>
              <a:gd name="connsiteY16" fmla="*/ 18661 h 5169159"/>
              <a:gd name="connsiteX17" fmla="*/ 8714792 w 20266090"/>
              <a:gd name="connsiteY17" fmla="*/ 1287624 h 5169159"/>
              <a:gd name="connsiteX18" fmla="*/ 7651102 w 20266090"/>
              <a:gd name="connsiteY18" fmla="*/ 3135086 h 5169159"/>
              <a:gd name="connsiteX19" fmla="*/ 6680718 w 20266090"/>
              <a:gd name="connsiteY19" fmla="*/ 2239347 h 5169159"/>
              <a:gd name="connsiteX20" fmla="*/ 7109926 w 20266090"/>
              <a:gd name="connsiteY20" fmla="*/ 3769567 h 5169159"/>
              <a:gd name="connsiteX21" fmla="*/ 6680718 w 20266090"/>
              <a:gd name="connsiteY21" fmla="*/ 5169159 h 5169159"/>
              <a:gd name="connsiteX22" fmla="*/ 6400800 w 20266090"/>
              <a:gd name="connsiteY22" fmla="*/ 3452326 h 5169159"/>
              <a:gd name="connsiteX23" fmla="*/ 7091265 w 20266090"/>
              <a:gd name="connsiteY23" fmla="*/ 3769567 h 5169159"/>
              <a:gd name="connsiteX24" fmla="*/ 9797143 w 20266090"/>
              <a:gd name="connsiteY24" fmla="*/ 2873828 h 5169159"/>
              <a:gd name="connsiteX25" fmla="*/ 9274628 w 20266090"/>
              <a:gd name="connsiteY25" fmla="*/ 3732245 h 5169159"/>
              <a:gd name="connsiteX26" fmla="*/ 12465698 w 20266090"/>
              <a:gd name="connsiteY26" fmla="*/ 4217437 h 5169159"/>
              <a:gd name="connsiteX27" fmla="*/ 11122090 w 20266090"/>
              <a:gd name="connsiteY27" fmla="*/ 3041779 h 5169159"/>
              <a:gd name="connsiteX28" fmla="*/ 9815804 w 20266090"/>
              <a:gd name="connsiteY28" fmla="*/ 2911151 h 5169159"/>
              <a:gd name="connsiteX29" fmla="*/ 12092473 w 20266090"/>
              <a:gd name="connsiteY29" fmla="*/ 2444620 h 5169159"/>
              <a:gd name="connsiteX30" fmla="*/ 13566710 w 20266090"/>
              <a:gd name="connsiteY30" fmla="*/ 1810139 h 5169159"/>
              <a:gd name="connsiteX31" fmla="*/ 16272588 w 20266090"/>
              <a:gd name="connsiteY31" fmla="*/ 895739 h 5169159"/>
              <a:gd name="connsiteX32" fmla="*/ 18773192 w 20266090"/>
              <a:gd name="connsiteY32" fmla="*/ 2276669 h 5169159"/>
              <a:gd name="connsiteX33" fmla="*/ 19127755 w 20266090"/>
              <a:gd name="connsiteY33" fmla="*/ 2967135 h 5169159"/>
              <a:gd name="connsiteX34" fmla="*/ 19426334 w 20266090"/>
              <a:gd name="connsiteY34" fmla="*/ 4478694 h 5169159"/>
              <a:gd name="connsiteX35" fmla="*/ 18325322 w 20266090"/>
              <a:gd name="connsiteY35" fmla="*/ 3228392 h 5169159"/>
              <a:gd name="connsiteX36" fmla="*/ 19146416 w 20266090"/>
              <a:gd name="connsiteY36" fmla="*/ 3004457 h 5169159"/>
              <a:gd name="connsiteX37" fmla="*/ 20266090 w 20266090"/>
              <a:gd name="connsiteY37" fmla="*/ 2369975 h 5169159"/>
              <a:gd name="connsiteX38" fmla="*/ 18717208 w 20266090"/>
              <a:gd name="connsiteY38" fmla="*/ 2220686 h 5169159"/>
              <a:gd name="connsiteX39" fmla="*/ 18306661 w 20266090"/>
              <a:gd name="connsiteY39" fmla="*/ 3172408 h 5169159"/>
              <a:gd name="connsiteX40" fmla="*/ 17354939 w 20266090"/>
              <a:gd name="connsiteY40" fmla="*/ 2425959 h 5169159"/>
              <a:gd name="connsiteX41" fmla="*/ 16272588 w 20266090"/>
              <a:gd name="connsiteY41" fmla="*/ 858416 h 5169159"/>
              <a:gd name="connsiteX42" fmla="*/ 15787396 w 20266090"/>
              <a:gd name="connsiteY42" fmla="*/ 2276669 h 5169159"/>
              <a:gd name="connsiteX43" fmla="*/ 14518432 w 20266090"/>
              <a:gd name="connsiteY43" fmla="*/ 2220686 h 5169159"/>
              <a:gd name="connsiteX44" fmla="*/ 13604032 w 20266090"/>
              <a:gd name="connsiteY44" fmla="*/ 1772816 h 5169159"/>
              <a:gd name="connsiteX45" fmla="*/ 13417420 w 20266090"/>
              <a:gd name="connsiteY45" fmla="*/ 2687216 h 5169159"/>
              <a:gd name="connsiteX46" fmla="*/ 12185779 w 20266090"/>
              <a:gd name="connsiteY46" fmla="*/ 2407298 h 5169159"/>
              <a:gd name="connsiteX47" fmla="*/ 10767526 w 20266090"/>
              <a:gd name="connsiteY47" fmla="*/ 1660849 h 5169159"/>
              <a:gd name="connsiteX48" fmla="*/ 9778481 w 20266090"/>
              <a:gd name="connsiteY48" fmla="*/ 2873828 h 5169159"/>
              <a:gd name="connsiteX49" fmla="*/ 8733453 w 20266090"/>
              <a:gd name="connsiteY49" fmla="*/ 2481943 h 5169159"/>
              <a:gd name="connsiteX50" fmla="*/ 8733453 w 20266090"/>
              <a:gd name="connsiteY50" fmla="*/ 1250302 h 5169159"/>
              <a:gd name="connsiteX51" fmla="*/ 9815804 w 20266090"/>
              <a:gd name="connsiteY51" fmla="*/ 2873828 h 5169159"/>
              <a:gd name="connsiteX52" fmla="*/ 9367934 w 20266090"/>
              <a:gd name="connsiteY52" fmla="*/ 0 h 5169159"/>
              <a:gd name="connsiteX53" fmla="*/ 10804849 w 20266090"/>
              <a:gd name="connsiteY53" fmla="*/ 1660849 h 5169159"/>
              <a:gd name="connsiteX54" fmla="*/ 13585371 w 20266090"/>
              <a:gd name="connsiteY54" fmla="*/ 1791477 h 5169159"/>
              <a:gd name="connsiteX55" fmla="*/ 11532636 w 20266090"/>
              <a:gd name="connsiteY55" fmla="*/ 1399592 h 5169159"/>
              <a:gd name="connsiteX56" fmla="*/ 9367934 w 20266090"/>
              <a:gd name="connsiteY56" fmla="*/ 18661 h 5169159"/>
              <a:gd name="connsiteX57" fmla="*/ 13604032 w 20266090"/>
              <a:gd name="connsiteY57" fmla="*/ 1810139 h 516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0266090" h="5169159">
                <a:moveTo>
                  <a:pt x="0" y="1101012"/>
                </a:moveTo>
                <a:lnTo>
                  <a:pt x="1511559" y="1642188"/>
                </a:lnTo>
                <a:lnTo>
                  <a:pt x="3732245" y="522514"/>
                </a:lnTo>
                <a:lnTo>
                  <a:pt x="5952930" y="1604865"/>
                </a:lnTo>
                <a:lnTo>
                  <a:pt x="6643396" y="2220686"/>
                </a:lnTo>
                <a:lnTo>
                  <a:pt x="6400800" y="3452326"/>
                </a:lnTo>
                <a:lnTo>
                  <a:pt x="5001208" y="3433665"/>
                </a:lnTo>
                <a:lnTo>
                  <a:pt x="3564294" y="3228392"/>
                </a:lnTo>
                <a:lnTo>
                  <a:pt x="1007706" y="3732245"/>
                </a:lnTo>
                <a:lnTo>
                  <a:pt x="391885" y="2444620"/>
                </a:lnTo>
                <a:lnTo>
                  <a:pt x="1884783" y="2593910"/>
                </a:lnTo>
                <a:lnTo>
                  <a:pt x="2500604" y="1922106"/>
                </a:lnTo>
                <a:lnTo>
                  <a:pt x="3993502" y="2425959"/>
                </a:lnTo>
                <a:lnTo>
                  <a:pt x="6662057" y="2239347"/>
                </a:lnTo>
                <a:lnTo>
                  <a:pt x="7613779" y="1530220"/>
                </a:lnTo>
                <a:lnTo>
                  <a:pt x="6662057" y="1455575"/>
                </a:lnTo>
                <a:lnTo>
                  <a:pt x="9386596" y="18661"/>
                </a:lnTo>
                <a:lnTo>
                  <a:pt x="8714792" y="1287624"/>
                </a:lnTo>
                <a:lnTo>
                  <a:pt x="7651102" y="3135086"/>
                </a:lnTo>
                <a:lnTo>
                  <a:pt x="6680718" y="2239347"/>
                </a:lnTo>
                <a:lnTo>
                  <a:pt x="7109926" y="3769567"/>
                </a:lnTo>
                <a:lnTo>
                  <a:pt x="6680718" y="5169159"/>
                </a:lnTo>
                <a:lnTo>
                  <a:pt x="6400800" y="3452326"/>
                </a:lnTo>
                <a:lnTo>
                  <a:pt x="7091265" y="3769567"/>
                </a:lnTo>
                <a:lnTo>
                  <a:pt x="9797143" y="2873828"/>
                </a:lnTo>
                <a:lnTo>
                  <a:pt x="9274628" y="3732245"/>
                </a:lnTo>
                <a:lnTo>
                  <a:pt x="12465698" y="4217437"/>
                </a:lnTo>
                <a:lnTo>
                  <a:pt x="11122090" y="3041779"/>
                </a:lnTo>
                <a:lnTo>
                  <a:pt x="9815804" y="2911151"/>
                </a:lnTo>
                <a:lnTo>
                  <a:pt x="12092473" y="2444620"/>
                </a:lnTo>
                <a:lnTo>
                  <a:pt x="13566710" y="1810139"/>
                </a:lnTo>
                <a:lnTo>
                  <a:pt x="16272588" y="895739"/>
                </a:lnTo>
                <a:lnTo>
                  <a:pt x="18773192" y="2276669"/>
                </a:lnTo>
                <a:lnTo>
                  <a:pt x="19127755" y="2967135"/>
                </a:lnTo>
                <a:lnTo>
                  <a:pt x="19426334" y="4478694"/>
                </a:lnTo>
                <a:lnTo>
                  <a:pt x="18325322" y="3228392"/>
                </a:lnTo>
                <a:lnTo>
                  <a:pt x="19146416" y="3004457"/>
                </a:lnTo>
                <a:lnTo>
                  <a:pt x="20266090" y="2369975"/>
                </a:lnTo>
                <a:lnTo>
                  <a:pt x="18717208" y="2220686"/>
                </a:lnTo>
                <a:lnTo>
                  <a:pt x="18306661" y="3172408"/>
                </a:lnTo>
                <a:lnTo>
                  <a:pt x="17354939" y="2425959"/>
                </a:lnTo>
                <a:lnTo>
                  <a:pt x="16272588" y="858416"/>
                </a:lnTo>
                <a:lnTo>
                  <a:pt x="15787396" y="2276669"/>
                </a:lnTo>
                <a:lnTo>
                  <a:pt x="14518432" y="2220686"/>
                </a:lnTo>
                <a:lnTo>
                  <a:pt x="13604032" y="1772816"/>
                </a:lnTo>
                <a:lnTo>
                  <a:pt x="13417420" y="2687216"/>
                </a:lnTo>
                <a:lnTo>
                  <a:pt x="12185779" y="2407298"/>
                </a:lnTo>
                <a:lnTo>
                  <a:pt x="10767526" y="1660849"/>
                </a:lnTo>
                <a:lnTo>
                  <a:pt x="9778481" y="2873828"/>
                </a:lnTo>
                <a:lnTo>
                  <a:pt x="8733453" y="2481943"/>
                </a:lnTo>
                <a:lnTo>
                  <a:pt x="8733453" y="1250302"/>
                </a:lnTo>
                <a:lnTo>
                  <a:pt x="9815804" y="2873828"/>
                </a:lnTo>
                <a:lnTo>
                  <a:pt x="9367934" y="0"/>
                </a:lnTo>
                <a:lnTo>
                  <a:pt x="10804849" y="1660849"/>
                </a:lnTo>
                <a:lnTo>
                  <a:pt x="13585371" y="1791477"/>
                </a:lnTo>
                <a:lnTo>
                  <a:pt x="11532636" y="1399592"/>
                </a:lnTo>
                <a:lnTo>
                  <a:pt x="9367934" y="18661"/>
                </a:lnTo>
                <a:lnTo>
                  <a:pt x="13604032" y="1810139"/>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94" name="Freeform 183">
            <a:extLst>
              <a:ext uri="{FF2B5EF4-FFF2-40B4-BE49-F238E27FC236}">
                <a16:creationId xmlns:a16="http://schemas.microsoft.com/office/drawing/2014/main" id="{37AAD9C5-4D9E-87BF-8C27-37D77C80490E}"/>
              </a:ext>
              <a:ext uri="{C183D7F6-B498-43B3-948B-1728B52AA6E4}">
                <adec:decorative xmlns:adec="http://schemas.microsoft.com/office/drawing/2017/decorative" val="1"/>
              </a:ext>
            </a:extLst>
          </p:cNvPr>
          <p:cNvSpPr/>
          <p:nvPr/>
        </p:nvSpPr>
        <p:spPr bwMode="auto">
          <a:xfrm>
            <a:off x="7546282" y="2380879"/>
            <a:ext cx="3031988" cy="2359034"/>
          </a:xfrm>
          <a:custGeom>
            <a:avLst/>
            <a:gdLst>
              <a:gd name="connsiteX0" fmla="*/ 6027576 w 6027576"/>
              <a:gd name="connsiteY0" fmla="*/ 3526971 h 3750906"/>
              <a:gd name="connsiteX1" fmla="*/ 3862874 w 6027576"/>
              <a:gd name="connsiteY1" fmla="*/ 2463281 h 3750906"/>
              <a:gd name="connsiteX2" fmla="*/ 2556588 w 6027576"/>
              <a:gd name="connsiteY2" fmla="*/ 2519265 h 3750906"/>
              <a:gd name="connsiteX3" fmla="*/ 2369976 w 6027576"/>
              <a:gd name="connsiteY3" fmla="*/ 1380930 h 3750906"/>
              <a:gd name="connsiteX4" fmla="*/ 3918857 w 6027576"/>
              <a:gd name="connsiteY4" fmla="*/ 2444620 h 3750906"/>
              <a:gd name="connsiteX5" fmla="*/ 4870580 w 6027576"/>
              <a:gd name="connsiteY5" fmla="*/ 2388636 h 3750906"/>
              <a:gd name="connsiteX6" fmla="*/ 2369976 w 6027576"/>
              <a:gd name="connsiteY6" fmla="*/ 1380930 h 3750906"/>
              <a:gd name="connsiteX7" fmla="*/ 1250302 w 6027576"/>
              <a:gd name="connsiteY7" fmla="*/ 2799183 h 3750906"/>
              <a:gd name="connsiteX8" fmla="*/ 2071396 w 6027576"/>
              <a:gd name="connsiteY8" fmla="*/ 3750906 h 3750906"/>
              <a:gd name="connsiteX9" fmla="*/ 0 w 6027576"/>
              <a:gd name="connsiteY9" fmla="*/ 2575249 h 3750906"/>
              <a:gd name="connsiteX10" fmla="*/ 1250302 w 6027576"/>
              <a:gd name="connsiteY10" fmla="*/ 2836506 h 3750906"/>
              <a:gd name="connsiteX11" fmla="*/ 74645 w 6027576"/>
              <a:gd name="connsiteY11" fmla="*/ 1791477 h 3750906"/>
              <a:gd name="connsiteX12" fmla="*/ 1101012 w 6027576"/>
              <a:gd name="connsiteY12" fmla="*/ 1343608 h 3750906"/>
              <a:gd name="connsiteX13" fmla="*/ 2892490 w 6027576"/>
              <a:gd name="connsiteY13" fmla="*/ 0 h 375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27576" h="3750906">
                <a:moveTo>
                  <a:pt x="6027576" y="3526971"/>
                </a:moveTo>
                <a:lnTo>
                  <a:pt x="3862874" y="2463281"/>
                </a:lnTo>
                <a:lnTo>
                  <a:pt x="2556588" y="2519265"/>
                </a:lnTo>
                <a:lnTo>
                  <a:pt x="2369976" y="1380930"/>
                </a:lnTo>
                <a:lnTo>
                  <a:pt x="3918857" y="2444620"/>
                </a:lnTo>
                <a:lnTo>
                  <a:pt x="4870580" y="2388636"/>
                </a:lnTo>
                <a:lnTo>
                  <a:pt x="2369976" y="1380930"/>
                </a:lnTo>
                <a:lnTo>
                  <a:pt x="1250302" y="2799183"/>
                </a:lnTo>
                <a:lnTo>
                  <a:pt x="2071396" y="3750906"/>
                </a:lnTo>
                <a:lnTo>
                  <a:pt x="0" y="2575249"/>
                </a:lnTo>
                <a:lnTo>
                  <a:pt x="1250302" y="2836506"/>
                </a:lnTo>
                <a:lnTo>
                  <a:pt x="74645" y="1791477"/>
                </a:lnTo>
                <a:lnTo>
                  <a:pt x="1101012" y="1343608"/>
                </a:lnTo>
                <a:lnTo>
                  <a:pt x="2892490" y="0"/>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237" name="Freeform 122">
            <a:extLst>
              <a:ext uri="{FF2B5EF4-FFF2-40B4-BE49-F238E27FC236}">
                <a16:creationId xmlns:a16="http://schemas.microsoft.com/office/drawing/2014/main" id="{E0F0DA8F-54C3-26C4-15B9-BFD3FCA92F78}"/>
              </a:ext>
              <a:ext uri="{C183D7F6-B498-43B3-948B-1728B52AA6E4}">
                <adec:decorative xmlns:adec="http://schemas.microsoft.com/office/drawing/2017/decorative" val="1"/>
              </a:ext>
            </a:extLst>
          </p:cNvPr>
          <p:cNvSpPr/>
          <p:nvPr/>
        </p:nvSpPr>
        <p:spPr>
          <a:xfrm>
            <a:off x="7955528" y="310186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a:ea typeface="+mn-lt"/>
              <a:cs typeface="Segoe UI"/>
              <a:sym typeface="+mn-lt"/>
            </a:endParaRPr>
          </a:p>
        </p:txBody>
      </p:sp>
      <p:sp>
        <p:nvSpPr>
          <p:cNvPr id="238" name="Freeform 123">
            <a:extLst>
              <a:ext uri="{FF2B5EF4-FFF2-40B4-BE49-F238E27FC236}">
                <a16:creationId xmlns:a16="http://schemas.microsoft.com/office/drawing/2014/main" id="{32439259-9820-C340-896B-7285D5121698}"/>
              </a:ext>
              <a:ext uri="{C183D7F6-B498-43B3-948B-1728B52AA6E4}">
                <adec:decorative xmlns:adec="http://schemas.microsoft.com/office/drawing/2017/decorative" val="1"/>
              </a:ext>
            </a:extLst>
          </p:cNvPr>
          <p:cNvSpPr/>
          <p:nvPr/>
        </p:nvSpPr>
        <p:spPr>
          <a:xfrm>
            <a:off x="6055006" y="2769220"/>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7000">
                <a:srgbClr val="7A46B2"/>
              </a:gs>
              <a:gs pos="91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39" name="Freeform 124">
            <a:extLst>
              <a:ext uri="{FF2B5EF4-FFF2-40B4-BE49-F238E27FC236}">
                <a16:creationId xmlns:a16="http://schemas.microsoft.com/office/drawing/2014/main" id="{358508BB-381E-B509-FF78-3B70B2759E34}"/>
              </a:ext>
              <a:ext uri="{C183D7F6-B498-43B3-948B-1728B52AA6E4}">
                <adec:decorative xmlns:adec="http://schemas.microsoft.com/office/drawing/2017/decorative" val="1"/>
              </a:ext>
            </a:extLst>
          </p:cNvPr>
          <p:cNvSpPr/>
          <p:nvPr/>
        </p:nvSpPr>
        <p:spPr>
          <a:xfrm>
            <a:off x="2475527" y="3657136"/>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0" name="Freeform 125">
            <a:extLst>
              <a:ext uri="{FF2B5EF4-FFF2-40B4-BE49-F238E27FC236}">
                <a16:creationId xmlns:a16="http://schemas.microsoft.com/office/drawing/2014/main" id="{CC80DC72-1E6E-FC72-B7FF-11523035AEFA}"/>
              </a:ext>
              <a:ext uri="{C183D7F6-B498-43B3-948B-1728B52AA6E4}">
                <adec:decorative xmlns:adec="http://schemas.microsoft.com/office/drawing/2017/decorative" val="1"/>
              </a:ext>
            </a:extLst>
          </p:cNvPr>
          <p:cNvSpPr/>
          <p:nvPr/>
        </p:nvSpPr>
        <p:spPr>
          <a:xfrm>
            <a:off x="1623143" y="3298238"/>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1" name="Freeform 126">
            <a:extLst>
              <a:ext uri="{FF2B5EF4-FFF2-40B4-BE49-F238E27FC236}">
                <a16:creationId xmlns:a16="http://schemas.microsoft.com/office/drawing/2014/main" id="{E4F28D96-96A5-0E29-3A46-500B2DC8C70C}"/>
              </a:ext>
              <a:ext uri="{C183D7F6-B498-43B3-948B-1728B52AA6E4}">
                <adec:decorative xmlns:adec="http://schemas.microsoft.com/office/drawing/2017/decorative" val="1"/>
              </a:ext>
            </a:extLst>
          </p:cNvPr>
          <p:cNvSpPr/>
          <p:nvPr/>
        </p:nvSpPr>
        <p:spPr>
          <a:xfrm>
            <a:off x="4094400" y="2597386"/>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2" name="Freeform 127">
            <a:extLst>
              <a:ext uri="{FF2B5EF4-FFF2-40B4-BE49-F238E27FC236}">
                <a16:creationId xmlns:a16="http://schemas.microsoft.com/office/drawing/2014/main" id="{9E20887F-C3C3-36BF-060E-E85D5EF6EB56}"/>
              </a:ext>
              <a:ext uri="{C183D7F6-B498-43B3-948B-1728B52AA6E4}">
                <adec:decorative xmlns:adec="http://schemas.microsoft.com/office/drawing/2017/decorative" val="1"/>
              </a:ext>
            </a:extLst>
          </p:cNvPr>
          <p:cNvSpPr/>
          <p:nvPr/>
        </p:nvSpPr>
        <p:spPr>
          <a:xfrm>
            <a:off x="4269673" y="4059567"/>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4" name="Freeform 129">
            <a:extLst>
              <a:ext uri="{FF2B5EF4-FFF2-40B4-BE49-F238E27FC236}">
                <a16:creationId xmlns:a16="http://schemas.microsoft.com/office/drawing/2014/main" id="{B7C275A2-C5E1-590A-308C-278841F45360}"/>
              </a:ext>
              <a:ext uri="{C183D7F6-B498-43B3-948B-1728B52AA6E4}">
                <adec:decorative xmlns:adec="http://schemas.microsoft.com/office/drawing/2017/decorative" val="1"/>
              </a:ext>
            </a:extLst>
          </p:cNvPr>
          <p:cNvSpPr/>
          <p:nvPr/>
        </p:nvSpPr>
        <p:spPr>
          <a:xfrm>
            <a:off x="6268992" y="3619079"/>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5" name="Freeform 130">
            <a:extLst>
              <a:ext uri="{FF2B5EF4-FFF2-40B4-BE49-F238E27FC236}">
                <a16:creationId xmlns:a16="http://schemas.microsoft.com/office/drawing/2014/main" id="{DE777144-2FD3-3805-7779-3EF0F8DCC602}"/>
              </a:ext>
              <a:ext uri="{C183D7F6-B498-43B3-948B-1728B52AA6E4}">
                <adec:decorative xmlns:adec="http://schemas.microsoft.com/office/drawing/2017/decorative" val="1"/>
              </a:ext>
            </a:extLst>
          </p:cNvPr>
          <p:cNvSpPr/>
          <p:nvPr/>
        </p:nvSpPr>
        <p:spPr>
          <a:xfrm>
            <a:off x="3461701" y="3135252"/>
            <a:ext cx="288287" cy="2882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6" name="Freeform 131">
            <a:extLst>
              <a:ext uri="{FF2B5EF4-FFF2-40B4-BE49-F238E27FC236}">
                <a16:creationId xmlns:a16="http://schemas.microsoft.com/office/drawing/2014/main" id="{66B1EA32-EB52-1201-9AD4-0550481C788D}"/>
              </a:ext>
              <a:ext uri="{C183D7F6-B498-43B3-948B-1728B52AA6E4}">
                <adec:decorative xmlns:adec="http://schemas.microsoft.com/office/drawing/2017/decorative" val="1"/>
              </a:ext>
            </a:extLst>
          </p:cNvPr>
          <p:cNvSpPr/>
          <p:nvPr/>
        </p:nvSpPr>
        <p:spPr>
          <a:xfrm>
            <a:off x="2653935" y="2552445"/>
            <a:ext cx="143410" cy="1433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7" name="Freeform 132">
            <a:extLst>
              <a:ext uri="{FF2B5EF4-FFF2-40B4-BE49-F238E27FC236}">
                <a16:creationId xmlns:a16="http://schemas.microsoft.com/office/drawing/2014/main" id="{9C04EF06-0202-7076-E225-08540328BA8C}"/>
              </a:ext>
              <a:ext uri="{C183D7F6-B498-43B3-948B-1728B52AA6E4}">
                <adec:decorative xmlns:adec="http://schemas.microsoft.com/office/drawing/2017/decorative" val="1"/>
              </a:ext>
            </a:extLst>
          </p:cNvPr>
          <p:cNvSpPr/>
          <p:nvPr/>
        </p:nvSpPr>
        <p:spPr>
          <a:xfrm>
            <a:off x="2714272" y="3227520"/>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8" name="Freeform 133">
            <a:extLst>
              <a:ext uri="{FF2B5EF4-FFF2-40B4-BE49-F238E27FC236}">
                <a16:creationId xmlns:a16="http://schemas.microsoft.com/office/drawing/2014/main" id="{F7AAF82B-93AD-5460-EC16-8EA7A4EFA506}"/>
              </a:ext>
              <a:ext uri="{C183D7F6-B498-43B3-948B-1728B52AA6E4}">
                <adec:decorative xmlns:adec="http://schemas.microsoft.com/office/drawing/2017/decorative" val="1"/>
              </a:ext>
            </a:extLst>
          </p:cNvPr>
          <p:cNvSpPr/>
          <p:nvPr/>
        </p:nvSpPr>
        <p:spPr>
          <a:xfrm>
            <a:off x="905306" y="326872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9" name="Freeform 134">
            <a:extLst>
              <a:ext uri="{FF2B5EF4-FFF2-40B4-BE49-F238E27FC236}">
                <a16:creationId xmlns:a16="http://schemas.microsoft.com/office/drawing/2014/main" id="{A4C731D1-6863-03A5-0E89-375123838BFA}"/>
              </a:ext>
              <a:ext uri="{C183D7F6-B498-43B3-948B-1728B52AA6E4}">
                <adec:decorative xmlns:adec="http://schemas.microsoft.com/office/drawing/2017/decorative" val="1"/>
              </a:ext>
            </a:extLst>
          </p:cNvPr>
          <p:cNvSpPr/>
          <p:nvPr/>
        </p:nvSpPr>
        <p:spPr>
          <a:xfrm>
            <a:off x="3722628" y="2735383"/>
            <a:ext cx="180961" cy="18091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0" name="Freeform 135">
            <a:extLst>
              <a:ext uri="{FF2B5EF4-FFF2-40B4-BE49-F238E27FC236}">
                <a16:creationId xmlns:a16="http://schemas.microsoft.com/office/drawing/2014/main" id="{74F57351-96B5-79E1-EBDE-4A9EAD09FA90}"/>
              </a:ext>
              <a:ext uri="{C183D7F6-B498-43B3-948B-1728B52AA6E4}">
                <adec:decorative xmlns:adec="http://schemas.microsoft.com/office/drawing/2017/decorative" val="1"/>
              </a:ext>
            </a:extLst>
          </p:cNvPr>
          <p:cNvSpPr/>
          <p:nvPr/>
        </p:nvSpPr>
        <p:spPr>
          <a:xfrm>
            <a:off x="6475640" y="2608750"/>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7000">
                <a:srgbClr val="7A46B2"/>
              </a:gs>
              <a:gs pos="91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1" name="Freeform 136">
            <a:extLst>
              <a:ext uri="{FF2B5EF4-FFF2-40B4-BE49-F238E27FC236}">
                <a16:creationId xmlns:a16="http://schemas.microsoft.com/office/drawing/2014/main" id="{CF5BAD5D-F219-96E0-821F-E9D6C0406027}"/>
              </a:ext>
              <a:ext uri="{C183D7F6-B498-43B3-948B-1728B52AA6E4}">
                <adec:decorative xmlns:adec="http://schemas.microsoft.com/office/drawing/2017/decorative" val="1"/>
              </a:ext>
            </a:extLst>
          </p:cNvPr>
          <p:cNvSpPr/>
          <p:nvPr/>
        </p:nvSpPr>
        <p:spPr>
          <a:xfrm>
            <a:off x="4078048" y="3141518"/>
            <a:ext cx="181970" cy="18191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2" name="Freeform 137">
            <a:extLst>
              <a:ext uri="{FF2B5EF4-FFF2-40B4-BE49-F238E27FC236}">
                <a16:creationId xmlns:a16="http://schemas.microsoft.com/office/drawing/2014/main" id="{2C3D342F-50E1-2541-DF33-B0C004473A8F}"/>
              </a:ext>
              <a:ext uri="{C183D7F6-B498-43B3-948B-1728B52AA6E4}">
                <adec:decorative xmlns:adec="http://schemas.microsoft.com/office/drawing/2017/decorative" val="1"/>
              </a:ext>
            </a:extLst>
          </p:cNvPr>
          <p:cNvSpPr/>
          <p:nvPr/>
        </p:nvSpPr>
        <p:spPr>
          <a:xfrm>
            <a:off x="8641112" y="3779222"/>
            <a:ext cx="372271" cy="37216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4" name="Freeform 139">
            <a:extLst>
              <a:ext uri="{FF2B5EF4-FFF2-40B4-BE49-F238E27FC236}">
                <a16:creationId xmlns:a16="http://schemas.microsoft.com/office/drawing/2014/main" id="{46167AC2-8F4D-49B7-0914-17EE0FB96150}"/>
              </a:ext>
              <a:ext uri="{C183D7F6-B498-43B3-948B-1728B52AA6E4}">
                <adec:decorative xmlns:adec="http://schemas.microsoft.com/office/drawing/2017/decorative" val="1"/>
              </a:ext>
            </a:extLst>
          </p:cNvPr>
          <p:cNvSpPr/>
          <p:nvPr/>
        </p:nvSpPr>
        <p:spPr>
          <a:xfrm>
            <a:off x="6829081" y="3201011"/>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5" name="Freeform 140">
            <a:extLst>
              <a:ext uri="{FF2B5EF4-FFF2-40B4-BE49-F238E27FC236}">
                <a16:creationId xmlns:a16="http://schemas.microsoft.com/office/drawing/2014/main" id="{7E4B3529-530C-32BB-A13D-5F7ED8E1CBC9}"/>
              </a:ext>
              <a:ext uri="{C183D7F6-B498-43B3-948B-1728B52AA6E4}">
                <adec:decorative xmlns:adec="http://schemas.microsoft.com/office/drawing/2017/decorative" val="1"/>
              </a:ext>
            </a:extLst>
          </p:cNvPr>
          <p:cNvSpPr/>
          <p:nvPr/>
        </p:nvSpPr>
        <p:spPr>
          <a:xfrm>
            <a:off x="7459231" y="3937024"/>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6" name="Freeform 141">
            <a:extLst>
              <a:ext uri="{FF2B5EF4-FFF2-40B4-BE49-F238E27FC236}">
                <a16:creationId xmlns:a16="http://schemas.microsoft.com/office/drawing/2014/main" id="{2E473AB8-3B7F-A77F-33B1-0BCDA4717B0E}"/>
              </a:ext>
              <a:ext uri="{C183D7F6-B498-43B3-948B-1728B52AA6E4}">
                <adec:decorative xmlns:adec="http://schemas.microsoft.com/office/drawing/2017/decorative" val="1"/>
              </a:ext>
            </a:extLst>
          </p:cNvPr>
          <p:cNvSpPr/>
          <p:nvPr/>
        </p:nvSpPr>
        <p:spPr>
          <a:xfrm>
            <a:off x="9880877" y="3668144"/>
            <a:ext cx="298434" cy="29835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E14C7B"/>
              </a:gs>
              <a:gs pos="20000">
                <a:srgbClr val="B5429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7" name="Freeform 142">
            <a:extLst>
              <a:ext uri="{FF2B5EF4-FFF2-40B4-BE49-F238E27FC236}">
                <a16:creationId xmlns:a16="http://schemas.microsoft.com/office/drawing/2014/main" id="{48AEBAAD-DC0D-D2F1-2750-8ED2255211B6}"/>
              </a:ext>
              <a:ext uri="{C183D7F6-B498-43B3-948B-1728B52AA6E4}">
                <adec:decorative xmlns:adec="http://schemas.microsoft.com/office/drawing/2017/decorative" val="1"/>
              </a:ext>
            </a:extLst>
          </p:cNvPr>
          <p:cNvSpPr/>
          <p:nvPr/>
        </p:nvSpPr>
        <p:spPr>
          <a:xfrm>
            <a:off x="3107756" y="2877703"/>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8" name="Freeform 143">
            <a:extLst>
              <a:ext uri="{FF2B5EF4-FFF2-40B4-BE49-F238E27FC236}">
                <a16:creationId xmlns:a16="http://schemas.microsoft.com/office/drawing/2014/main" id="{3E7C0DAD-ED5F-7C28-DE8F-50E4DED35391}"/>
              </a:ext>
              <a:ext uri="{C183D7F6-B498-43B3-948B-1728B52AA6E4}">
                <adec:decorative xmlns:adec="http://schemas.microsoft.com/office/drawing/2017/decorative" val="1"/>
              </a:ext>
            </a:extLst>
          </p:cNvPr>
          <p:cNvSpPr/>
          <p:nvPr/>
        </p:nvSpPr>
        <p:spPr>
          <a:xfrm>
            <a:off x="5310103" y="1765570"/>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9" name="Freeform 144">
            <a:extLst>
              <a:ext uri="{FF2B5EF4-FFF2-40B4-BE49-F238E27FC236}">
                <a16:creationId xmlns:a16="http://schemas.microsoft.com/office/drawing/2014/main" id="{39E1EB4F-EDA2-03FA-9DD7-CC075AF07A9E}"/>
              </a:ext>
              <a:ext uri="{C183D7F6-B498-43B3-948B-1728B52AA6E4}">
                <adec:decorative xmlns:adec="http://schemas.microsoft.com/office/drawing/2017/decorative" val="1"/>
              </a:ext>
            </a:extLst>
          </p:cNvPr>
          <p:cNvSpPr/>
          <p:nvPr/>
        </p:nvSpPr>
        <p:spPr>
          <a:xfrm>
            <a:off x="1417675" y="2689997"/>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0" name="Freeform 145">
            <a:extLst>
              <a:ext uri="{FF2B5EF4-FFF2-40B4-BE49-F238E27FC236}">
                <a16:creationId xmlns:a16="http://schemas.microsoft.com/office/drawing/2014/main" id="{FDFBB408-6997-C1F3-0BE6-59799FD27B74}"/>
              </a:ext>
              <a:ext uri="{C183D7F6-B498-43B3-948B-1728B52AA6E4}">
                <adec:decorative xmlns:adec="http://schemas.microsoft.com/office/drawing/2017/decorative" val="1"/>
              </a:ext>
            </a:extLst>
          </p:cNvPr>
          <p:cNvSpPr/>
          <p:nvPr/>
        </p:nvSpPr>
        <p:spPr>
          <a:xfrm>
            <a:off x="1015943" y="2844081"/>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1" name="Freeform 146">
            <a:extLst>
              <a:ext uri="{FF2B5EF4-FFF2-40B4-BE49-F238E27FC236}">
                <a16:creationId xmlns:a16="http://schemas.microsoft.com/office/drawing/2014/main" id="{A447F32C-F976-2E54-A0F1-B65F33C3BAB2}"/>
              </a:ext>
              <a:ext uri="{C183D7F6-B498-43B3-948B-1728B52AA6E4}">
                <adec:decorative xmlns:adec="http://schemas.microsoft.com/office/drawing/2017/decorative" val="1"/>
              </a:ext>
            </a:extLst>
          </p:cNvPr>
          <p:cNvSpPr/>
          <p:nvPr/>
        </p:nvSpPr>
        <p:spPr>
          <a:xfrm>
            <a:off x="2486912" y="2075375"/>
            <a:ext cx="282465" cy="28238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lumMod val="70000"/>
                  <a:lumOff val="30000"/>
                </a:srgbClr>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2" name="Freeform 147">
            <a:extLst>
              <a:ext uri="{FF2B5EF4-FFF2-40B4-BE49-F238E27FC236}">
                <a16:creationId xmlns:a16="http://schemas.microsoft.com/office/drawing/2014/main" id="{2797F2F4-AEA2-FA2A-57FD-B4F416EA8A4F}"/>
              </a:ext>
              <a:ext uri="{C183D7F6-B498-43B3-948B-1728B52AA6E4}">
                <adec:decorative xmlns:adec="http://schemas.microsoft.com/office/drawing/2017/decorative" val="1"/>
              </a:ext>
            </a:extLst>
          </p:cNvPr>
          <p:cNvSpPr/>
          <p:nvPr/>
        </p:nvSpPr>
        <p:spPr>
          <a:xfrm>
            <a:off x="9311846" y="3149193"/>
            <a:ext cx="372271" cy="37216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3" name="Freeform 148">
            <a:extLst>
              <a:ext uri="{FF2B5EF4-FFF2-40B4-BE49-F238E27FC236}">
                <a16:creationId xmlns:a16="http://schemas.microsoft.com/office/drawing/2014/main" id="{DF1851D1-5DD0-FB2E-9FC4-7ED083E37B46}"/>
              </a:ext>
              <a:ext uri="{C183D7F6-B498-43B3-948B-1728B52AA6E4}">
                <adec:decorative xmlns:adec="http://schemas.microsoft.com/office/drawing/2017/decorative" val="1"/>
              </a:ext>
            </a:extLst>
          </p:cNvPr>
          <p:cNvSpPr/>
          <p:nvPr/>
        </p:nvSpPr>
        <p:spPr>
          <a:xfrm>
            <a:off x="8602398" y="3161303"/>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4" name="Freeform 149">
            <a:extLst>
              <a:ext uri="{FF2B5EF4-FFF2-40B4-BE49-F238E27FC236}">
                <a16:creationId xmlns:a16="http://schemas.microsoft.com/office/drawing/2014/main" id="{CAB38FFB-CC1A-97A3-59C8-698169F7C553}"/>
              </a:ext>
              <a:ext uri="{C183D7F6-B498-43B3-948B-1728B52AA6E4}">
                <adec:decorative xmlns:adec="http://schemas.microsoft.com/office/drawing/2017/decorative" val="1"/>
              </a:ext>
            </a:extLst>
          </p:cNvPr>
          <p:cNvSpPr/>
          <p:nvPr/>
        </p:nvSpPr>
        <p:spPr>
          <a:xfrm>
            <a:off x="8845615" y="227744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5" name="Freeform 150">
            <a:extLst>
              <a:ext uri="{FF2B5EF4-FFF2-40B4-BE49-F238E27FC236}">
                <a16:creationId xmlns:a16="http://schemas.microsoft.com/office/drawing/2014/main" id="{63507367-15D7-DE91-37EB-1F300BC046B3}"/>
              </a:ext>
              <a:ext uri="{C183D7F6-B498-43B3-948B-1728B52AA6E4}">
                <adec:decorative xmlns:adec="http://schemas.microsoft.com/office/drawing/2017/decorative" val="1"/>
              </a:ext>
            </a:extLst>
          </p:cNvPr>
          <p:cNvSpPr/>
          <p:nvPr/>
        </p:nvSpPr>
        <p:spPr>
          <a:xfrm>
            <a:off x="7499348" y="2821096"/>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6" name="Freeform 151">
            <a:extLst>
              <a:ext uri="{FF2B5EF4-FFF2-40B4-BE49-F238E27FC236}">
                <a16:creationId xmlns:a16="http://schemas.microsoft.com/office/drawing/2014/main" id="{2FAEEB6E-0E4E-4F18-540E-5B5EEDF13391}"/>
              </a:ext>
              <a:ext uri="{C183D7F6-B498-43B3-948B-1728B52AA6E4}">
                <adec:decorative xmlns:adec="http://schemas.microsoft.com/office/drawing/2017/decorative" val="1"/>
              </a:ext>
            </a:extLst>
          </p:cNvPr>
          <p:cNvSpPr/>
          <p:nvPr/>
        </p:nvSpPr>
        <p:spPr>
          <a:xfrm>
            <a:off x="9353513" y="3822045"/>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32000">
                <a:srgbClr val="CA429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7" name="Freeform 152">
            <a:extLst>
              <a:ext uri="{FF2B5EF4-FFF2-40B4-BE49-F238E27FC236}">
                <a16:creationId xmlns:a16="http://schemas.microsoft.com/office/drawing/2014/main" id="{A9F2B103-63D7-C678-FAB7-A789211C2993}"/>
              </a:ext>
              <a:ext uri="{C183D7F6-B498-43B3-948B-1728B52AA6E4}">
                <adec:decorative xmlns:adec="http://schemas.microsoft.com/office/drawing/2017/decorative" val="1"/>
              </a:ext>
            </a:extLst>
          </p:cNvPr>
          <p:cNvSpPr/>
          <p:nvPr/>
        </p:nvSpPr>
        <p:spPr>
          <a:xfrm>
            <a:off x="5617276" y="351276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67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8" name="Freeform 153">
            <a:extLst>
              <a:ext uri="{FF2B5EF4-FFF2-40B4-BE49-F238E27FC236}">
                <a16:creationId xmlns:a16="http://schemas.microsoft.com/office/drawing/2014/main" id="{CA46F76A-414A-17AF-CCE5-E76DF8ECF383}"/>
              </a:ext>
              <a:ext uri="{C183D7F6-B498-43B3-948B-1728B52AA6E4}">
                <adec:decorative xmlns:adec="http://schemas.microsoft.com/office/drawing/2017/decorative" val="1"/>
              </a:ext>
            </a:extLst>
          </p:cNvPr>
          <p:cNvSpPr/>
          <p:nvPr/>
        </p:nvSpPr>
        <p:spPr>
          <a:xfrm>
            <a:off x="5065466" y="3262225"/>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67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9" name="Freeform 154">
            <a:extLst>
              <a:ext uri="{FF2B5EF4-FFF2-40B4-BE49-F238E27FC236}">
                <a16:creationId xmlns:a16="http://schemas.microsoft.com/office/drawing/2014/main" id="{02AF1ED8-F1D4-14EA-47AF-EFB968EC1E19}"/>
              </a:ext>
              <a:ext uri="{C183D7F6-B498-43B3-948B-1728B52AA6E4}">
                <adec:decorative xmlns:adec="http://schemas.microsoft.com/office/drawing/2017/decorative" val="1"/>
              </a:ext>
            </a:extLst>
          </p:cNvPr>
          <p:cNvSpPr/>
          <p:nvPr/>
        </p:nvSpPr>
        <p:spPr>
          <a:xfrm>
            <a:off x="3935940" y="3885741"/>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0" name="Freeform 155">
            <a:extLst>
              <a:ext uri="{FF2B5EF4-FFF2-40B4-BE49-F238E27FC236}">
                <a16:creationId xmlns:a16="http://schemas.microsoft.com/office/drawing/2014/main" id="{CDA628D7-5D07-D9B7-F1A5-2AB30612795F}"/>
              </a:ext>
              <a:ext uri="{C183D7F6-B498-43B3-948B-1728B52AA6E4}">
                <adec:decorative xmlns:adec="http://schemas.microsoft.com/office/drawing/2017/decorative" val="1"/>
              </a:ext>
            </a:extLst>
          </p:cNvPr>
          <p:cNvSpPr/>
          <p:nvPr/>
        </p:nvSpPr>
        <p:spPr>
          <a:xfrm>
            <a:off x="1205886" y="404363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rgbClr val="1B76A1">
                  <a:lumMod val="80000"/>
                  <a:lumOff val="20000"/>
                </a:srgbClr>
              </a:gs>
              <a:gs pos="35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2" name="Freeform 157">
            <a:extLst>
              <a:ext uri="{FF2B5EF4-FFF2-40B4-BE49-F238E27FC236}">
                <a16:creationId xmlns:a16="http://schemas.microsoft.com/office/drawing/2014/main" id="{74A79B7F-3279-2228-1D02-28848E1F3ACA}"/>
              </a:ext>
              <a:ext uri="{C183D7F6-B498-43B3-948B-1728B52AA6E4}">
                <adec:decorative xmlns:adec="http://schemas.microsoft.com/office/drawing/2017/decorative" val="1"/>
              </a:ext>
            </a:extLst>
          </p:cNvPr>
          <p:cNvSpPr/>
          <p:nvPr/>
        </p:nvSpPr>
        <p:spPr>
          <a:xfrm>
            <a:off x="7423815" y="3374095"/>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5" name="Freeform 160">
            <a:extLst>
              <a:ext uri="{FF2B5EF4-FFF2-40B4-BE49-F238E27FC236}">
                <a16:creationId xmlns:a16="http://schemas.microsoft.com/office/drawing/2014/main" id="{063C2A94-7CCD-1BC1-33A5-8C89B49FA2D7}"/>
              </a:ext>
              <a:ext uri="{C183D7F6-B498-43B3-948B-1728B52AA6E4}">
                <adec:decorative xmlns:adec="http://schemas.microsoft.com/office/drawing/2017/decorative" val="1"/>
              </a:ext>
            </a:extLst>
          </p:cNvPr>
          <p:cNvSpPr/>
          <p:nvPr/>
        </p:nvSpPr>
        <p:spPr>
          <a:xfrm>
            <a:off x="10127694" y="3159108"/>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500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6" name="Freeform 161">
            <a:extLst>
              <a:ext uri="{FF2B5EF4-FFF2-40B4-BE49-F238E27FC236}">
                <a16:creationId xmlns:a16="http://schemas.microsoft.com/office/drawing/2014/main" id="{0DFABE3A-DA24-7FAC-CF91-61B0833A6185}"/>
              </a:ext>
              <a:ext uri="{C183D7F6-B498-43B3-948B-1728B52AA6E4}">
                <adec:decorative xmlns:adec="http://schemas.microsoft.com/office/drawing/2017/decorative" val="1"/>
              </a:ext>
            </a:extLst>
          </p:cNvPr>
          <p:cNvSpPr/>
          <p:nvPr/>
        </p:nvSpPr>
        <p:spPr>
          <a:xfrm>
            <a:off x="8032947" y="4037776"/>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7" name="Freeform 162">
            <a:extLst>
              <a:ext uri="{FF2B5EF4-FFF2-40B4-BE49-F238E27FC236}">
                <a16:creationId xmlns:a16="http://schemas.microsoft.com/office/drawing/2014/main" id="{FF9192E2-5CAC-C015-39BD-2A3A3B9BA3CA}"/>
              </a:ext>
              <a:ext uri="{C183D7F6-B498-43B3-948B-1728B52AA6E4}">
                <adec:decorative xmlns:adec="http://schemas.microsoft.com/office/drawing/2017/decorative" val="1"/>
              </a:ext>
            </a:extLst>
          </p:cNvPr>
          <p:cNvSpPr/>
          <p:nvPr/>
        </p:nvSpPr>
        <p:spPr>
          <a:xfrm>
            <a:off x="3141150" y="3820875"/>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8" name="Freeform 163">
            <a:extLst>
              <a:ext uri="{FF2B5EF4-FFF2-40B4-BE49-F238E27FC236}">
                <a16:creationId xmlns:a16="http://schemas.microsoft.com/office/drawing/2014/main" id="{2BE1DFB3-357C-90A2-7258-4803A40B12B7}"/>
              </a:ext>
              <a:ext uri="{C183D7F6-B498-43B3-948B-1728B52AA6E4}">
                <adec:decorative xmlns:adec="http://schemas.microsoft.com/office/drawing/2017/decorative" val="1"/>
              </a:ext>
            </a:extLst>
          </p:cNvPr>
          <p:cNvSpPr/>
          <p:nvPr/>
        </p:nvSpPr>
        <p:spPr>
          <a:xfrm>
            <a:off x="10306093" y="3579197"/>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E14C7B"/>
              </a:gs>
              <a:gs pos="20000">
                <a:srgbClr val="B5429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9" name="Freeform 164">
            <a:extLst>
              <a:ext uri="{FF2B5EF4-FFF2-40B4-BE49-F238E27FC236}">
                <a16:creationId xmlns:a16="http://schemas.microsoft.com/office/drawing/2014/main" id="{A8A9F88C-0852-1B28-B5D6-51C6BEF02360}"/>
              </a:ext>
              <a:ext uri="{C183D7F6-B498-43B3-948B-1728B52AA6E4}">
                <adec:decorative xmlns:adec="http://schemas.microsoft.com/office/drawing/2017/decorative" val="1"/>
              </a:ext>
            </a:extLst>
          </p:cNvPr>
          <p:cNvSpPr/>
          <p:nvPr/>
        </p:nvSpPr>
        <p:spPr>
          <a:xfrm>
            <a:off x="4481993" y="270078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0" name="Freeform 165">
            <a:extLst>
              <a:ext uri="{FF2B5EF4-FFF2-40B4-BE49-F238E27FC236}">
                <a16:creationId xmlns:a16="http://schemas.microsoft.com/office/drawing/2014/main" id="{AC8A4C33-A0FC-5EDD-8266-97C4C0C03CAF}"/>
              </a:ext>
              <a:ext uri="{C183D7F6-B498-43B3-948B-1728B52AA6E4}">
                <adec:decorative xmlns:adec="http://schemas.microsoft.com/office/drawing/2017/decorative" val="1"/>
              </a:ext>
            </a:extLst>
          </p:cNvPr>
          <p:cNvSpPr/>
          <p:nvPr/>
        </p:nvSpPr>
        <p:spPr>
          <a:xfrm>
            <a:off x="4512249" y="3619079"/>
            <a:ext cx="308254" cy="308169"/>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1" name="Freeform 166">
            <a:extLst>
              <a:ext uri="{FF2B5EF4-FFF2-40B4-BE49-F238E27FC236}">
                <a16:creationId xmlns:a16="http://schemas.microsoft.com/office/drawing/2014/main" id="{37D0770E-F8F3-D406-4104-64B17172A4E0}"/>
              </a:ext>
              <a:ext uri="{C183D7F6-B498-43B3-948B-1728B52AA6E4}">
                <adec:decorative xmlns:adec="http://schemas.microsoft.com/office/drawing/2017/decorative" val="1"/>
              </a:ext>
            </a:extLst>
          </p:cNvPr>
          <p:cNvSpPr/>
          <p:nvPr/>
        </p:nvSpPr>
        <p:spPr>
          <a:xfrm>
            <a:off x="5077047" y="2536982"/>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2" name="Freeform 167">
            <a:extLst>
              <a:ext uri="{FF2B5EF4-FFF2-40B4-BE49-F238E27FC236}">
                <a16:creationId xmlns:a16="http://schemas.microsoft.com/office/drawing/2014/main" id="{580AC581-F8A2-F2B0-A225-DA603B6977D8}"/>
              </a:ext>
              <a:ext uri="{C183D7F6-B498-43B3-948B-1728B52AA6E4}">
                <adec:decorative xmlns:adec="http://schemas.microsoft.com/office/drawing/2017/decorative" val="1"/>
              </a:ext>
            </a:extLst>
          </p:cNvPr>
          <p:cNvSpPr/>
          <p:nvPr/>
        </p:nvSpPr>
        <p:spPr>
          <a:xfrm>
            <a:off x="5355677" y="4054504"/>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67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4" name="Freeform 169">
            <a:extLst>
              <a:ext uri="{FF2B5EF4-FFF2-40B4-BE49-F238E27FC236}">
                <a16:creationId xmlns:a16="http://schemas.microsoft.com/office/drawing/2014/main" id="{318272E1-8B25-FCD4-B061-98374AF09908}"/>
              </a:ext>
              <a:ext uri="{C183D7F6-B498-43B3-948B-1728B52AA6E4}">
                <adec:decorative xmlns:adec="http://schemas.microsoft.com/office/drawing/2017/decorative" val="1"/>
              </a:ext>
            </a:extLst>
          </p:cNvPr>
          <p:cNvSpPr/>
          <p:nvPr/>
        </p:nvSpPr>
        <p:spPr>
          <a:xfrm>
            <a:off x="1986071" y="2930368"/>
            <a:ext cx="215570" cy="215511"/>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4000">
                <a:srgbClr val="0A6BBA"/>
              </a:gs>
              <a:gs pos="100000">
                <a:srgbClr val="318581"/>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25B62"/>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73" name="TextBox 172">
            <a:extLst>
              <a:ext uri="{FF2B5EF4-FFF2-40B4-BE49-F238E27FC236}">
                <a16:creationId xmlns:a16="http://schemas.microsoft.com/office/drawing/2014/main" id="{5855D25F-AAB1-44FC-F522-543721068450}"/>
              </a:ext>
            </a:extLst>
          </p:cNvPr>
          <p:cNvSpPr txBox="1"/>
          <p:nvPr/>
        </p:nvSpPr>
        <p:spPr>
          <a:xfrm>
            <a:off x="3880824" y="1257050"/>
            <a:ext cx="4321881" cy="271613"/>
          </a:xfrm>
          <a:prstGeom prst="rect">
            <a:avLst/>
          </a:prstGeom>
          <a:noFill/>
        </p:spPr>
        <p:txBody>
          <a:bodyPr wrap="square" lIns="0" tIns="0" rIns="0" bIns="0" rtlCol="0" anchor="t">
            <a:spAutoFit/>
          </a:bodyPr>
          <a:lstStyle/>
          <a:p>
            <a:pPr marL="0" marR="0" lvl="0" indent="0" algn="ctr" defTabSz="750265" rtl="0" eaLnBrk="1" fontAlgn="auto" latinLnBrk="0" hangingPunct="1">
              <a:lnSpc>
                <a:spcPct val="100000"/>
              </a:lnSpc>
              <a:spcBef>
                <a:spcPts val="0"/>
              </a:spcBef>
              <a:spcAft>
                <a:spcPts val="0"/>
              </a:spcAft>
              <a:buClrTx/>
              <a:buSzTx/>
              <a:buFontTx/>
              <a:buNone/>
              <a:tabLst/>
              <a:defRPr/>
            </a:pPr>
            <a:r>
              <a:rPr kumimoji="0" lang="fr-fr" sz="1765" b="0" i="0" u="none" strike="noStrike" kern="1200" cap="none" spc="0" normalizeH="0" baseline="0" noProof="0">
                <a:ln>
                  <a:noFill/>
                </a:ln>
                <a:solidFill>
                  <a:srgbClr val="2A446F"/>
                </a:solidFill>
                <a:effectLst/>
                <a:uLnTx/>
                <a:uFillTx/>
                <a:latin typeface="Segoe UI Semibold"/>
                <a:ea typeface="+mn-ea"/>
                <a:cs typeface="Segoe UI Semibold" panose="020B0702040204020203" pitchFamily="34" charset="0"/>
              </a:rPr>
              <a:t>La plateforme de contrôle pour les agents</a:t>
            </a:r>
          </a:p>
        </p:txBody>
      </p:sp>
      <p:sp>
        <p:nvSpPr>
          <p:cNvPr id="243" name="Freeform 128">
            <a:extLst>
              <a:ext uri="{FF2B5EF4-FFF2-40B4-BE49-F238E27FC236}">
                <a16:creationId xmlns:a16="http://schemas.microsoft.com/office/drawing/2014/main" id="{FBA7520E-31B5-596D-389B-8E3516E96637}"/>
              </a:ext>
              <a:ext uri="{C183D7F6-B498-43B3-948B-1728B52AA6E4}">
                <adec:decorative xmlns:adec="http://schemas.microsoft.com/office/drawing/2017/decorative" val="1"/>
              </a:ext>
            </a:extLst>
          </p:cNvPr>
          <p:cNvSpPr/>
          <p:nvPr/>
        </p:nvSpPr>
        <p:spPr>
          <a:xfrm>
            <a:off x="10486879" y="4652348"/>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E14C7B"/>
              </a:gs>
              <a:gs pos="17000">
                <a:srgbClr val="B54292">
                  <a:lumMod val="83000"/>
                </a:srgbClr>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F4364C"/>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3" name="Freeform 138">
            <a:extLst>
              <a:ext uri="{FF2B5EF4-FFF2-40B4-BE49-F238E27FC236}">
                <a16:creationId xmlns:a16="http://schemas.microsoft.com/office/drawing/2014/main" id="{B264D9B1-596D-3525-63BF-D170162EB416}"/>
              </a:ext>
              <a:ext uri="{C183D7F6-B498-43B3-948B-1728B52AA6E4}">
                <adec:decorative xmlns:adec="http://schemas.microsoft.com/office/drawing/2017/decorative" val="1"/>
              </a:ext>
            </a:extLst>
          </p:cNvPr>
          <p:cNvSpPr/>
          <p:nvPr/>
        </p:nvSpPr>
        <p:spPr>
          <a:xfrm>
            <a:off x="8463962" y="4625283"/>
            <a:ext cx="201559" cy="2015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64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1" name="Freeform 156">
            <a:extLst>
              <a:ext uri="{FF2B5EF4-FFF2-40B4-BE49-F238E27FC236}">
                <a16:creationId xmlns:a16="http://schemas.microsoft.com/office/drawing/2014/main" id="{3125F204-1002-8612-FA2B-88296AF150B2}"/>
              </a:ext>
              <a:ext uri="{C183D7F6-B498-43B3-948B-1728B52AA6E4}">
                <adec:decorative xmlns:adec="http://schemas.microsoft.com/office/drawing/2017/decorative" val="1"/>
              </a:ext>
            </a:extLst>
          </p:cNvPr>
          <p:cNvSpPr/>
          <p:nvPr/>
        </p:nvSpPr>
        <p:spPr>
          <a:xfrm>
            <a:off x="6071522" y="4307976"/>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gs>
              <a:gs pos="12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4" name="Freeform 159">
            <a:extLst>
              <a:ext uri="{FF2B5EF4-FFF2-40B4-BE49-F238E27FC236}">
                <a16:creationId xmlns:a16="http://schemas.microsoft.com/office/drawing/2014/main" id="{2DEE3930-E7E6-534A-6285-1F05BF4AC202}"/>
              </a:ext>
              <a:ext uri="{C183D7F6-B498-43B3-948B-1728B52AA6E4}">
                <adec:decorative xmlns:adec="http://schemas.microsoft.com/office/drawing/2017/decorative" val="1"/>
              </a:ext>
            </a:extLst>
          </p:cNvPr>
          <p:cNvSpPr/>
          <p:nvPr/>
        </p:nvSpPr>
        <p:spPr>
          <a:xfrm>
            <a:off x="6916737" y="4332559"/>
            <a:ext cx="251382" cy="25131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0">
                <a:srgbClr val="F65567"/>
              </a:gs>
              <a:gs pos="27000">
                <a:srgbClr val="AC35AF"/>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73262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3" name="Freeform 168">
            <a:extLst>
              <a:ext uri="{FF2B5EF4-FFF2-40B4-BE49-F238E27FC236}">
                <a16:creationId xmlns:a16="http://schemas.microsoft.com/office/drawing/2014/main" id="{3E94C6B3-2474-4A89-28A2-770EF679CF40}"/>
              </a:ext>
              <a:ext uri="{C183D7F6-B498-43B3-948B-1728B52AA6E4}">
                <adec:decorative xmlns:adec="http://schemas.microsoft.com/office/drawing/2017/decorative" val="1"/>
              </a:ext>
            </a:extLst>
          </p:cNvPr>
          <p:cNvSpPr/>
          <p:nvPr/>
        </p:nvSpPr>
        <p:spPr>
          <a:xfrm>
            <a:off x="5903564" y="4732120"/>
            <a:ext cx="344060" cy="34396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00000">
                <a:srgbClr val="5652B5">
                  <a:alpha val="65000"/>
                </a:srgbClr>
              </a:gs>
              <a:gs pos="12000">
                <a:srgbClr val="AC35AF">
                  <a:alpha val="58000"/>
                </a:srgbClr>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308" name="Rectangle: Rounded Corners 307">
            <a:extLst>
              <a:ext uri="{FF2B5EF4-FFF2-40B4-BE49-F238E27FC236}">
                <a16:creationId xmlns:a16="http://schemas.microsoft.com/office/drawing/2014/main" id="{9D97016F-761E-64AA-6A6B-D6938AE700EB}"/>
              </a:ext>
              <a:ext uri="{C183D7F6-B498-43B3-948B-1728B52AA6E4}">
                <adec:decorative xmlns:adec="http://schemas.microsoft.com/office/drawing/2017/decorative" val="1"/>
              </a:ext>
            </a:extLst>
          </p:cNvPr>
          <p:cNvSpPr>
            <a:spLocks/>
          </p:cNvSpPr>
          <p:nvPr/>
        </p:nvSpPr>
        <p:spPr bwMode="auto">
          <a:xfrm>
            <a:off x="723897" y="4151388"/>
            <a:ext cx="2024482" cy="2036051"/>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09" name="Rectangle: Rounded Corners 308">
            <a:extLst>
              <a:ext uri="{FF2B5EF4-FFF2-40B4-BE49-F238E27FC236}">
                <a16:creationId xmlns:a16="http://schemas.microsoft.com/office/drawing/2014/main" id="{1728308E-57E1-E6E4-7AD5-351C4510C752}"/>
              </a:ext>
              <a:ext uri="{C183D7F6-B498-43B3-948B-1728B52AA6E4}">
                <adec:decorative xmlns:adec="http://schemas.microsoft.com/office/drawing/2017/decorative" val="1"/>
              </a:ext>
            </a:extLst>
          </p:cNvPr>
          <p:cNvSpPr>
            <a:spLocks/>
          </p:cNvSpPr>
          <p:nvPr/>
        </p:nvSpPr>
        <p:spPr bwMode="auto">
          <a:xfrm>
            <a:off x="2903827" y="4126244"/>
            <a:ext cx="2024482" cy="2061195"/>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10" name="Rectangle: Rounded Corners 309">
            <a:extLst>
              <a:ext uri="{FF2B5EF4-FFF2-40B4-BE49-F238E27FC236}">
                <a16:creationId xmlns:a16="http://schemas.microsoft.com/office/drawing/2014/main" id="{66CAB41A-9D73-2130-70F0-7EA8584C4FAA}"/>
              </a:ext>
              <a:ext uri="{C183D7F6-B498-43B3-948B-1728B52AA6E4}">
                <adec:decorative xmlns:adec="http://schemas.microsoft.com/office/drawing/2017/decorative" val="1"/>
              </a:ext>
            </a:extLst>
          </p:cNvPr>
          <p:cNvSpPr>
            <a:spLocks/>
          </p:cNvSpPr>
          <p:nvPr/>
        </p:nvSpPr>
        <p:spPr bwMode="auto">
          <a:xfrm>
            <a:off x="5083757" y="4126244"/>
            <a:ext cx="2024482" cy="2061195"/>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11" name="Rectangle: Rounded Corners 310">
            <a:extLst>
              <a:ext uri="{FF2B5EF4-FFF2-40B4-BE49-F238E27FC236}">
                <a16:creationId xmlns:a16="http://schemas.microsoft.com/office/drawing/2014/main" id="{8D6ACE78-AE04-40DF-4FA8-7A3C457DBDAD}"/>
              </a:ext>
              <a:ext uri="{C183D7F6-B498-43B3-948B-1728B52AA6E4}">
                <adec:decorative xmlns:adec="http://schemas.microsoft.com/office/drawing/2017/decorative" val="1"/>
              </a:ext>
            </a:extLst>
          </p:cNvPr>
          <p:cNvSpPr>
            <a:spLocks/>
          </p:cNvSpPr>
          <p:nvPr/>
        </p:nvSpPr>
        <p:spPr bwMode="auto">
          <a:xfrm>
            <a:off x="7263687" y="4126244"/>
            <a:ext cx="2024482" cy="2061195"/>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12" name="Rectangle: Rounded Corners 311">
            <a:extLst>
              <a:ext uri="{FF2B5EF4-FFF2-40B4-BE49-F238E27FC236}">
                <a16:creationId xmlns:a16="http://schemas.microsoft.com/office/drawing/2014/main" id="{60A93C82-5B24-3A08-FABC-52AFEF18BADB}"/>
              </a:ext>
              <a:ext uri="{C183D7F6-B498-43B3-948B-1728B52AA6E4}">
                <adec:decorative xmlns:adec="http://schemas.microsoft.com/office/drawing/2017/decorative" val="1"/>
              </a:ext>
            </a:extLst>
          </p:cNvPr>
          <p:cNvSpPr>
            <a:spLocks/>
          </p:cNvSpPr>
          <p:nvPr/>
        </p:nvSpPr>
        <p:spPr bwMode="auto">
          <a:xfrm>
            <a:off x="9443617" y="4101252"/>
            <a:ext cx="2024482" cy="2086187"/>
          </a:xfrm>
          <a:prstGeom prst="roundRect">
            <a:avLst>
              <a:gd name="adj" fmla="val 9027"/>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grpSp>
        <p:nvGrpSpPr>
          <p:cNvPr id="6" name="Group 5">
            <a:extLst>
              <a:ext uri="{FF2B5EF4-FFF2-40B4-BE49-F238E27FC236}">
                <a16:creationId xmlns:a16="http://schemas.microsoft.com/office/drawing/2014/main" id="{C7724E63-68F6-D848-6601-C1CCE8321E86}"/>
              </a:ext>
              <a:ext uri="{C183D7F6-B498-43B3-948B-1728B52AA6E4}">
                <adec:decorative xmlns:adec="http://schemas.microsoft.com/office/drawing/2017/decorative" val="1"/>
              </a:ext>
            </a:extLst>
          </p:cNvPr>
          <p:cNvGrpSpPr/>
          <p:nvPr/>
        </p:nvGrpSpPr>
        <p:grpSpPr>
          <a:xfrm>
            <a:off x="1408783" y="3779056"/>
            <a:ext cx="654710" cy="654710"/>
            <a:chOff x="1408783" y="4316018"/>
            <a:chExt cx="654710" cy="654710"/>
          </a:xfrm>
        </p:grpSpPr>
        <p:sp>
          <p:nvSpPr>
            <p:cNvPr id="166" name="Box">
              <a:extLst>
                <a:ext uri="{FF2B5EF4-FFF2-40B4-BE49-F238E27FC236}">
                  <a16:creationId xmlns:a16="http://schemas.microsoft.com/office/drawing/2014/main" id="{79C86AE3-D49A-93CE-88D0-AB14EE9A8A99}"/>
                </a:ext>
                <a:ext uri="{C183D7F6-B498-43B3-948B-1728B52AA6E4}">
                  <adec:decorative xmlns:adec="http://schemas.microsoft.com/office/drawing/2017/decorative" val="1"/>
                </a:ext>
              </a:extLst>
            </p:cNvPr>
            <p:cNvSpPr>
              <a:spLocks noChangeAspect="1"/>
            </p:cNvSpPr>
            <p:nvPr/>
          </p:nvSpPr>
          <p:spPr bwMode="auto">
            <a:xfrm>
              <a:off x="140878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3" name="Graphic 119">
              <a:extLst>
                <a:ext uri="{FF2B5EF4-FFF2-40B4-BE49-F238E27FC236}">
                  <a16:creationId xmlns:a16="http://schemas.microsoft.com/office/drawing/2014/main" id="{A6330CBC-0E41-234A-4815-FE5D47630363}"/>
                </a:ext>
              </a:extLst>
            </p:cNvPr>
            <p:cNvSpPr/>
            <p:nvPr/>
          </p:nvSpPr>
          <p:spPr>
            <a:xfrm>
              <a:off x="1566340" y="4473576"/>
              <a:ext cx="339598" cy="339596"/>
            </a:xfrm>
            <a:custGeom>
              <a:avLst/>
              <a:gdLst>
                <a:gd name="csX0" fmla="*/ 802316 w 979097"/>
                <a:gd name="csY0" fmla="*/ 0 h 979097"/>
                <a:gd name="csX1" fmla="*/ 979097 w 979097"/>
                <a:gd name="csY1" fmla="*/ 176781 h 979097"/>
                <a:gd name="csX2" fmla="*/ 979097 w 979097"/>
                <a:gd name="csY2" fmla="*/ 802316 h 979097"/>
                <a:gd name="csX3" fmla="*/ 802316 w 979097"/>
                <a:gd name="csY3" fmla="*/ 979097 h 979097"/>
                <a:gd name="csX4" fmla="*/ 176781 w 979097"/>
                <a:gd name="csY4" fmla="*/ 979097 h 979097"/>
                <a:gd name="csX5" fmla="*/ 0 w 979097"/>
                <a:gd name="csY5" fmla="*/ 802316 h 979097"/>
                <a:gd name="csX6" fmla="*/ 0 w 979097"/>
                <a:gd name="csY6" fmla="*/ 176781 h 979097"/>
                <a:gd name="csX7" fmla="*/ 176781 w 979097"/>
                <a:gd name="csY7" fmla="*/ 0 h 979097"/>
                <a:gd name="csX8" fmla="*/ 802316 w 979097"/>
                <a:gd name="csY8" fmla="*/ 0 h 979097"/>
                <a:gd name="csX9" fmla="*/ 802316 w 979097"/>
                <a:gd name="csY9" fmla="*/ 81591 h 979097"/>
                <a:gd name="csX10" fmla="*/ 176781 w 979097"/>
                <a:gd name="csY10" fmla="*/ 81591 h 979097"/>
                <a:gd name="csX11" fmla="*/ 81591 w 979097"/>
                <a:gd name="csY11" fmla="*/ 176781 h 979097"/>
                <a:gd name="csX12" fmla="*/ 81591 w 979097"/>
                <a:gd name="csY12" fmla="*/ 802316 h 979097"/>
                <a:gd name="csX13" fmla="*/ 176781 w 979097"/>
                <a:gd name="csY13" fmla="*/ 897506 h 979097"/>
                <a:gd name="csX14" fmla="*/ 802316 w 979097"/>
                <a:gd name="csY14" fmla="*/ 897506 h 979097"/>
                <a:gd name="csX15" fmla="*/ 897506 w 979097"/>
                <a:gd name="csY15" fmla="*/ 802316 h 979097"/>
                <a:gd name="csX16" fmla="*/ 897506 w 979097"/>
                <a:gd name="csY16" fmla="*/ 176781 h 979097"/>
                <a:gd name="csX17" fmla="*/ 802316 w 979097"/>
                <a:gd name="csY17" fmla="*/ 81591 h 979097"/>
                <a:gd name="csX18" fmla="*/ 258373 w 979097"/>
                <a:gd name="csY18" fmla="*/ 217577 h 979097"/>
                <a:gd name="csX19" fmla="*/ 298796 w 979097"/>
                <a:gd name="csY19" fmla="*/ 252837 h 979097"/>
                <a:gd name="csX20" fmla="*/ 299169 w 979097"/>
                <a:gd name="csY20" fmla="*/ 258373 h 979097"/>
                <a:gd name="csX21" fmla="*/ 299169 w 979097"/>
                <a:gd name="csY21" fmla="*/ 312767 h 979097"/>
                <a:gd name="csX22" fmla="*/ 258373 w 979097"/>
                <a:gd name="csY22" fmla="*/ 353563 h 979097"/>
                <a:gd name="csX23" fmla="*/ 217950 w 979097"/>
                <a:gd name="csY23" fmla="*/ 318303 h 979097"/>
                <a:gd name="csX24" fmla="*/ 217577 w 979097"/>
                <a:gd name="csY24" fmla="*/ 312767 h 979097"/>
                <a:gd name="csX25" fmla="*/ 217577 w 979097"/>
                <a:gd name="csY25" fmla="*/ 258373 h 979097"/>
                <a:gd name="csX26" fmla="*/ 258373 w 979097"/>
                <a:gd name="csY26" fmla="*/ 217577 h 979097"/>
                <a:gd name="csX27" fmla="*/ 298796 w 979097"/>
                <a:gd name="csY27" fmla="*/ 660793 h 979097"/>
                <a:gd name="csX28" fmla="*/ 258373 w 979097"/>
                <a:gd name="csY28" fmla="*/ 625534 h 979097"/>
                <a:gd name="csX29" fmla="*/ 217577 w 979097"/>
                <a:gd name="csY29" fmla="*/ 666330 h 979097"/>
                <a:gd name="csX30" fmla="*/ 217577 w 979097"/>
                <a:gd name="csY30" fmla="*/ 720724 h 979097"/>
                <a:gd name="csX31" fmla="*/ 217950 w 979097"/>
                <a:gd name="csY31" fmla="*/ 726262 h 979097"/>
                <a:gd name="csX32" fmla="*/ 258373 w 979097"/>
                <a:gd name="csY32" fmla="*/ 761520 h 979097"/>
                <a:gd name="csX33" fmla="*/ 299169 w 979097"/>
                <a:gd name="csY33" fmla="*/ 720724 h 979097"/>
                <a:gd name="csX34" fmla="*/ 299169 w 979097"/>
                <a:gd name="csY34" fmla="*/ 666330 h 979097"/>
                <a:gd name="csX35" fmla="*/ 298796 w 979097"/>
                <a:gd name="csY35" fmla="*/ 660793 h 979097"/>
                <a:gd name="csX36" fmla="*/ 299169 w 979097"/>
                <a:gd name="csY36" fmla="*/ 452626 h 979097"/>
                <a:gd name="csX37" fmla="*/ 258745 w 979097"/>
                <a:gd name="csY37" fmla="*/ 417362 h 979097"/>
                <a:gd name="csX38" fmla="*/ 217950 w 979097"/>
                <a:gd name="csY38" fmla="*/ 458158 h 979097"/>
                <a:gd name="csX39" fmla="*/ 217577 w 979097"/>
                <a:gd name="csY39" fmla="*/ 520619 h 979097"/>
                <a:gd name="csX40" fmla="*/ 217950 w 979097"/>
                <a:gd name="csY40" fmla="*/ 526151 h 979097"/>
                <a:gd name="csX41" fmla="*/ 258373 w 979097"/>
                <a:gd name="csY41" fmla="*/ 561414 h 979097"/>
                <a:gd name="csX42" fmla="*/ 299169 w 979097"/>
                <a:gd name="csY42" fmla="*/ 520619 h 979097"/>
                <a:gd name="csX43" fmla="*/ 299541 w 979097"/>
                <a:gd name="csY43" fmla="*/ 458158 h 979097"/>
                <a:gd name="csX44" fmla="*/ 299169 w 979097"/>
                <a:gd name="csY44" fmla="*/ 452626 h 97909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Lst>
              <a:rect l="l" t="t" r="r" b="b"/>
              <a:pathLst>
                <a:path w="979097" h="979097">
                  <a:moveTo>
                    <a:pt x="802316" y="0"/>
                  </a:moveTo>
                  <a:cubicBezTo>
                    <a:pt x="899948" y="0"/>
                    <a:pt x="979097" y="79148"/>
                    <a:pt x="979097" y="176781"/>
                  </a:cubicBezTo>
                  <a:lnTo>
                    <a:pt x="979097" y="802316"/>
                  </a:lnTo>
                  <a:cubicBezTo>
                    <a:pt x="979097" y="899948"/>
                    <a:pt x="899948" y="979097"/>
                    <a:pt x="802316" y="979097"/>
                  </a:cubicBezTo>
                  <a:lnTo>
                    <a:pt x="176781" y="979097"/>
                  </a:lnTo>
                  <a:cubicBezTo>
                    <a:pt x="79148" y="979097"/>
                    <a:pt x="0" y="899948"/>
                    <a:pt x="0" y="802316"/>
                  </a:cubicBezTo>
                  <a:lnTo>
                    <a:pt x="0" y="176781"/>
                  </a:lnTo>
                  <a:cubicBezTo>
                    <a:pt x="0" y="79148"/>
                    <a:pt x="79148" y="0"/>
                    <a:pt x="176781" y="0"/>
                  </a:cubicBezTo>
                  <a:lnTo>
                    <a:pt x="802316" y="0"/>
                  </a:lnTo>
                  <a:close/>
                  <a:moveTo>
                    <a:pt x="802316" y="81591"/>
                  </a:moveTo>
                  <a:lnTo>
                    <a:pt x="176781" y="81591"/>
                  </a:lnTo>
                  <a:cubicBezTo>
                    <a:pt x="124209" y="81591"/>
                    <a:pt x="81591" y="124209"/>
                    <a:pt x="81591" y="176781"/>
                  </a:cubicBezTo>
                  <a:lnTo>
                    <a:pt x="81591" y="802316"/>
                  </a:lnTo>
                  <a:cubicBezTo>
                    <a:pt x="81591" y="854888"/>
                    <a:pt x="124209" y="897506"/>
                    <a:pt x="176781" y="897506"/>
                  </a:cubicBezTo>
                  <a:lnTo>
                    <a:pt x="802316" y="897506"/>
                  </a:lnTo>
                  <a:cubicBezTo>
                    <a:pt x="854888" y="897506"/>
                    <a:pt x="897506" y="854888"/>
                    <a:pt x="897506" y="802316"/>
                  </a:cubicBezTo>
                  <a:lnTo>
                    <a:pt x="897506" y="176781"/>
                  </a:lnTo>
                  <a:cubicBezTo>
                    <a:pt x="897506" y="124209"/>
                    <a:pt x="854888" y="81591"/>
                    <a:pt x="802316" y="81591"/>
                  </a:cubicBezTo>
                  <a:close/>
                  <a:moveTo>
                    <a:pt x="258373" y="217577"/>
                  </a:moveTo>
                  <a:cubicBezTo>
                    <a:pt x="279026" y="217577"/>
                    <a:pt x="296095" y="232925"/>
                    <a:pt x="298796" y="252837"/>
                  </a:cubicBezTo>
                  <a:lnTo>
                    <a:pt x="299169" y="258373"/>
                  </a:lnTo>
                  <a:lnTo>
                    <a:pt x="299169" y="312767"/>
                  </a:lnTo>
                  <a:cubicBezTo>
                    <a:pt x="299169" y="335298"/>
                    <a:pt x="280904" y="353563"/>
                    <a:pt x="258373" y="353563"/>
                  </a:cubicBezTo>
                  <a:cubicBezTo>
                    <a:pt x="237719" y="353563"/>
                    <a:pt x="220651" y="338216"/>
                    <a:pt x="217950" y="318303"/>
                  </a:cubicBezTo>
                  <a:lnTo>
                    <a:pt x="217577" y="312767"/>
                  </a:lnTo>
                  <a:lnTo>
                    <a:pt x="217577" y="258373"/>
                  </a:lnTo>
                  <a:cubicBezTo>
                    <a:pt x="217577" y="235842"/>
                    <a:pt x="235842" y="217577"/>
                    <a:pt x="258373" y="217577"/>
                  </a:cubicBezTo>
                  <a:close/>
                  <a:moveTo>
                    <a:pt x="298796" y="660793"/>
                  </a:moveTo>
                  <a:cubicBezTo>
                    <a:pt x="296095" y="640884"/>
                    <a:pt x="279026" y="625534"/>
                    <a:pt x="258373" y="625534"/>
                  </a:cubicBezTo>
                  <a:cubicBezTo>
                    <a:pt x="235842" y="625534"/>
                    <a:pt x="217577" y="643800"/>
                    <a:pt x="217577" y="666330"/>
                  </a:cubicBezTo>
                  <a:lnTo>
                    <a:pt x="217577" y="720724"/>
                  </a:lnTo>
                  <a:lnTo>
                    <a:pt x="217950" y="726262"/>
                  </a:lnTo>
                  <a:cubicBezTo>
                    <a:pt x="220651" y="746170"/>
                    <a:pt x="237719" y="761520"/>
                    <a:pt x="258373" y="761520"/>
                  </a:cubicBezTo>
                  <a:cubicBezTo>
                    <a:pt x="280904" y="761520"/>
                    <a:pt x="299169" y="743255"/>
                    <a:pt x="299169" y="720724"/>
                  </a:cubicBezTo>
                  <a:lnTo>
                    <a:pt x="299169" y="666330"/>
                  </a:lnTo>
                  <a:lnTo>
                    <a:pt x="298796" y="660793"/>
                  </a:lnTo>
                  <a:close/>
                  <a:moveTo>
                    <a:pt x="299169" y="452626"/>
                  </a:moveTo>
                  <a:cubicBezTo>
                    <a:pt x="296467" y="432712"/>
                    <a:pt x="279398" y="417362"/>
                    <a:pt x="258745" y="417362"/>
                  </a:cubicBezTo>
                  <a:cubicBezTo>
                    <a:pt x="236214" y="417362"/>
                    <a:pt x="217950" y="435628"/>
                    <a:pt x="217950" y="458158"/>
                  </a:cubicBezTo>
                  <a:lnTo>
                    <a:pt x="217577" y="520619"/>
                  </a:lnTo>
                  <a:lnTo>
                    <a:pt x="217950" y="526151"/>
                  </a:lnTo>
                  <a:cubicBezTo>
                    <a:pt x="220651" y="546064"/>
                    <a:pt x="237719" y="561414"/>
                    <a:pt x="258373" y="561414"/>
                  </a:cubicBezTo>
                  <a:cubicBezTo>
                    <a:pt x="280904" y="561414"/>
                    <a:pt x="299169" y="543149"/>
                    <a:pt x="299169" y="520619"/>
                  </a:cubicBezTo>
                  <a:lnTo>
                    <a:pt x="299541" y="458158"/>
                  </a:lnTo>
                  <a:lnTo>
                    <a:pt x="299169" y="452626"/>
                  </a:lnTo>
                  <a:close/>
                </a:path>
              </a:pathLst>
            </a:custGeom>
            <a:solidFill>
              <a:schemeClr val="tx1"/>
            </a:solidFill>
            <a:ln w="54372" cap="flat">
              <a:noFill/>
              <a:prstDash val="solid"/>
              <a:miter/>
            </a:ln>
          </p:spPr>
          <p:txBody>
            <a:bodyPr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4D85B44-4D07-AA1F-632E-CFFEE6CCBC2E}"/>
              </a:ext>
              <a:ext uri="{C183D7F6-B498-43B3-948B-1728B52AA6E4}">
                <adec:decorative xmlns:adec="http://schemas.microsoft.com/office/drawing/2017/decorative" val="1"/>
              </a:ext>
            </a:extLst>
          </p:cNvPr>
          <p:cNvGrpSpPr/>
          <p:nvPr/>
        </p:nvGrpSpPr>
        <p:grpSpPr>
          <a:xfrm>
            <a:off x="7948573" y="3752302"/>
            <a:ext cx="654710" cy="654710"/>
            <a:chOff x="7948573" y="4316018"/>
            <a:chExt cx="654710" cy="654710"/>
          </a:xfrm>
        </p:grpSpPr>
        <p:sp>
          <p:nvSpPr>
            <p:cNvPr id="169" name="Box">
              <a:extLst>
                <a:ext uri="{FF2B5EF4-FFF2-40B4-BE49-F238E27FC236}">
                  <a16:creationId xmlns:a16="http://schemas.microsoft.com/office/drawing/2014/main" id="{B65D2229-74F3-552C-61B1-EA7EA202F28E}"/>
                </a:ext>
                <a:ext uri="{C183D7F6-B498-43B3-948B-1728B52AA6E4}">
                  <adec:decorative xmlns:adec="http://schemas.microsoft.com/office/drawing/2017/decorative" val="1"/>
                </a:ext>
              </a:extLst>
            </p:cNvPr>
            <p:cNvSpPr>
              <a:spLocks noChangeAspect="1"/>
            </p:cNvSpPr>
            <p:nvPr/>
          </p:nvSpPr>
          <p:spPr bwMode="auto">
            <a:xfrm>
              <a:off x="794857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4" name="Graphic 16">
              <a:extLst>
                <a:ext uri="{FF2B5EF4-FFF2-40B4-BE49-F238E27FC236}">
                  <a16:creationId xmlns:a16="http://schemas.microsoft.com/office/drawing/2014/main" id="{3F696A58-87F9-C1E0-0721-E7287FEFB15C}"/>
                </a:ext>
              </a:extLst>
            </p:cNvPr>
            <p:cNvSpPr/>
            <p:nvPr/>
          </p:nvSpPr>
          <p:spPr>
            <a:xfrm>
              <a:off x="8111874" y="4479321"/>
              <a:ext cx="328108" cy="328106"/>
            </a:xfrm>
            <a:custGeom>
              <a:avLst/>
              <a:gdLst>
                <a:gd name="csX0" fmla="*/ 179785 w 1118663"/>
                <a:gd name="csY0" fmla="*/ 79905 h 1118663"/>
                <a:gd name="csX1" fmla="*/ 79905 w 1118663"/>
                <a:gd name="csY1" fmla="*/ 179785 h 1118663"/>
                <a:gd name="csX2" fmla="*/ 179785 w 1118663"/>
                <a:gd name="csY2" fmla="*/ 279666 h 1118663"/>
                <a:gd name="csX3" fmla="*/ 279666 w 1118663"/>
                <a:gd name="csY3" fmla="*/ 179785 h 1118663"/>
                <a:gd name="csX4" fmla="*/ 179785 w 1118663"/>
                <a:gd name="csY4" fmla="*/ 79905 h 1118663"/>
                <a:gd name="csX5" fmla="*/ 0 w 1118663"/>
                <a:gd name="csY5" fmla="*/ 179785 h 1118663"/>
                <a:gd name="csX6" fmla="*/ 179785 w 1118663"/>
                <a:gd name="csY6" fmla="*/ 0 h 1118663"/>
                <a:gd name="csX7" fmla="*/ 359571 w 1118663"/>
                <a:gd name="csY7" fmla="*/ 179785 h 1118663"/>
                <a:gd name="csX8" fmla="*/ 332003 w 1118663"/>
                <a:gd name="csY8" fmla="*/ 275501 h 1118663"/>
                <a:gd name="csX9" fmla="*/ 463618 w 1118663"/>
                <a:gd name="csY9" fmla="*/ 407114 h 1118663"/>
                <a:gd name="csX10" fmla="*/ 559332 w 1118663"/>
                <a:gd name="csY10" fmla="*/ 379547 h 1118663"/>
                <a:gd name="csX11" fmla="*/ 655046 w 1118663"/>
                <a:gd name="csY11" fmla="*/ 407114 h 1118663"/>
                <a:gd name="csX12" fmla="*/ 786660 w 1118663"/>
                <a:gd name="csY12" fmla="*/ 275501 h 1118663"/>
                <a:gd name="csX13" fmla="*/ 759093 w 1118663"/>
                <a:gd name="csY13" fmla="*/ 179785 h 1118663"/>
                <a:gd name="csX14" fmla="*/ 938879 w 1118663"/>
                <a:gd name="csY14" fmla="*/ 0 h 1118663"/>
                <a:gd name="csX15" fmla="*/ 1118664 w 1118663"/>
                <a:gd name="csY15" fmla="*/ 179785 h 1118663"/>
                <a:gd name="csX16" fmla="*/ 938879 w 1118663"/>
                <a:gd name="csY16" fmla="*/ 359571 h 1118663"/>
                <a:gd name="csX17" fmla="*/ 843165 w 1118663"/>
                <a:gd name="csY17" fmla="*/ 332003 h 1118663"/>
                <a:gd name="csX18" fmla="*/ 711550 w 1118663"/>
                <a:gd name="csY18" fmla="*/ 463618 h 1118663"/>
                <a:gd name="csX19" fmla="*/ 739117 w 1118663"/>
                <a:gd name="csY19" fmla="*/ 559332 h 1118663"/>
                <a:gd name="csX20" fmla="*/ 711550 w 1118663"/>
                <a:gd name="csY20" fmla="*/ 655046 h 1118663"/>
                <a:gd name="csX21" fmla="*/ 843165 w 1118663"/>
                <a:gd name="csY21" fmla="*/ 786660 h 1118663"/>
                <a:gd name="csX22" fmla="*/ 938879 w 1118663"/>
                <a:gd name="csY22" fmla="*/ 759093 h 1118663"/>
                <a:gd name="csX23" fmla="*/ 1118664 w 1118663"/>
                <a:gd name="csY23" fmla="*/ 938879 h 1118663"/>
                <a:gd name="csX24" fmla="*/ 938879 w 1118663"/>
                <a:gd name="csY24" fmla="*/ 1118664 h 1118663"/>
                <a:gd name="csX25" fmla="*/ 759093 w 1118663"/>
                <a:gd name="csY25" fmla="*/ 938879 h 1118663"/>
                <a:gd name="csX26" fmla="*/ 786660 w 1118663"/>
                <a:gd name="csY26" fmla="*/ 843165 h 1118663"/>
                <a:gd name="csX27" fmla="*/ 655046 w 1118663"/>
                <a:gd name="csY27" fmla="*/ 711550 h 1118663"/>
                <a:gd name="csX28" fmla="*/ 559332 w 1118663"/>
                <a:gd name="csY28" fmla="*/ 739117 h 1118663"/>
                <a:gd name="csX29" fmla="*/ 463618 w 1118663"/>
                <a:gd name="csY29" fmla="*/ 711550 h 1118663"/>
                <a:gd name="csX30" fmla="*/ 332003 w 1118663"/>
                <a:gd name="csY30" fmla="*/ 843165 h 1118663"/>
                <a:gd name="csX31" fmla="*/ 359571 w 1118663"/>
                <a:gd name="csY31" fmla="*/ 938879 h 1118663"/>
                <a:gd name="csX32" fmla="*/ 179785 w 1118663"/>
                <a:gd name="csY32" fmla="*/ 1118664 h 1118663"/>
                <a:gd name="csX33" fmla="*/ 0 w 1118663"/>
                <a:gd name="csY33" fmla="*/ 938879 h 1118663"/>
                <a:gd name="csX34" fmla="*/ 179785 w 1118663"/>
                <a:gd name="csY34" fmla="*/ 759093 h 1118663"/>
                <a:gd name="csX35" fmla="*/ 275501 w 1118663"/>
                <a:gd name="csY35" fmla="*/ 786660 h 1118663"/>
                <a:gd name="csX36" fmla="*/ 407114 w 1118663"/>
                <a:gd name="csY36" fmla="*/ 655046 h 1118663"/>
                <a:gd name="csX37" fmla="*/ 379547 w 1118663"/>
                <a:gd name="csY37" fmla="*/ 559332 h 1118663"/>
                <a:gd name="csX38" fmla="*/ 407114 w 1118663"/>
                <a:gd name="csY38" fmla="*/ 463618 h 1118663"/>
                <a:gd name="csX39" fmla="*/ 275501 w 1118663"/>
                <a:gd name="csY39" fmla="*/ 332003 h 1118663"/>
                <a:gd name="csX40" fmla="*/ 179785 w 1118663"/>
                <a:gd name="csY40" fmla="*/ 359571 h 1118663"/>
                <a:gd name="csX41" fmla="*/ 0 w 1118663"/>
                <a:gd name="csY41" fmla="*/ 179785 h 1118663"/>
                <a:gd name="csX42" fmla="*/ 938879 w 1118663"/>
                <a:gd name="csY42" fmla="*/ 79905 h 1118663"/>
                <a:gd name="csX43" fmla="*/ 838998 w 1118663"/>
                <a:gd name="csY43" fmla="*/ 179785 h 1118663"/>
                <a:gd name="csX44" fmla="*/ 938879 w 1118663"/>
                <a:gd name="csY44" fmla="*/ 279666 h 1118663"/>
                <a:gd name="csX45" fmla="*/ 1038759 w 1118663"/>
                <a:gd name="csY45" fmla="*/ 179785 h 1118663"/>
                <a:gd name="csX46" fmla="*/ 938879 w 1118663"/>
                <a:gd name="csY46" fmla="*/ 79905 h 1118663"/>
                <a:gd name="csX47" fmla="*/ 79905 w 1118663"/>
                <a:gd name="csY47" fmla="*/ 938879 h 1118663"/>
                <a:gd name="csX48" fmla="*/ 179785 w 1118663"/>
                <a:gd name="csY48" fmla="*/ 1038759 h 1118663"/>
                <a:gd name="csX49" fmla="*/ 279666 w 1118663"/>
                <a:gd name="csY49" fmla="*/ 938879 h 1118663"/>
                <a:gd name="csX50" fmla="*/ 179785 w 1118663"/>
                <a:gd name="csY50" fmla="*/ 838998 h 1118663"/>
                <a:gd name="csX51" fmla="*/ 79905 w 1118663"/>
                <a:gd name="csY51" fmla="*/ 938879 h 1118663"/>
                <a:gd name="csX52" fmla="*/ 559332 w 1118663"/>
                <a:gd name="csY52" fmla="*/ 459451 h 1118663"/>
                <a:gd name="csX53" fmla="*/ 459451 w 1118663"/>
                <a:gd name="csY53" fmla="*/ 559332 h 1118663"/>
                <a:gd name="csX54" fmla="*/ 559332 w 1118663"/>
                <a:gd name="csY54" fmla="*/ 659213 h 1118663"/>
                <a:gd name="csX55" fmla="*/ 659213 w 1118663"/>
                <a:gd name="csY55" fmla="*/ 559332 h 1118663"/>
                <a:gd name="csX56" fmla="*/ 559332 w 1118663"/>
                <a:gd name="csY56" fmla="*/ 459451 h 1118663"/>
                <a:gd name="csX57" fmla="*/ 838998 w 1118663"/>
                <a:gd name="csY57" fmla="*/ 938879 h 1118663"/>
                <a:gd name="csX58" fmla="*/ 938879 w 1118663"/>
                <a:gd name="csY58" fmla="*/ 1038759 h 1118663"/>
                <a:gd name="csX59" fmla="*/ 1038759 w 1118663"/>
                <a:gd name="csY59" fmla="*/ 938879 h 1118663"/>
                <a:gd name="csX60" fmla="*/ 938879 w 1118663"/>
                <a:gd name="csY60" fmla="*/ 838998 h 1118663"/>
                <a:gd name="csX61" fmla="*/ 838998 w 1118663"/>
                <a:gd name="csY61" fmla="*/ 938879 h 111866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Lst>
              <a:rect l="l" t="t" r="r" b="b"/>
              <a:pathLst>
                <a:path w="1118663" h="1118663">
                  <a:moveTo>
                    <a:pt x="179785" y="79905"/>
                  </a:moveTo>
                  <a:cubicBezTo>
                    <a:pt x="124623" y="79905"/>
                    <a:pt x="79905" y="124623"/>
                    <a:pt x="79905" y="179785"/>
                  </a:cubicBezTo>
                  <a:cubicBezTo>
                    <a:pt x="79905" y="234948"/>
                    <a:pt x="124623" y="279666"/>
                    <a:pt x="179785" y="279666"/>
                  </a:cubicBezTo>
                  <a:cubicBezTo>
                    <a:pt x="234948" y="279666"/>
                    <a:pt x="279666" y="234948"/>
                    <a:pt x="279666" y="179785"/>
                  </a:cubicBezTo>
                  <a:cubicBezTo>
                    <a:pt x="279666" y="124623"/>
                    <a:pt x="234948" y="79905"/>
                    <a:pt x="179785" y="79905"/>
                  </a:cubicBezTo>
                  <a:close/>
                  <a:moveTo>
                    <a:pt x="0" y="179785"/>
                  </a:moveTo>
                  <a:cubicBezTo>
                    <a:pt x="0" y="80493"/>
                    <a:pt x="80493" y="0"/>
                    <a:pt x="179785" y="0"/>
                  </a:cubicBezTo>
                  <a:cubicBezTo>
                    <a:pt x="279078" y="0"/>
                    <a:pt x="359571" y="80493"/>
                    <a:pt x="359571" y="179785"/>
                  </a:cubicBezTo>
                  <a:cubicBezTo>
                    <a:pt x="359571" y="214965"/>
                    <a:pt x="349467" y="247784"/>
                    <a:pt x="332003" y="275501"/>
                  </a:cubicBezTo>
                  <a:lnTo>
                    <a:pt x="463618" y="407114"/>
                  </a:lnTo>
                  <a:cubicBezTo>
                    <a:pt x="491333" y="389651"/>
                    <a:pt x="524154" y="379547"/>
                    <a:pt x="559332" y="379547"/>
                  </a:cubicBezTo>
                  <a:cubicBezTo>
                    <a:pt x="594510" y="379547"/>
                    <a:pt x="627331" y="389651"/>
                    <a:pt x="655046" y="407114"/>
                  </a:cubicBezTo>
                  <a:lnTo>
                    <a:pt x="786660" y="275501"/>
                  </a:lnTo>
                  <a:cubicBezTo>
                    <a:pt x="769197" y="247784"/>
                    <a:pt x="759093" y="214965"/>
                    <a:pt x="759093" y="179785"/>
                  </a:cubicBezTo>
                  <a:cubicBezTo>
                    <a:pt x="759093" y="80493"/>
                    <a:pt x="839585" y="0"/>
                    <a:pt x="938879" y="0"/>
                  </a:cubicBezTo>
                  <a:cubicBezTo>
                    <a:pt x="1038172" y="0"/>
                    <a:pt x="1118664" y="80493"/>
                    <a:pt x="1118664" y="179785"/>
                  </a:cubicBezTo>
                  <a:cubicBezTo>
                    <a:pt x="1118664" y="279078"/>
                    <a:pt x="1038172" y="359571"/>
                    <a:pt x="938879" y="359571"/>
                  </a:cubicBezTo>
                  <a:cubicBezTo>
                    <a:pt x="903701" y="359571"/>
                    <a:pt x="870880" y="349467"/>
                    <a:pt x="843165" y="332003"/>
                  </a:cubicBezTo>
                  <a:lnTo>
                    <a:pt x="711550" y="463618"/>
                  </a:lnTo>
                  <a:cubicBezTo>
                    <a:pt x="729013" y="491333"/>
                    <a:pt x="739117" y="524154"/>
                    <a:pt x="739117" y="559332"/>
                  </a:cubicBezTo>
                  <a:cubicBezTo>
                    <a:pt x="739117" y="594510"/>
                    <a:pt x="729013" y="627331"/>
                    <a:pt x="711550" y="655046"/>
                  </a:cubicBezTo>
                  <a:lnTo>
                    <a:pt x="843165" y="786660"/>
                  </a:lnTo>
                  <a:cubicBezTo>
                    <a:pt x="870880" y="769197"/>
                    <a:pt x="903701" y="759093"/>
                    <a:pt x="938879" y="759093"/>
                  </a:cubicBezTo>
                  <a:cubicBezTo>
                    <a:pt x="1038172" y="759093"/>
                    <a:pt x="1118664" y="839585"/>
                    <a:pt x="1118664" y="938879"/>
                  </a:cubicBezTo>
                  <a:cubicBezTo>
                    <a:pt x="1118664" y="1038172"/>
                    <a:pt x="1038172" y="1118664"/>
                    <a:pt x="938879" y="1118664"/>
                  </a:cubicBezTo>
                  <a:cubicBezTo>
                    <a:pt x="839585" y="1118664"/>
                    <a:pt x="759093" y="1038172"/>
                    <a:pt x="759093" y="938879"/>
                  </a:cubicBezTo>
                  <a:cubicBezTo>
                    <a:pt x="759093" y="903701"/>
                    <a:pt x="769197" y="870880"/>
                    <a:pt x="786660" y="843165"/>
                  </a:cubicBezTo>
                  <a:lnTo>
                    <a:pt x="655046" y="711550"/>
                  </a:lnTo>
                  <a:cubicBezTo>
                    <a:pt x="627331" y="729013"/>
                    <a:pt x="594510" y="739117"/>
                    <a:pt x="559332" y="739117"/>
                  </a:cubicBezTo>
                  <a:cubicBezTo>
                    <a:pt x="524154" y="739117"/>
                    <a:pt x="491333" y="729013"/>
                    <a:pt x="463618" y="711550"/>
                  </a:cubicBezTo>
                  <a:lnTo>
                    <a:pt x="332003" y="843165"/>
                  </a:lnTo>
                  <a:cubicBezTo>
                    <a:pt x="349467" y="870880"/>
                    <a:pt x="359571" y="903701"/>
                    <a:pt x="359571" y="938879"/>
                  </a:cubicBezTo>
                  <a:cubicBezTo>
                    <a:pt x="359571" y="1038172"/>
                    <a:pt x="279078" y="1118664"/>
                    <a:pt x="179785" y="1118664"/>
                  </a:cubicBezTo>
                  <a:cubicBezTo>
                    <a:pt x="80493" y="1118664"/>
                    <a:pt x="0" y="1038172"/>
                    <a:pt x="0" y="938879"/>
                  </a:cubicBezTo>
                  <a:cubicBezTo>
                    <a:pt x="0" y="839585"/>
                    <a:pt x="80493" y="759093"/>
                    <a:pt x="179785" y="759093"/>
                  </a:cubicBezTo>
                  <a:cubicBezTo>
                    <a:pt x="214965" y="759093"/>
                    <a:pt x="247784" y="769197"/>
                    <a:pt x="275501" y="786660"/>
                  </a:cubicBezTo>
                  <a:lnTo>
                    <a:pt x="407114" y="655046"/>
                  </a:lnTo>
                  <a:cubicBezTo>
                    <a:pt x="389651" y="627331"/>
                    <a:pt x="379547" y="594510"/>
                    <a:pt x="379547" y="559332"/>
                  </a:cubicBezTo>
                  <a:cubicBezTo>
                    <a:pt x="379547" y="524154"/>
                    <a:pt x="389651" y="491333"/>
                    <a:pt x="407114" y="463618"/>
                  </a:cubicBezTo>
                  <a:lnTo>
                    <a:pt x="275501" y="332003"/>
                  </a:lnTo>
                  <a:cubicBezTo>
                    <a:pt x="247784" y="349467"/>
                    <a:pt x="214965" y="359571"/>
                    <a:pt x="179785" y="359571"/>
                  </a:cubicBezTo>
                  <a:cubicBezTo>
                    <a:pt x="80493" y="359571"/>
                    <a:pt x="0" y="279078"/>
                    <a:pt x="0" y="179785"/>
                  </a:cubicBezTo>
                  <a:close/>
                  <a:moveTo>
                    <a:pt x="938879" y="79905"/>
                  </a:moveTo>
                  <a:cubicBezTo>
                    <a:pt x="883717" y="79905"/>
                    <a:pt x="838998" y="124623"/>
                    <a:pt x="838998" y="179785"/>
                  </a:cubicBezTo>
                  <a:cubicBezTo>
                    <a:pt x="838998" y="234948"/>
                    <a:pt x="883717" y="279666"/>
                    <a:pt x="938879" y="279666"/>
                  </a:cubicBezTo>
                  <a:cubicBezTo>
                    <a:pt x="994041" y="279666"/>
                    <a:pt x="1038759" y="234948"/>
                    <a:pt x="1038759" y="179785"/>
                  </a:cubicBezTo>
                  <a:cubicBezTo>
                    <a:pt x="1038759" y="124623"/>
                    <a:pt x="994041" y="79905"/>
                    <a:pt x="938879" y="79905"/>
                  </a:cubicBezTo>
                  <a:close/>
                  <a:moveTo>
                    <a:pt x="79905" y="938879"/>
                  </a:moveTo>
                  <a:cubicBezTo>
                    <a:pt x="79905" y="994041"/>
                    <a:pt x="124623" y="1038759"/>
                    <a:pt x="179785" y="1038759"/>
                  </a:cubicBezTo>
                  <a:cubicBezTo>
                    <a:pt x="234948" y="1038759"/>
                    <a:pt x="279666" y="994041"/>
                    <a:pt x="279666" y="938879"/>
                  </a:cubicBezTo>
                  <a:cubicBezTo>
                    <a:pt x="279666" y="883717"/>
                    <a:pt x="234948" y="838998"/>
                    <a:pt x="179785" y="838998"/>
                  </a:cubicBezTo>
                  <a:cubicBezTo>
                    <a:pt x="124623" y="838998"/>
                    <a:pt x="79905" y="883717"/>
                    <a:pt x="79905" y="938879"/>
                  </a:cubicBezTo>
                  <a:close/>
                  <a:moveTo>
                    <a:pt x="559332" y="459451"/>
                  </a:moveTo>
                  <a:cubicBezTo>
                    <a:pt x="504170" y="459451"/>
                    <a:pt x="459451" y="504170"/>
                    <a:pt x="459451" y="559332"/>
                  </a:cubicBezTo>
                  <a:cubicBezTo>
                    <a:pt x="459451" y="614494"/>
                    <a:pt x="504170" y="659213"/>
                    <a:pt x="559332" y="659213"/>
                  </a:cubicBezTo>
                  <a:cubicBezTo>
                    <a:pt x="614494" y="659213"/>
                    <a:pt x="659213" y="614494"/>
                    <a:pt x="659213" y="559332"/>
                  </a:cubicBezTo>
                  <a:cubicBezTo>
                    <a:pt x="659213" y="504170"/>
                    <a:pt x="614494" y="459451"/>
                    <a:pt x="559332" y="459451"/>
                  </a:cubicBezTo>
                  <a:close/>
                  <a:moveTo>
                    <a:pt x="838998" y="938879"/>
                  </a:moveTo>
                  <a:cubicBezTo>
                    <a:pt x="838998" y="994041"/>
                    <a:pt x="883717" y="1038759"/>
                    <a:pt x="938879" y="1038759"/>
                  </a:cubicBezTo>
                  <a:cubicBezTo>
                    <a:pt x="994041" y="1038759"/>
                    <a:pt x="1038759" y="994041"/>
                    <a:pt x="1038759" y="938879"/>
                  </a:cubicBezTo>
                  <a:cubicBezTo>
                    <a:pt x="1038759" y="883717"/>
                    <a:pt x="994041" y="838998"/>
                    <a:pt x="938879" y="838998"/>
                  </a:cubicBezTo>
                  <a:cubicBezTo>
                    <a:pt x="883717" y="838998"/>
                    <a:pt x="838998" y="883717"/>
                    <a:pt x="838998" y="938879"/>
                  </a:cubicBezTo>
                  <a:close/>
                </a:path>
              </a:pathLst>
            </a:custGeom>
            <a:solidFill>
              <a:schemeClr val="tx1"/>
            </a:solidFill>
            <a:ln w="39886"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643DBF3F-DD93-E145-A810-E8D96ADEBB4F}"/>
              </a:ext>
              <a:ext uri="{C183D7F6-B498-43B3-948B-1728B52AA6E4}">
                <adec:decorative xmlns:adec="http://schemas.microsoft.com/office/drawing/2017/decorative" val="1"/>
              </a:ext>
            </a:extLst>
          </p:cNvPr>
          <p:cNvGrpSpPr/>
          <p:nvPr/>
        </p:nvGrpSpPr>
        <p:grpSpPr>
          <a:xfrm>
            <a:off x="5768643" y="3769313"/>
            <a:ext cx="654710" cy="654710"/>
            <a:chOff x="5768643" y="4316018"/>
            <a:chExt cx="654710" cy="654710"/>
          </a:xfrm>
        </p:grpSpPr>
        <p:sp>
          <p:nvSpPr>
            <p:cNvPr id="168" name="Box">
              <a:extLst>
                <a:ext uri="{FF2B5EF4-FFF2-40B4-BE49-F238E27FC236}">
                  <a16:creationId xmlns:a16="http://schemas.microsoft.com/office/drawing/2014/main" id="{44F9E0D9-5409-9E2D-BF1C-4AC3C12306A3}"/>
                </a:ext>
                <a:ext uri="{C183D7F6-B498-43B3-948B-1728B52AA6E4}">
                  <adec:decorative xmlns:adec="http://schemas.microsoft.com/office/drawing/2017/decorative" val="1"/>
                </a:ext>
              </a:extLst>
            </p:cNvPr>
            <p:cNvSpPr>
              <a:spLocks noChangeAspect="1"/>
            </p:cNvSpPr>
            <p:nvPr/>
          </p:nvSpPr>
          <p:spPr bwMode="auto">
            <a:xfrm>
              <a:off x="576864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5" name="Graphic 23">
              <a:extLst>
                <a:ext uri="{FF2B5EF4-FFF2-40B4-BE49-F238E27FC236}">
                  <a16:creationId xmlns:a16="http://schemas.microsoft.com/office/drawing/2014/main" id="{DF746DCE-B404-087A-9360-DF91762F49A4}"/>
                </a:ext>
              </a:extLst>
            </p:cNvPr>
            <p:cNvSpPr/>
            <p:nvPr/>
          </p:nvSpPr>
          <p:spPr>
            <a:xfrm>
              <a:off x="5918190" y="4456447"/>
              <a:ext cx="355616" cy="373852"/>
            </a:xfrm>
            <a:custGeom>
              <a:avLst/>
              <a:gdLst>
                <a:gd name="csX0" fmla="*/ 656957 w 1075017"/>
                <a:gd name="csY0" fmla="*/ 333865 h 1130146"/>
                <a:gd name="csX1" fmla="*/ 644752 w 1075017"/>
                <a:gd name="csY1" fmla="*/ 319983 h 1130146"/>
                <a:gd name="csX2" fmla="*/ 586808 w 1075017"/>
                <a:gd name="csY2" fmla="*/ 284119 h 1130146"/>
                <a:gd name="csX3" fmla="*/ 515071 w 1075017"/>
                <a:gd name="csY3" fmla="*/ 260821 h 1130146"/>
                <a:gd name="csX4" fmla="*/ 501366 w 1075017"/>
                <a:gd name="csY4" fmla="*/ 250474 h 1130146"/>
                <a:gd name="csX5" fmla="*/ 496162 w 1075017"/>
                <a:gd name="csY5" fmla="*/ 234120 h 1130146"/>
                <a:gd name="csX6" fmla="*/ 501366 w 1075017"/>
                <a:gd name="csY6" fmla="*/ 217764 h 1130146"/>
                <a:gd name="csX7" fmla="*/ 515071 w 1075017"/>
                <a:gd name="csY7" fmla="*/ 207418 h 1130146"/>
                <a:gd name="csX8" fmla="*/ 586808 w 1075017"/>
                <a:gd name="csY8" fmla="*/ 184121 h 1130146"/>
                <a:gd name="csX9" fmla="*/ 643875 w 1075017"/>
                <a:gd name="csY9" fmla="*/ 148148 h 1130146"/>
                <a:gd name="csX10" fmla="*/ 678394 w 1075017"/>
                <a:gd name="csY10" fmla="*/ 92351 h 1130146"/>
                <a:gd name="csX11" fmla="*/ 678990 w 1075017"/>
                <a:gd name="csY11" fmla="*/ 90577 h 1130146"/>
                <a:gd name="csX12" fmla="*/ 702304 w 1075017"/>
                <a:gd name="csY12" fmla="*/ 18895 h 1130146"/>
                <a:gd name="csX13" fmla="*/ 712660 w 1075017"/>
                <a:gd name="csY13" fmla="*/ 5201 h 1130146"/>
                <a:gd name="csX14" fmla="*/ 729028 w 1075017"/>
                <a:gd name="csY14" fmla="*/ 0 h 1130146"/>
                <a:gd name="csX15" fmla="*/ 745393 w 1075017"/>
                <a:gd name="csY15" fmla="*/ 5201 h 1130146"/>
                <a:gd name="csX16" fmla="*/ 755749 w 1075017"/>
                <a:gd name="csY16" fmla="*/ 18895 h 1130146"/>
                <a:gd name="csX17" fmla="*/ 779063 w 1075017"/>
                <a:gd name="csY17" fmla="*/ 90577 h 1130146"/>
                <a:gd name="csX18" fmla="*/ 814800 w 1075017"/>
                <a:gd name="csY18" fmla="*/ 148411 h 1130146"/>
                <a:gd name="csX19" fmla="*/ 872680 w 1075017"/>
                <a:gd name="csY19" fmla="*/ 184121 h 1130146"/>
                <a:gd name="csX20" fmla="*/ 944417 w 1075017"/>
                <a:gd name="csY20" fmla="*/ 207418 h 1130146"/>
                <a:gd name="csX21" fmla="*/ 945850 w 1075017"/>
                <a:gd name="csY21" fmla="*/ 207776 h 1130146"/>
                <a:gd name="csX22" fmla="*/ 959556 w 1075017"/>
                <a:gd name="csY22" fmla="*/ 218123 h 1130146"/>
                <a:gd name="csX23" fmla="*/ 964760 w 1075017"/>
                <a:gd name="csY23" fmla="*/ 234478 h 1130146"/>
                <a:gd name="csX24" fmla="*/ 959556 w 1075017"/>
                <a:gd name="csY24" fmla="*/ 250832 h 1130146"/>
                <a:gd name="csX25" fmla="*/ 945850 w 1075017"/>
                <a:gd name="csY25" fmla="*/ 261180 h 1130146"/>
                <a:gd name="csX26" fmla="*/ 874114 w 1075017"/>
                <a:gd name="csY26" fmla="*/ 284477 h 1130146"/>
                <a:gd name="csX27" fmla="*/ 816236 w 1075017"/>
                <a:gd name="csY27" fmla="*/ 320187 h 1130146"/>
                <a:gd name="csX28" fmla="*/ 780496 w 1075017"/>
                <a:gd name="csY28" fmla="*/ 378020 h 1130146"/>
                <a:gd name="csX29" fmla="*/ 757182 w 1075017"/>
                <a:gd name="csY29" fmla="*/ 449702 h 1130146"/>
                <a:gd name="csX30" fmla="*/ 756493 w 1075017"/>
                <a:gd name="csY30" fmla="*/ 451463 h 1130146"/>
                <a:gd name="csX31" fmla="*/ 746829 w 1075017"/>
                <a:gd name="csY31" fmla="*/ 463396 h 1130146"/>
                <a:gd name="csX32" fmla="*/ 730461 w 1075017"/>
                <a:gd name="csY32" fmla="*/ 468598 h 1130146"/>
                <a:gd name="csX33" fmla="*/ 714093 w 1075017"/>
                <a:gd name="csY33" fmla="*/ 463396 h 1130146"/>
                <a:gd name="csX34" fmla="*/ 703740 w 1075017"/>
                <a:gd name="csY34" fmla="*/ 449702 h 1130146"/>
                <a:gd name="csX35" fmla="*/ 680426 w 1075017"/>
                <a:gd name="csY35" fmla="*/ 378020 h 1130146"/>
                <a:gd name="csX36" fmla="*/ 656957 w 1075017"/>
                <a:gd name="csY36" fmla="*/ 333865 h 1130146"/>
                <a:gd name="csX37" fmla="*/ 1064248 w 1075017"/>
                <a:gd name="csY37" fmla="*/ 523277 h 1130146"/>
                <a:gd name="csX38" fmla="*/ 1026270 w 1075017"/>
                <a:gd name="csY38" fmla="*/ 510945 h 1130146"/>
                <a:gd name="csX39" fmla="*/ 995629 w 1075017"/>
                <a:gd name="csY39" fmla="*/ 492039 h 1130146"/>
                <a:gd name="csX40" fmla="*/ 976709 w 1075017"/>
                <a:gd name="csY40" fmla="*/ 461420 h 1130146"/>
                <a:gd name="csX41" fmla="*/ 964366 w 1075017"/>
                <a:gd name="csY41" fmla="*/ 423472 h 1130146"/>
                <a:gd name="csX42" fmla="*/ 958883 w 1075017"/>
                <a:gd name="csY42" fmla="*/ 416222 h 1130146"/>
                <a:gd name="csX43" fmla="*/ 950217 w 1075017"/>
                <a:gd name="csY43" fmla="*/ 413468 h 1130146"/>
                <a:gd name="csX44" fmla="*/ 941553 w 1075017"/>
                <a:gd name="csY44" fmla="*/ 416222 h 1130146"/>
                <a:gd name="csX45" fmla="*/ 936071 w 1075017"/>
                <a:gd name="csY45" fmla="*/ 423472 h 1130146"/>
                <a:gd name="csX46" fmla="*/ 923727 w 1075017"/>
                <a:gd name="csY46" fmla="*/ 461420 h 1130146"/>
                <a:gd name="csX47" fmla="*/ 905138 w 1075017"/>
                <a:gd name="csY47" fmla="*/ 491901 h 1130146"/>
                <a:gd name="csX48" fmla="*/ 874927 w 1075017"/>
                <a:gd name="csY48" fmla="*/ 510945 h 1130146"/>
                <a:gd name="csX49" fmla="*/ 836948 w 1075017"/>
                <a:gd name="csY49" fmla="*/ 523277 h 1130146"/>
                <a:gd name="csX50" fmla="*/ 829693 w 1075017"/>
                <a:gd name="csY50" fmla="*/ 528754 h 1130146"/>
                <a:gd name="csX51" fmla="*/ 826937 w 1075017"/>
                <a:gd name="csY51" fmla="*/ 537415 h 1130146"/>
                <a:gd name="csX52" fmla="*/ 829693 w 1075017"/>
                <a:gd name="csY52" fmla="*/ 546073 h 1130146"/>
                <a:gd name="csX53" fmla="*/ 836948 w 1075017"/>
                <a:gd name="csY53" fmla="*/ 551550 h 1130146"/>
                <a:gd name="csX54" fmla="*/ 874927 w 1075017"/>
                <a:gd name="csY54" fmla="*/ 563883 h 1130146"/>
                <a:gd name="csX55" fmla="*/ 886992 w 1075017"/>
                <a:gd name="csY55" fmla="*/ 569065 h 1130146"/>
                <a:gd name="csX56" fmla="*/ 887072 w 1075017"/>
                <a:gd name="csY56" fmla="*/ 569484 h 1130146"/>
                <a:gd name="csX57" fmla="*/ 905551 w 1075017"/>
                <a:gd name="csY57" fmla="*/ 583181 h 1130146"/>
                <a:gd name="csX58" fmla="*/ 924482 w 1075017"/>
                <a:gd name="csY58" fmla="*/ 613863 h 1130146"/>
                <a:gd name="csX59" fmla="*/ 936831 w 1075017"/>
                <a:gd name="csY59" fmla="*/ 651819 h 1130146"/>
                <a:gd name="csX60" fmla="*/ 942311 w 1075017"/>
                <a:gd name="csY60" fmla="*/ 659072 h 1130146"/>
                <a:gd name="csX61" fmla="*/ 950972 w 1075017"/>
                <a:gd name="csY61" fmla="*/ 661825 h 1130146"/>
                <a:gd name="csX62" fmla="*/ 959635 w 1075017"/>
                <a:gd name="csY62" fmla="*/ 659072 h 1130146"/>
                <a:gd name="csX63" fmla="*/ 964694 w 1075017"/>
                <a:gd name="csY63" fmla="*/ 652880 h 1130146"/>
                <a:gd name="csX64" fmla="*/ 964688 w 1075017"/>
                <a:gd name="csY64" fmla="*/ 652641 h 1130146"/>
                <a:gd name="csX65" fmla="*/ 965124 w 1075017"/>
                <a:gd name="csY65" fmla="*/ 651546 h 1130146"/>
                <a:gd name="csX66" fmla="*/ 977467 w 1075017"/>
                <a:gd name="csY66" fmla="*/ 613598 h 1130146"/>
                <a:gd name="csX67" fmla="*/ 996387 w 1075017"/>
                <a:gd name="csY67" fmla="*/ 582979 h 1130146"/>
                <a:gd name="csX68" fmla="*/ 1027028 w 1075017"/>
                <a:gd name="csY68" fmla="*/ 564073 h 1130146"/>
                <a:gd name="csX69" fmla="*/ 1065007 w 1075017"/>
                <a:gd name="csY69" fmla="*/ 551741 h 1130146"/>
                <a:gd name="csX70" fmla="*/ 1072262 w 1075017"/>
                <a:gd name="csY70" fmla="*/ 546264 h 1130146"/>
                <a:gd name="csX71" fmla="*/ 1075018 w 1075017"/>
                <a:gd name="csY71" fmla="*/ 537603 h 1130146"/>
                <a:gd name="csX72" fmla="*/ 1072262 w 1075017"/>
                <a:gd name="csY72" fmla="*/ 528945 h 1130146"/>
                <a:gd name="csX73" fmla="*/ 1065007 w 1075017"/>
                <a:gd name="csY73" fmla="*/ 523468 h 1130146"/>
                <a:gd name="csX74" fmla="*/ 1064248 w 1075017"/>
                <a:gd name="csY74" fmla="*/ 523277 h 1130146"/>
                <a:gd name="csX75" fmla="*/ 385904 w 1075017"/>
                <a:gd name="csY75" fmla="*/ 137823 h 1130146"/>
                <a:gd name="csX76" fmla="*/ 500316 w 1075017"/>
                <a:gd name="csY76" fmla="*/ 155066 h 1130146"/>
                <a:gd name="csX77" fmla="*/ 498188 w 1075017"/>
                <a:gd name="csY77" fmla="*/ 155752 h 1130146"/>
                <a:gd name="csX78" fmla="*/ 456566 w 1075017"/>
                <a:gd name="csY78" fmla="*/ 186625 h 1130146"/>
                <a:gd name="csX79" fmla="*/ 444233 w 1075017"/>
                <a:gd name="csY79" fmla="*/ 212089 h 1130146"/>
                <a:gd name="csX80" fmla="*/ 385904 w 1075017"/>
                <a:gd name="csY80" fmla="*/ 206734 h 1130146"/>
                <a:gd name="csX81" fmla="*/ 68911 w 1075017"/>
                <a:gd name="csY81" fmla="*/ 523727 h 1130146"/>
                <a:gd name="csX82" fmla="*/ 385904 w 1075017"/>
                <a:gd name="csY82" fmla="*/ 840719 h 1130146"/>
                <a:gd name="csX83" fmla="*/ 702896 w 1075017"/>
                <a:gd name="csY83" fmla="*/ 523727 h 1130146"/>
                <a:gd name="csX84" fmla="*/ 702847 w 1075017"/>
                <a:gd name="csY84" fmla="*/ 518054 h 1130146"/>
                <a:gd name="csX85" fmla="*/ 730971 w 1075017"/>
                <a:gd name="csY85" fmla="*/ 522985 h 1130146"/>
                <a:gd name="csX86" fmla="*/ 771642 w 1075017"/>
                <a:gd name="csY86" fmla="*/ 512293 h 1130146"/>
                <a:gd name="csX87" fmla="*/ 771808 w 1075017"/>
                <a:gd name="csY87" fmla="*/ 523727 h 1130146"/>
                <a:gd name="csX88" fmla="*/ 682060 w 1075017"/>
                <a:gd name="csY88" fmla="*/ 771154 h 1130146"/>
                <a:gd name="csX89" fmla="*/ 982233 w 1075017"/>
                <a:gd name="csY89" fmla="*/ 1071327 h 1130146"/>
                <a:gd name="csX90" fmla="*/ 982233 w 1075017"/>
                <a:gd name="csY90" fmla="*/ 1120056 h 1130146"/>
                <a:gd name="csX91" fmla="*/ 933507 w 1075017"/>
                <a:gd name="csY91" fmla="*/ 1120056 h 1130146"/>
                <a:gd name="csX92" fmla="*/ 633332 w 1075017"/>
                <a:gd name="csY92" fmla="*/ 819883 h 1130146"/>
                <a:gd name="csX93" fmla="*/ 385904 w 1075017"/>
                <a:gd name="csY93" fmla="*/ 909631 h 1130146"/>
                <a:gd name="csX94" fmla="*/ 0 w 1075017"/>
                <a:gd name="csY94" fmla="*/ 523727 h 1130146"/>
                <a:gd name="csX95" fmla="*/ 385904 w 1075017"/>
                <a:gd name="csY95" fmla="*/ 137823 h 113014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Lst>
              <a:rect l="l" t="t" r="r" b="b"/>
              <a:pathLst>
                <a:path w="1075017" h="1130146">
                  <a:moveTo>
                    <a:pt x="656957" y="333865"/>
                  </a:moveTo>
                  <a:cubicBezTo>
                    <a:pt x="653192" y="329000"/>
                    <a:pt x="649118" y="324363"/>
                    <a:pt x="644752" y="319983"/>
                  </a:cubicBezTo>
                  <a:cubicBezTo>
                    <a:pt x="628500" y="303679"/>
                    <a:pt x="608656" y="291399"/>
                    <a:pt x="586808" y="284119"/>
                  </a:cubicBezTo>
                  <a:lnTo>
                    <a:pt x="515071" y="260821"/>
                  </a:lnTo>
                  <a:cubicBezTo>
                    <a:pt x="509542" y="258873"/>
                    <a:pt x="504754" y="255256"/>
                    <a:pt x="501366" y="250474"/>
                  </a:cubicBezTo>
                  <a:cubicBezTo>
                    <a:pt x="497981" y="245693"/>
                    <a:pt x="496162" y="239978"/>
                    <a:pt x="496162" y="234120"/>
                  </a:cubicBezTo>
                  <a:cubicBezTo>
                    <a:pt x="496162" y="228261"/>
                    <a:pt x="497981" y="222547"/>
                    <a:pt x="501366" y="217764"/>
                  </a:cubicBezTo>
                  <a:cubicBezTo>
                    <a:pt x="504754" y="212982"/>
                    <a:pt x="509542" y="209367"/>
                    <a:pt x="515071" y="207418"/>
                  </a:cubicBezTo>
                  <a:lnTo>
                    <a:pt x="586808" y="184121"/>
                  </a:lnTo>
                  <a:cubicBezTo>
                    <a:pt x="608353" y="176688"/>
                    <a:pt x="627882" y="164376"/>
                    <a:pt x="643875" y="148148"/>
                  </a:cubicBezTo>
                  <a:cubicBezTo>
                    <a:pt x="659427" y="132365"/>
                    <a:pt x="671222" y="113294"/>
                    <a:pt x="678394" y="92351"/>
                  </a:cubicBezTo>
                  <a:lnTo>
                    <a:pt x="678990" y="90577"/>
                  </a:lnTo>
                  <a:lnTo>
                    <a:pt x="702304" y="18895"/>
                  </a:lnTo>
                  <a:cubicBezTo>
                    <a:pt x="704255" y="13370"/>
                    <a:pt x="707872" y="8586"/>
                    <a:pt x="712660" y="5201"/>
                  </a:cubicBezTo>
                  <a:cubicBezTo>
                    <a:pt x="717445" y="1817"/>
                    <a:pt x="723162" y="0"/>
                    <a:pt x="729028" y="0"/>
                  </a:cubicBezTo>
                  <a:cubicBezTo>
                    <a:pt x="734891" y="0"/>
                    <a:pt x="740607" y="1817"/>
                    <a:pt x="745393" y="5201"/>
                  </a:cubicBezTo>
                  <a:cubicBezTo>
                    <a:pt x="750181" y="8586"/>
                    <a:pt x="753797" y="13370"/>
                    <a:pt x="755749" y="18895"/>
                  </a:cubicBezTo>
                  <a:lnTo>
                    <a:pt x="779063" y="90577"/>
                  </a:lnTo>
                  <a:cubicBezTo>
                    <a:pt x="786312" y="112369"/>
                    <a:pt x="798548" y="132172"/>
                    <a:pt x="814800" y="148411"/>
                  </a:cubicBezTo>
                  <a:cubicBezTo>
                    <a:pt x="831052" y="164650"/>
                    <a:pt x="850868" y="176877"/>
                    <a:pt x="872680" y="184121"/>
                  </a:cubicBezTo>
                  <a:lnTo>
                    <a:pt x="944417" y="207418"/>
                  </a:lnTo>
                  <a:lnTo>
                    <a:pt x="945850" y="207776"/>
                  </a:lnTo>
                  <a:cubicBezTo>
                    <a:pt x="951380" y="209726"/>
                    <a:pt x="956168" y="213340"/>
                    <a:pt x="959556" y="218123"/>
                  </a:cubicBezTo>
                  <a:cubicBezTo>
                    <a:pt x="962940" y="222905"/>
                    <a:pt x="964760" y="228619"/>
                    <a:pt x="964760" y="234478"/>
                  </a:cubicBezTo>
                  <a:cubicBezTo>
                    <a:pt x="964760" y="240337"/>
                    <a:pt x="962940" y="246051"/>
                    <a:pt x="959556" y="250832"/>
                  </a:cubicBezTo>
                  <a:cubicBezTo>
                    <a:pt x="956168" y="255614"/>
                    <a:pt x="951380" y="259231"/>
                    <a:pt x="945850" y="261180"/>
                  </a:cubicBezTo>
                  <a:lnTo>
                    <a:pt x="874114" y="284477"/>
                  </a:lnTo>
                  <a:cubicBezTo>
                    <a:pt x="852305" y="291721"/>
                    <a:pt x="832486" y="303949"/>
                    <a:pt x="816236" y="320187"/>
                  </a:cubicBezTo>
                  <a:cubicBezTo>
                    <a:pt x="799984" y="336425"/>
                    <a:pt x="787748" y="356228"/>
                    <a:pt x="780496" y="378020"/>
                  </a:cubicBezTo>
                  <a:lnTo>
                    <a:pt x="757182" y="449702"/>
                  </a:lnTo>
                  <a:cubicBezTo>
                    <a:pt x="756973" y="450300"/>
                    <a:pt x="756744" y="450887"/>
                    <a:pt x="756493" y="451463"/>
                  </a:cubicBezTo>
                  <a:cubicBezTo>
                    <a:pt x="754439" y="456243"/>
                    <a:pt x="751099" y="460378"/>
                    <a:pt x="746829" y="463396"/>
                  </a:cubicBezTo>
                  <a:cubicBezTo>
                    <a:pt x="742044" y="466781"/>
                    <a:pt x="736324" y="468598"/>
                    <a:pt x="730461" y="468598"/>
                  </a:cubicBezTo>
                  <a:cubicBezTo>
                    <a:pt x="724598" y="468598"/>
                    <a:pt x="718878" y="466781"/>
                    <a:pt x="714093" y="463396"/>
                  </a:cubicBezTo>
                  <a:cubicBezTo>
                    <a:pt x="709308" y="460011"/>
                    <a:pt x="705689" y="455229"/>
                    <a:pt x="703740" y="449702"/>
                  </a:cubicBezTo>
                  <a:lnTo>
                    <a:pt x="680426" y="378020"/>
                  </a:lnTo>
                  <a:cubicBezTo>
                    <a:pt x="675158" y="362033"/>
                    <a:pt x="667209" y="347107"/>
                    <a:pt x="656957" y="333865"/>
                  </a:cubicBezTo>
                  <a:close/>
                  <a:moveTo>
                    <a:pt x="1064248" y="523277"/>
                  </a:moveTo>
                  <a:lnTo>
                    <a:pt x="1026270" y="510945"/>
                  </a:lnTo>
                  <a:cubicBezTo>
                    <a:pt x="1014723" y="507108"/>
                    <a:pt x="1004232" y="500636"/>
                    <a:pt x="995629" y="492039"/>
                  </a:cubicBezTo>
                  <a:cubicBezTo>
                    <a:pt x="987024" y="483441"/>
                    <a:pt x="980546" y="472958"/>
                    <a:pt x="976709" y="461420"/>
                  </a:cubicBezTo>
                  <a:lnTo>
                    <a:pt x="964366" y="423472"/>
                  </a:lnTo>
                  <a:cubicBezTo>
                    <a:pt x="963332" y="420547"/>
                    <a:pt x="961416" y="418014"/>
                    <a:pt x="958883" y="416222"/>
                  </a:cubicBezTo>
                  <a:cubicBezTo>
                    <a:pt x="956350" y="414430"/>
                    <a:pt x="953323" y="413468"/>
                    <a:pt x="950217" y="413468"/>
                  </a:cubicBezTo>
                  <a:cubicBezTo>
                    <a:pt x="947113" y="413468"/>
                    <a:pt x="944086" y="414430"/>
                    <a:pt x="941553" y="416222"/>
                  </a:cubicBezTo>
                  <a:cubicBezTo>
                    <a:pt x="939020" y="418014"/>
                    <a:pt x="937104" y="420547"/>
                    <a:pt x="936071" y="423472"/>
                  </a:cubicBezTo>
                  <a:lnTo>
                    <a:pt x="923727" y="461420"/>
                  </a:lnTo>
                  <a:cubicBezTo>
                    <a:pt x="919967" y="472878"/>
                    <a:pt x="913603" y="483309"/>
                    <a:pt x="905138" y="491901"/>
                  </a:cubicBezTo>
                  <a:cubicBezTo>
                    <a:pt x="896672" y="500493"/>
                    <a:pt x="886330" y="507009"/>
                    <a:pt x="874927" y="510945"/>
                  </a:cubicBezTo>
                  <a:lnTo>
                    <a:pt x="836948" y="523277"/>
                  </a:lnTo>
                  <a:cubicBezTo>
                    <a:pt x="834021" y="524311"/>
                    <a:pt x="831485" y="526224"/>
                    <a:pt x="829693" y="528754"/>
                  </a:cubicBezTo>
                  <a:cubicBezTo>
                    <a:pt x="827899" y="531288"/>
                    <a:pt x="826937" y="534312"/>
                    <a:pt x="826937" y="537415"/>
                  </a:cubicBezTo>
                  <a:cubicBezTo>
                    <a:pt x="826937" y="540516"/>
                    <a:pt x="827899" y="543540"/>
                    <a:pt x="829693" y="546073"/>
                  </a:cubicBezTo>
                  <a:cubicBezTo>
                    <a:pt x="831485" y="548604"/>
                    <a:pt x="834021" y="550519"/>
                    <a:pt x="836948" y="551550"/>
                  </a:cubicBezTo>
                  <a:lnTo>
                    <a:pt x="874927" y="563883"/>
                  </a:lnTo>
                  <a:cubicBezTo>
                    <a:pt x="879100" y="565275"/>
                    <a:pt x="883133" y="567009"/>
                    <a:pt x="886992" y="569065"/>
                  </a:cubicBezTo>
                  <a:lnTo>
                    <a:pt x="887072" y="569484"/>
                  </a:lnTo>
                  <a:cubicBezTo>
                    <a:pt x="893853" y="573103"/>
                    <a:pt x="900082" y="577712"/>
                    <a:pt x="905551" y="583181"/>
                  </a:cubicBezTo>
                  <a:cubicBezTo>
                    <a:pt x="914165" y="591795"/>
                    <a:pt x="920648" y="602300"/>
                    <a:pt x="924482" y="613863"/>
                  </a:cubicBezTo>
                  <a:lnTo>
                    <a:pt x="936831" y="651819"/>
                  </a:lnTo>
                  <a:cubicBezTo>
                    <a:pt x="937865" y="654744"/>
                    <a:pt x="939778" y="657277"/>
                    <a:pt x="942311" y="659072"/>
                  </a:cubicBezTo>
                  <a:cubicBezTo>
                    <a:pt x="944844" y="660863"/>
                    <a:pt x="947871" y="661825"/>
                    <a:pt x="950972" y="661825"/>
                  </a:cubicBezTo>
                  <a:cubicBezTo>
                    <a:pt x="954076" y="661825"/>
                    <a:pt x="957102" y="660863"/>
                    <a:pt x="959635" y="659072"/>
                  </a:cubicBezTo>
                  <a:cubicBezTo>
                    <a:pt x="961854" y="657500"/>
                    <a:pt x="963602" y="655359"/>
                    <a:pt x="964694" y="652880"/>
                  </a:cubicBezTo>
                  <a:lnTo>
                    <a:pt x="964688" y="652641"/>
                  </a:lnTo>
                  <a:cubicBezTo>
                    <a:pt x="964848" y="652282"/>
                    <a:pt x="964994" y="651918"/>
                    <a:pt x="965124" y="651546"/>
                  </a:cubicBezTo>
                  <a:lnTo>
                    <a:pt x="977467" y="613598"/>
                  </a:lnTo>
                  <a:cubicBezTo>
                    <a:pt x="981307" y="602060"/>
                    <a:pt x="987784" y="591577"/>
                    <a:pt x="996387" y="582979"/>
                  </a:cubicBezTo>
                  <a:cubicBezTo>
                    <a:pt x="1004990" y="574382"/>
                    <a:pt x="1015484" y="567910"/>
                    <a:pt x="1027028" y="564073"/>
                  </a:cubicBezTo>
                  <a:lnTo>
                    <a:pt x="1065007" y="551741"/>
                  </a:lnTo>
                  <a:cubicBezTo>
                    <a:pt x="1067934" y="550707"/>
                    <a:pt x="1070470" y="548794"/>
                    <a:pt x="1072262" y="546264"/>
                  </a:cubicBezTo>
                  <a:cubicBezTo>
                    <a:pt x="1074056" y="543730"/>
                    <a:pt x="1075018" y="540706"/>
                    <a:pt x="1075018" y="537603"/>
                  </a:cubicBezTo>
                  <a:cubicBezTo>
                    <a:pt x="1075018" y="534502"/>
                    <a:pt x="1074056" y="531478"/>
                    <a:pt x="1072262" y="528945"/>
                  </a:cubicBezTo>
                  <a:cubicBezTo>
                    <a:pt x="1070470" y="526414"/>
                    <a:pt x="1067934" y="524499"/>
                    <a:pt x="1065007" y="523468"/>
                  </a:cubicBezTo>
                  <a:lnTo>
                    <a:pt x="1064248" y="523277"/>
                  </a:lnTo>
                  <a:close/>
                  <a:moveTo>
                    <a:pt x="385904" y="137823"/>
                  </a:moveTo>
                  <a:cubicBezTo>
                    <a:pt x="425740" y="137823"/>
                    <a:pt x="464165" y="143859"/>
                    <a:pt x="500316" y="155066"/>
                  </a:cubicBezTo>
                  <a:lnTo>
                    <a:pt x="498188" y="155752"/>
                  </a:lnTo>
                  <a:cubicBezTo>
                    <a:pt x="481437" y="161454"/>
                    <a:pt x="466883" y="172247"/>
                    <a:pt x="456566" y="186625"/>
                  </a:cubicBezTo>
                  <a:cubicBezTo>
                    <a:pt x="451009" y="194361"/>
                    <a:pt x="446844" y="202979"/>
                    <a:pt x="444233" y="212089"/>
                  </a:cubicBezTo>
                  <a:cubicBezTo>
                    <a:pt x="425327" y="208573"/>
                    <a:pt x="405830" y="206734"/>
                    <a:pt x="385904" y="206734"/>
                  </a:cubicBezTo>
                  <a:cubicBezTo>
                    <a:pt x="210833" y="206734"/>
                    <a:pt x="68911" y="348656"/>
                    <a:pt x="68911" y="523727"/>
                  </a:cubicBezTo>
                  <a:cubicBezTo>
                    <a:pt x="68911" y="698798"/>
                    <a:pt x="210833" y="840719"/>
                    <a:pt x="385904" y="840719"/>
                  </a:cubicBezTo>
                  <a:cubicBezTo>
                    <a:pt x="560975" y="840719"/>
                    <a:pt x="702896" y="698798"/>
                    <a:pt x="702896" y="523727"/>
                  </a:cubicBezTo>
                  <a:cubicBezTo>
                    <a:pt x="702896" y="521833"/>
                    <a:pt x="702880" y="519942"/>
                    <a:pt x="702847" y="518054"/>
                  </a:cubicBezTo>
                  <a:cubicBezTo>
                    <a:pt x="711814" y="521296"/>
                    <a:pt x="721326" y="522985"/>
                    <a:pt x="730971" y="522985"/>
                  </a:cubicBezTo>
                  <a:cubicBezTo>
                    <a:pt x="745271" y="522985"/>
                    <a:pt x="759274" y="519278"/>
                    <a:pt x="771642" y="512293"/>
                  </a:cubicBezTo>
                  <a:cubicBezTo>
                    <a:pt x="771753" y="516091"/>
                    <a:pt x="771808" y="519901"/>
                    <a:pt x="771808" y="523727"/>
                  </a:cubicBezTo>
                  <a:cubicBezTo>
                    <a:pt x="771808" y="617884"/>
                    <a:pt x="738085" y="704167"/>
                    <a:pt x="682060" y="771154"/>
                  </a:cubicBezTo>
                  <a:lnTo>
                    <a:pt x="982233" y="1071327"/>
                  </a:lnTo>
                  <a:cubicBezTo>
                    <a:pt x="995690" y="1084784"/>
                    <a:pt x="995690" y="1106599"/>
                    <a:pt x="982233" y="1120056"/>
                  </a:cubicBezTo>
                  <a:cubicBezTo>
                    <a:pt x="968779" y="1133510"/>
                    <a:pt x="946961" y="1133510"/>
                    <a:pt x="933507" y="1120056"/>
                  </a:cubicBezTo>
                  <a:lnTo>
                    <a:pt x="633332" y="819883"/>
                  </a:lnTo>
                  <a:cubicBezTo>
                    <a:pt x="566344" y="875908"/>
                    <a:pt x="480062" y="909631"/>
                    <a:pt x="385904" y="909631"/>
                  </a:cubicBezTo>
                  <a:cubicBezTo>
                    <a:pt x="172775" y="909631"/>
                    <a:pt x="0" y="736856"/>
                    <a:pt x="0" y="523727"/>
                  </a:cubicBezTo>
                  <a:cubicBezTo>
                    <a:pt x="0" y="310597"/>
                    <a:pt x="172775" y="137823"/>
                    <a:pt x="385904" y="137823"/>
                  </a:cubicBezTo>
                  <a:close/>
                </a:path>
              </a:pathLst>
            </a:custGeom>
            <a:solidFill>
              <a:schemeClr val="tx1"/>
            </a:solidFill>
            <a:ln w="2738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138B3A30-AE2E-9CEF-5145-161925BDCDF2}"/>
              </a:ext>
              <a:ext uri="{C183D7F6-B498-43B3-948B-1728B52AA6E4}">
                <adec:decorative xmlns:adec="http://schemas.microsoft.com/office/drawing/2017/decorative" val="1"/>
              </a:ext>
            </a:extLst>
          </p:cNvPr>
          <p:cNvGrpSpPr/>
          <p:nvPr/>
        </p:nvGrpSpPr>
        <p:grpSpPr>
          <a:xfrm>
            <a:off x="3588713" y="3794163"/>
            <a:ext cx="654710" cy="654710"/>
            <a:chOff x="3588713" y="4316018"/>
            <a:chExt cx="654710" cy="654710"/>
          </a:xfrm>
        </p:grpSpPr>
        <p:sp>
          <p:nvSpPr>
            <p:cNvPr id="167" name="Box">
              <a:extLst>
                <a:ext uri="{FF2B5EF4-FFF2-40B4-BE49-F238E27FC236}">
                  <a16:creationId xmlns:a16="http://schemas.microsoft.com/office/drawing/2014/main" id="{8B357BD9-40DB-37D1-C93E-48612B7E14BC}"/>
                </a:ext>
                <a:ext uri="{C183D7F6-B498-43B3-948B-1728B52AA6E4}">
                  <adec:decorative xmlns:adec="http://schemas.microsoft.com/office/drawing/2017/decorative" val="1"/>
                </a:ext>
              </a:extLst>
            </p:cNvPr>
            <p:cNvSpPr>
              <a:spLocks noChangeAspect="1"/>
            </p:cNvSpPr>
            <p:nvPr/>
          </p:nvSpPr>
          <p:spPr bwMode="auto">
            <a:xfrm>
              <a:off x="358871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6" name="Graphic 152">
              <a:extLst>
                <a:ext uri="{FF2B5EF4-FFF2-40B4-BE49-F238E27FC236}">
                  <a16:creationId xmlns:a16="http://schemas.microsoft.com/office/drawing/2014/main" id="{FD74AAA8-364A-47AF-E318-5F850092A991}"/>
                </a:ext>
              </a:extLst>
            </p:cNvPr>
            <p:cNvSpPr/>
            <p:nvPr/>
          </p:nvSpPr>
          <p:spPr>
            <a:xfrm>
              <a:off x="3727066" y="4492126"/>
              <a:ext cx="378004" cy="302496"/>
            </a:xfrm>
            <a:custGeom>
              <a:avLst/>
              <a:gdLst>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398507 w 1028405"/>
                <a:gd name="csY18" fmla="*/ 437072 h 822981"/>
                <a:gd name="csX19" fmla="*/ 437072 w 1028405"/>
                <a:gd name="csY19" fmla="*/ 475637 h 822981"/>
                <a:gd name="csX20" fmla="*/ 437072 w 1028405"/>
                <a:gd name="csY20" fmla="*/ 500988 h 822981"/>
                <a:gd name="csX21" fmla="*/ 436661 w 1028405"/>
                <a:gd name="csY21" fmla="*/ 506541 h 822981"/>
                <a:gd name="csX22" fmla="*/ 308522 w 1028405"/>
                <a:gd name="csY22" fmla="*/ 591384 h 822981"/>
                <a:gd name="csX23" fmla="*/ 180382 w 1028405"/>
                <a:gd name="csY23" fmla="*/ 506541 h 822981"/>
                <a:gd name="csX24" fmla="*/ 179971 w 1028405"/>
                <a:gd name="csY24" fmla="*/ 500885 h 822981"/>
                <a:gd name="csX25" fmla="*/ 179971 w 1028405"/>
                <a:gd name="csY25" fmla="*/ 475637 h 822981"/>
                <a:gd name="csX26" fmla="*/ 218536 w 1028405"/>
                <a:gd name="csY26" fmla="*/ 437072 h 822981"/>
                <a:gd name="csX27" fmla="*/ 398507 w 1028405"/>
                <a:gd name="csY27" fmla="*/ 437072 h 822981"/>
                <a:gd name="csX28" fmla="*/ 578581 w 1028405"/>
                <a:gd name="csY28" fmla="*/ 462577 h 822981"/>
                <a:gd name="csX29" fmla="*/ 809869 w 1028405"/>
                <a:gd name="csY29" fmla="*/ 462577 h 822981"/>
                <a:gd name="csX30" fmla="*/ 848424 w 1028405"/>
                <a:gd name="csY30" fmla="*/ 501152 h 822981"/>
                <a:gd name="csX31" fmla="*/ 815114 w 1028405"/>
                <a:gd name="csY31" fmla="*/ 539347 h 822981"/>
                <a:gd name="csX32" fmla="*/ 809869 w 1028405"/>
                <a:gd name="csY32" fmla="*/ 539707 h 822981"/>
                <a:gd name="csX33" fmla="*/ 578581 w 1028405"/>
                <a:gd name="csY33" fmla="*/ 539707 h 822981"/>
                <a:gd name="csX34" fmla="*/ 540026 w 1028405"/>
                <a:gd name="csY34" fmla="*/ 501131 h 822981"/>
                <a:gd name="csX35" fmla="*/ 573336 w 1028405"/>
                <a:gd name="csY35" fmla="*/ 462937 h 822981"/>
                <a:gd name="csX36" fmla="*/ 578581 w 1028405"/>
                <a:gd name="csY36" fmla="*/ 462577 h 822981"/>
                <a:gd name="csX37" fmla="*/ 809869 w 1028405"/>
                <a:gd name="csY37" fmla="*/ 462577 h 822981"/>
                <a:gd name="csX38" fmla="*/ 578581 w 1028405"/>
                <a:gd name="csY38" fmla="*/ 462577 h 822981"/>
                <a:gd name="csX39" fmla="*/ 308522 w 1028405"/>
                <a:gd name="csY39" fmla="*/ 231494 h 822981"/>
                <a:gd name="csX40" fmla="*/ 385652 w 1028405"/>
                <a:gd name="csY40" fmla="*/ 308624 h 822981"/>
                <a:gd name="csX41" fmla="*/ 308522 w 1028405"/>
                <a:gd name="csY41" fmla="*/ 385755 h 822981"/>
                <a:gd name="csX42" fmla="*/ 231391 w 1028405"/>
                <a:gd name="csY42" fmla="*/ 308624 h 822981"/>
                <a:gd name="csX43" fmla="*/ 308522 w 1028405"/>
                <a:gd name="csY43" fmla="*/ 231494 h 822981"/>
                <a:gd name="csX44" fmla="*/ 578581 w 1028405"/>
                <a:gd name="csY44" fmla="*/ 282811 h 822981"/>
                <a:gd name="csX45" fmla="*/ 809869 w 1028405"/>
                <a:gd name="csY45" fmla="*/ 282811 h 822981"/>
                <a:gd name="csX46" fmla="*/ 848424 w 1028405"/>
                <a:gd name="csY46" fmla="*/ 321387 h 822981"/>
                <a:gd name="csX47" fmla="*/ 815114 w 1028405"/>
                <a:gd name="csY47" fmla="*/ 359582 h 822981"/>
                <a:gd name="csX48" fmla="*/ 809869 w 1028405"/>
                <a:gd name="csY48" fmla="*/ 359942 h 822981"/>
                <a:gd name="csX49" fmla="*/ 578581 w 1028405"/>
                <a:gd name="csY49" fmla="*/ 359942 h 822981"/>
                <a:gd name="csX50" fmla="*/ 540026 w 1028405"/>
                <a:gd name="csY50" fmla="*/ 321366 h 822981"/>
                <a:gd name="csX51" fmla="*/ 573336 w 1028405"/>
                <a:gd name="csY51" fmla="*/ 283171 h 822981"/>
                <a:gd name="csX52" fmla="*/ 578581 w 1028405"/>
                <a:gd name="csY52" fmla="*/ 282811 h 822981"/>
                <a:gd name="csX53" fmla="*/ 809869 w 1028405"/>
                <a:gd name="csY53" fmla="*/ 282811 h 822981"/>
                <a:gd name="csX54" fmla="*/ 578581 w 1028405"/>
                <a:gd name="csY54" fmla="*/ 282811 h 82298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Lst>
              <a:rect l="l" t="t" r="r" b="b"/>
              <a:pathLst>
                <a:path w="1028405" h="822981">
                  <a:moveTo>
                    <a:pt x="912709" y="0"/>
                  </a:moveTo>
                  <a:cubicBezTo>
                    <a:pt x="976604" y="0"/>
                    <a:pt x="1028405" y="51799"/>
                    <a:pt x="1028405" y="115696"/>
                  </a:cubicBezTo>
                  <a:lnTo>
                    <a:pt x="1028405" y="707286"/>
                  </a:lnTo>
                  <a:cubicBezTo>
                    <a:pt x="1028405" y="771180"/>
                    <a:pt x="976604" y="822981"/>
                    <a:pt x="912709" y="822981"/>
                  </a:cubicBezTo>
                  <a:lnTo>
                    <a:pt x="115696" y="822981"/>
                  </a:lnTo>
                  <a:cubicBezTo>
                    <a:pt x="51799" y="822981"/>
                    <a:pt x="0" y="771180"/>
                    <a:pt x="0" y="707286"/>
                  </a:cubicBezTo>
                  <a:lnTo>
                    <a:pt x="0" y="115696"/>
                  </a:lnTo>
                  <a:cubicBezTo>
                    <a:pt x="0" y="51799"/>
                    <a:pt x="51799" y="0"/>
                    <a:pt x="115696" y="0"/>
                  </a:cubicBezTo>
                  <a:lnTo>
                    <a:pt x="912709" y="0"/>
                  </a:lnTo>
                  <a:close/>
                  <a:moveTo>
                    <a:pt x="912709" y="77130"/>
                  </a:moveTo>
                  <a:lnTo>
                    <a:pt x="115696" y="77130"/>
                  </a:lnTo>
                  <a:cubicBezTo>
                    <a:pt x="94397" y="77130"/>
                    <a:pt x="77130" y="94397"/>
                    <a:pt x="77130" y="115696"/>
                  </a:cubicBezTo>
                  <a:lnTo>
                    <a:pt x="77130" y="707286"/>
                  </a:lnTo>
                  <a:cubicBezTo>
                    <a:pt x="77130" y="728574"/>
                    <a:pt x="94408" y="745851"/>
                    <a:pt x="115696" y="745851"/>
                  </a:cubicBezTo>
                  <a:lnTo>
                    <a:pt x="912709" y="745851"/>
                  </a:lnTo>
                  <a:cubicBezTo>
                    <a:pt x="934008" y="745851"/>
                    <a:pt x="951275" y="728584"/>
                    <a:pt x="951275" y="707286"/>
                  </a:cubicBezTo>
                  <a:lnTo>
                    <a:pt x="951275" y="115696"/>
                  </a:lnTo>
                  <a:cubicBezTo>
                    <a:pt x="951275" y="94397"/>
                    <a:pt x="934008" y="77130"/>
                    <a:pt x="912709" y="77130"/>
                  </a:cubicBezTo>
                  <a:close/>
                  <a:moveTo>
                    <a:pt x="398507" y="437072"/>
                  </a:moveTo>
                  <a:cubicBezTo>
                    <a:pt x="419805" y="437072"/>
                    <a:pt x="437072" y="454339"/>
                    <a:pt x="437072" y="475637"/>
                  </a:cubicBezTo>
                  <a:lnTo>
                    <a:pt x="437072" y="500988"/>
                  </a:lnTo>
                  <a:lnTo>
                    <a:pt x="436661" y="506541"/>
                  </a:lnTo>
                  <a:cubicBezTo>
                    <a:pt x="428279" y="563772"/>
                    <a:pt x="380407" y="591384"/>
                    <a:pt x="308522" y="591384"/>
                  </a:cubicBezTo>
                  <a:cubicBezTo>
                    <a:pt x="236636" y="591384"/>
                    <a:pt x="188712" y="563772"/>
                    <a:pt x="180382" y="506541"/>
                  </a:cubicBezTo>
                  <a:lnTo>
                    <a:pt x="179971" y="500885"/>
                  </a:lnTo>
                  <a:lnTo>
                    <a:pt x="179971" y="475637"/>
                  </a:lnTo>
                  <a:cubicBezTo>
                    <a:pt x="179971" y="454339"/>
                    <a:pt x="197237" y="437072"/>
                    <a:pt x="218536" y="437072"/>
                  </a:cubicBezTo>
                  <a:lnTo>
                    <a:pt x="398507" y="437072"/>
                  </a:lnTo>
                  <a:close/>
                  <a:moveTo>
                    <a:pt x="578581" y="462577"/>
                  </a:moveTo>
                  <a:lnTo>
                    <a:pt x="809869" y="462577"/>
                  </a:lnTo>
                  <a:cubicBezTo>
                    <a:pt x="831167" y="462582"/>
                    <a:pt x="848429" y="479854"/>
                    <a:pt x="848424" y="501152"/>
                  </a:cubicBezTo>
                  <a:cubicBezTo>
                    <a:pt x="848419" y="520419"/>
                    <a:pt x="834196" y="536719"/>
                    <a:pt x="815114" y="539347"/>
                  </a:cubicBezTo>
                  <a:lnTo>
                    <a:pt x="809869" y="539707"/>
                  </a:lnTo>
                  <a:lnTo>
                    <a:pt x="578581" y="539707"/>
                  </a:lnTo>
                  <a:cubicBezTo>
                    <a:pt x="557282" y="539702"/>
                    <a:pt x="540021" y="522430"/>
                    <a:pt x="540026" y="501131"/>
                  </a:cubicBezTo>
                  <a:cubicBezTo>
                    <a:pt x="540031" y="481864"/>
                    <a:pt x="554254" y="465564"/>
                    <a:pt x="573336" y="462937"/>
                  </a:cubicBezTo>
                  <a:lnTo>
                    <a:pt x="578581" y="462577"/>
                  </a:lnTo>
                  <a:lnTo>
                    <a:pt x="809869" y="462577"/>
                  </a:lnTo>
                  <a:lnTo>
                    <a:pt x="578581" y="462577"/>
                  </a:lnTo>
                  <a:close/>
                  <a:moveTo>
                    <a:pt x="308522" y="231494"/>
                  </a:moveTo>
                  <a:cubicBezTo>
                    <a:pt x="351120" y="231494"/>
                    <a:pt x="385652" y="266026"/>
                    <a:pt x="385652" y="308624"/>
                  </a:cubicBezTo>
                  <a:cubicBezTo>
                    <a:pt x="385652" y="351221"/>
                    <a:pt x="351120" y="385755"/>
                    <a:pt x="308522" y="385755"/>
                  </a:cubicBezTo>
                  <a:cubicBezTo>
                    <a:pt x="265923" y="385755"/>
                    <a:pt x="231391" y="351221"/>
                    <a:pt x="231391" y="308624"/>
                  </a:cubicBezTo>
                  <a:cubicBezTo>
                    <a:pt x="231391" y="266026"/>
                    <a:pt x="265923" y="231494"/>
                    <a:pt x="308522" y="231494"/>
                  </a:cubicBezTo>
                  <a:close/>
                  <a:moveTo>
                    <a:pt x="578581" y="282811"/>
                  </a:moveTo>
                  <a:lnTo>
                    <a:pt x="809869" y="282811"/>
                  </a:lnTo>
                  <a:cubicBezTo>
                    <a:pt x="831167" y="282818"/>
                    <a:pt x="848429" y="300090"/>
                    <a:pt x="848424" y="321387"/>
                  </a:cubicBezTo>
                  <a:cubicBezTo>
                    <a:pt x="848419" y="340654"/>
                    <a:pt x="834196" y="356954"/>
                    <a:pt x="815114" y="359582"/>
                  </a:cubicBezTo>
                  <a:lnTo>
                    <a:pt x="809869" y="359942"/>
                  </a:lnTo>
                  <a:lnTo>
                    <a:pt x="578581" y="359942"/>
                  </a:lnTo>
                  <a:cubicBezTo>
                    <a:pt x="557282" y="359937"/>
                    <a:pt x="540021" y="342665"/>
                    <a:pt x="540026" y="321366"/>
                  </a:cubicBezTo>
                  <a:cubicBezTo>
                    <a:pt x="540031" y="302102"/>
                    <a:pt x="554254" y="285797"/>
                    <a:pt x="573336" y="283171"/>
                  </a:cubicBezTo>
                  <a:lnTo>
                    <a:pt x="578581" y="282811"/>
                  </a:lnTo>
                  <a:lnTo>
                    <a:pt x="809869" y="282811"/>
                  </a:lnTo>
                  <a:lnTo>
                    <a:pt x="578581" y="282811"/>
                  </a:lnTo>
                  <a:close/>
                </a:path>
              </a:pathLst>
            </a:custGeom>
            <a:solidFill>
              <a:schemeClr val="tx1"/>
            </a:solidFill>
            <a:ln w="54372"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6873F8DA-B4C6-0598-6421-3FCACBFAD7B1}"/>
              </a:ext>
              <a:ext uri="{C183D7F6-B498-43B3-948B-1728B52AA6E4}">
                <adec:decorative xmlns:adec="http://schemas.microsoft.com/office/drawing/2017/decorative" val="1"/>
              </a:ext>
            </a:extLst>
          </p:cNvPr>
          <p:cNvGrpSpPr/>
          <p:nvPr/>
        </p:nvGrpSpPr>
        <p:grpSpPr>
          <a:xfrm>
            <a:off x="10128503" y="3742574"/>
            <a:ext cx="654710" cy="654710"/>
            <a:chOff x="10128503" y="4316018"/>
            <a:chExt cx="654710" cy="654710"/>
          </a:xfrm>
        </p:grpSpPr>
        <p:sp>
          <p:nvSpPr>
            <p:cNvPr id="170" name="Box">
              <a:extLst>
                <a:ext uri="{FF2B5EF4-FFF2-40B4-BE49-F238E27FC236}">
                  <a16:creationId xmlns:a16="http://schemas.microsoft.com/office/drawing/2014/main" id="{4B0461D8-3DFB-B9C5-CB84-69B54DD4FB75}"/>
                </a:ext>
                <a:ext uri="{C183D7F6-B498-43B3-948B-1728B52AA6E4}">
                  <adec:decorative xmlns:adec="http://schemas.microsoft.com/office/drawing/2017/decorative" val="1"/>
                </a:ext>
              </a:extLst>
            </p:cNvPr>
            <p:cNvSpPr>
              <a:spLocks noChangeAspect="1"/>
            </p:cNvSpPr>
            <p:nvPr/>
          </p:nvSpPr>
          <p:spPr bwMode="auto">
            <a:xfrm>
              <a:off x="10128503" y="4316018"/>
              <a:ext cx="654710" cy="654710"/>
            </a:xfrm>
            <a:prstGeom prst="roundRect">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7" name="Graphic 140">
              <a:extLst>
                <a:ext uri="{FF2B5EF4-FFF2-40B4-BE49-F238E27FC236}">
                  <a16:creationId xmlns:a16="http://schemas.microsoft.com/office/drawing/2014/main" id="{68FA45F6-83CF-ED69-56FF-E80B453B16DB}"/>
                </a:ext>
              </a:extLst>
            </p:cNvPr>
            <p:cNvSpPr/>
            <p:nvPr/>
          </p:nvSpPr>
          <p:spPr>
            <a:xfrm>
              <a:off x="10312238" y="4483794"/>
              <a:ext cx="287240" cy="319158"/>
            </a:xfrm>
            <a:custGeom>
              <a:avLst/>
              <a:gdLst>
                <a:gd name="csX0" fmla="*/ 0 w 859618"/>
                <a:gd name="csY0" fmla="*/ 179087 h 955142"/>
                <a:gd name="csX1" fmla="*/ 35817 w 859618"/>
                <a:gd name="csY1" fmla="*/ 143270 h 955142"/>
                <a:gd name="csX2" fmla="*/ 408319 w 859618"/>
                <a:gd name="csY2" fmla="*/ 7163 h 955142"/>
                <a:gd name="csX3" fmla="*/ 451300 w 859618"/>
                <a:gd name="csY3" fmla="*/ 7163 h 955142"/>
                <a:gd name="csX4" fmla="*/ 823801 w 859618"/>
                <a:gd name="csY4" fmla="*/ 143270 h 955142"/>
                <a:gd name="csX5" fmla="*/ 859619 w 859618"/>
                <a:gd name="csY5" fmla="*/ 179087 h 955142"/>
                <a:gd name="csX6" fmla="*/ 859619 w 859618"/>
                <a:gd name="csY6" fmla="*/ 429809 h 955142"/>
                <a:gd name="csX7" fmla="*/ 442942 w 859618"/>
                <a:gd name="csY7" fmla="*/ 952648 h 955142"/>
                <a:gd name="csX8" fmla="*/ 416676 w 859618"/>
                <a:gd name="csY8" fmla="*/ 952648 h 955142"/>
                <a:gd name="csX9" fmla="*/ 0 w 859618"/>
                <a:gd name="csY9" fmla="*/ 429809 h 955142"/>
                <a:gd name="csX10" fmla="*/ 0 w 859618"/>
                <a:gd name="csY10" fmla="*/ 179087 h 955142"/>
                <a:gd name="csX11" fmla="*/ 71635 w 859618"/>
                <a:gd name="csY11" fmla="*/ 213854 h 955142"/>
                <a:gd name="csX12" fmla="*/ 71635 w 859618"/>
                <a:gd name="csY12" fmla="*/ 429809 h 955142"/>
                <a:gd name="csX13" fmla="*/ 429809 w 859618"/>
                <a:gd name="csY13" fmla="*/ 880727 h 955142"/>
                <a:gd name="csX14" fmla="*/ 787984 w 859618"/>
                <a:gd name="csY14" fmla="*/ 429809 h 955142"/>
                <a:gd name="csX15" fmla="*/ 787984 w 859618"/>
                <a:gd name="csY15" fmla="*/ 213854 h 955142"/>
                <a:gd name="csX16" fmla="*/ 429809 w 859618"/>
                <a:gd name="csY16" fmla="*/ 80136 h 955142"/>
                <a:gd name="csX17" fmla="*/ 71635 w 859618"/>
                <a:gd name="csY17" fmla="*/ 213854 h 95514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859618" h="955142">
                  <a:moveTo>
                    <a:pt x="0" y="179087"/>
                  </a:moveTo>
                  <a:cubicBezTo>
                    <a:pt x="0" y="159306"/>
                    <a:pt x="16036" y="143270"/>
                    <a:pt x="35817" y="143270"/>
                  </a:cubicBezTo>
                  <a:cubicBezTo>
                    <a:pt x="162993" y="143270"/>
                    <a:pt x="286922" y="98235"/>
                    <a:pt x="408319" y="7163"/>
                  </a:cubicBezTo>
                  <a:cubicBezTo>
                    <a:pt x="421054" y="-2388"/>
                    <a:pt x="438565" y="-2388"/>
                    <a:pt x="451300" y="7163"/>
                  </a:cubicBezTo>
                  <a:cubicBezTo>
                    <a:pt x="572697" y="98235"/>
                    <a:pt x="696625" y="143270"/>
                    <a:pt x="823801" y="143270"/>
                  </a:cubicBezTo>
                  <a:cubicBezTo>
                    <a:pt x="843583" y="143270"/>
                    <a:pt x="859619" y="159306"/>
                    <a:pt x="859619" y="179087"/>
                  </a:cubicBezTo>
                  <a:lnTo>
                    <a:pt x="859619" y="429809"/>
                  </a:lnTo>
                  <a:cubicBezTo>
                    <a:pt x="859619" y="668640"/>
                    <a:pt x="718355" y="844145"/>
                    <a:pt x="442942" y="952648"/>
                  </a:cubicBezTo>
                  <a:cubicBezTo>
                    <a:pt x="434503" y="955974"/>
                    <a:pt x="425116" y="955974"/>
                    <a:pt x="416676" y="952648"/>
                  </a:cubicBezTo>
                  <a:cubicBezTo>
                    <a:pt x="141264" y="844145"/>
                    <a:pt x="0" y="668592"/>
                    <a:pt x="0" y="429809"/>
                  </a:cubicBezTo>
                  <a:lnTo>
                    <a:pt x="0" y="179087"/>
                  </a:lnTo>
                  <a:close/>
                  <a:moveTo>
                    <a:pt x="71635" y="213854"/>
                  </a:moveTo>
                  <a:lnTo>
                    <a:pt x="71635" y="429809"/>
                  </a:lnTo>
                  <a:cubicBezTo>
                    <a:pt x="71635" y="633061"/>
                    <a:pt x="188782" y="782205"/>
                    <a:pt x="429809" y="880727"/>
                  </a:cubicBezTo>
                  <a:cubicBezTo>
                    <a:pt x="670837" y="782205"/>
                    <a:pt x="787984" y="633061"/>
                    <a:pt x="787984" y="429809"/>
                  </a:cubicBezTo>
                  <a:lnTo>
                    <a:pt x="787984" y="213854"/>
                  </a:lnTo>
                  <a:cubicBezTo>
                    <a:pt x="664915" y="206595"/>
                    <a:pt x="545380" y="161799"/>
                    <a:pt x="429809" y="80136"/>
                  </a:cubicBezTo>
                  <a:cubicBezTo>
                    <a:pt x="314238" y="161799"/>
                    <a:pt x="194704" y="206595"/>
                    <a:pt x="71635" y="213854"/>
                  </a:cubicBezTo>
                  <a:close/>
                </a:path>
              </a:pathLst>
            </a:custGeom>
            <a:solidFill>
              <a:schemeClr val="tx1"/>
            </a:solidFill>
            <a:ln w="54372"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23" name="TextBox 322">
            <a:extLst>
              <a:ext uri="{FF2B5EF4-FFF2-40B4-BE49-F238E27FC236}">
                <a16:creationId xmlns:a16="http://schemas.microsoft.com/office/drawing/2014/main" id="{FD8C1DB1-DD24-640A-9576-C3105049EE2D}"/>
              </a:ext>
            </a:extLst>
          </p:cNvPr>
          <p:cNvSpPr txBox="1"/>
          <p:nvPr/>
        </p:nvSpPr>
        <p:spPr>
          <a:xfrm>
            <a:off x="818342" y="4598256"/>
            <a:ext cx="1835592" cy="11068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400" b="0" i="0" u="none" strike="noStrike" kern="1200" cap="none" spc="0" normalizeH="0" baseline="0" noProof="0">
                <a:ln>
                  <a:noFill/>
                </a:ln>
                <a:solidFill>
                  <a:srgbClr val="2A446F"/>
                </a:solidFill>
                <a:effectLst/>
                <a:uLnTx/>
                <a:uFillTx/>
                <a:latin typeface="Segoe UI Semibold"/>
                <a:cs typeface="Segoe UI" pitchFamily="34" charset="0"/>
              </a:rPr>
              <a:t>Registr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400" b="1" i="0" u="none" strike="noStrike" kern="1200" cap="none" spc="0" normalizeH="0" baseline="0" noProof="0">
                <a:ln>
                  <a:noFill/>
                </a:ln>
                <a:solidFill>
                  <a:srgbClr val="2A446F"/>
                </a:solidFill>
                <a:effectLst/>
                <a:uLnTx/>
                <a:uFillTx/>
                <a:latin typeface="Segoe UI Semibold"/>
                <a:cs typeface="Segoe UI" pitchFamily="34" charset="0"/>
              </a:rPr>
              <a:t>Vue complète des agents qui existent dans l’ensemble de votre organisation. </a:t>
            </a:r>
          </a:p>
        </p:txBody>
      </p:sp>
      <p:sp>
        <p:nvSpPr>
          <p:cNvPr id="324" name="TextBox 323">
            <a:extLst>
              <a:ext uri="{FF2B5EF4-FFF2-40B4-BE49-F238E27FC236}">
                <a16:creationId xmlns:a16="http://schemas.microsoft.com/office/drawing/2014/main" id="{86A2C6F3-4578-DF6F-100F-1E334734621E}"/>
              </a:ext>
            </a:extLst>
          </p:cNvPr>
          <p:cNvSpPr txBox="1"/>
          <p:nvPr/>
        </p:nvSpPr>
        <p:spPr>
          <a:xfrm>
            <a:off x="2997096" y="4598257"/>
            <a:ext cx="1837944" cy="8956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400" b="0" i="0" u="none" strike="noStrike" kern="1200" cap="none" spc="0" normalizeH="0" baseline="0" noProof="0">
                <a:ln>
                  <a:noFill/>
                </a:ln>
                <a:solidFill>
                  <a:srgbClr val="2A446F"/>
                </a:solidFill>
                <a:effectLst/>
                <a:uLnTx/>
                <a:uFillTx/>
                <a:latin typeface="Segoe UI Semibold"/>
                <a:cs typeface="Segoe UI" pitchFamily="34" charset="0"/>
              </a:rPr>
              <a:t>Contrôle des accès</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400" b="0" i="0" u="none" strike="noStrike" kern="1200" cap="none" spc="0" normalizeH="0" baseline="0" noProof="0">
                <a:ln>
                  <a:noFill/>
                </a:ln>
                <a:solidFill>
                  <a:srgbClr val="2A446F"/>
                </a:solidFill>
                <a:effectLst/>
                <a:uLnTx/>
                <a:uFillTx/>
                <a:latin typeface="Segoe UI Semibold"/>
                <a:cs typeface="Segoe UI" pitchFamily="34" charset="0"/>
              </a:rPr>
              <a:t>Accès au moindre privilège pour l’agent, basé sur le JTBD. </a:t>
            </a:r>
          </a:p>
        </p:txBody>
      </p:sp>
      <p:sp>
        <p:nvSpPr>
          <p:cNvPr id="325" name="TextBox 324">
            <a:extLst>
              <a:ext uri="{FF2B5EF4-FFF2-40B4-BE49-F238E27FC236}">
                <a16:creationId xmlns:a16="http://schemas.microsoft.com/office/drawing/2014/main" id="{31AC1A0C-B17E-FF37-FD33-34E09D4A830B}"/>
              </a:ext>
            </a:extLst>
          </p:cNvPr>
          <p:cNvSpPr txBox="1"/>
          <p:nvPr/>
        </p:nvSpPr>
        <p:spPr>
          <a:xfrm>
            <a:off x="5177026" y="4580327"/>
            <a:ext cx="1837944" cy="11738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400" b="0" i="0" u="none" strike="noStrike" kern="1200" cap="none" spc="0" normalizeH="0" baseline="0" noProof="0">
                <a:ln>
                  <a:noFill/>
                </a:ln>
                <a:solidFill>
                  <a:srgbClr val="2A446F"/>
                </a:solidFill>
                <a:effectLst/>
                <a:uLnTx/>
                <a:uFillTx/>
                <a:latin typeface="Segoe UI Semibold"/>
                <a:cs typeface="Segoe UI" pitchFamily="34" charset="0"/>
              </a:rPr>
              <a:t>Visualisation Analyses approfondies de l’activité et de la performance des agents.</a:t>
            </a:r>
          </a:p>
        </p:txBody>
      </p:sp>
      <p:sp>
        <p:nvSpPr>
          <p:cNvPr id="326" name="TextBox 325">
            <a:extLst>
              <a:ext uri="{FF2B5EF4-FFF2-40B4-BE49-F238E27FC236}">
                <a16:creationId xmlns:a16="http://schemas.microsoft.com/office/drawing/2014/main" id="{D555CE62-52E6-CFB9-3AEA-5987A4F9C31E}"/>
              </a:ext>
            </a:extLst>
          </p:cNvPr>
          <p:cNvSpPr txBox="1"/>
          <p:nvPr/>
        </p:nvSpPr>
        <p:spPr>
          <a:xfrm>
            <a:off x="7356956" y="4559288"/>
            <a:ext cx="1837944" cy="14593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400" b="0" i="0" u="none" strike="noStrike" kern="1200" cap="none" spc="0" normalizeH="0" baseline="0" noProof="0">
                <a:ln>
                  <a:noFill/>
                </a:ln>
                <a:solidFill>
                  <a:srgbClr val="2A446F"/>
                </a:solidFill>
                <a:effectLst/>
                <a:uLnTx/>
                <a:uFillTx/>
                <a:latin typeface="Segoe UI Semibold"/>
                <a:cs typeface="Segoe UI" pitchFamily="34" charset="0"/>
              </a:rPr>
              <a:t>Interopérabilité</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400" b="0" i="0" u="none" strike="noStrike" kern="1200" cap="none" spc="0" normalizeH="0" baseline="0" noProof="0">
                <a:ln>
                  <a:noFill/>
                </a:ln>
                <a:solidFill>
                  <a:srgbClr val="2A446F"/>
                </a:solidFill>
                <a:effectLst/>
                <a:uLnTx/>
                <a:uFillTx/>
                <a:latin typeface="Segoe UI Semibold"/>
                <a:cs typeface="Segoe UI" pitchFamily="34" charset="0"/>
              </a:rPr>
              <a:t>Donner aux agents les moyens d’accomplir un travail concret grâce à des outils de productivité. </a:t>
            </a:r>
          </a:p>
        </p:txBody>
      </p:sp>
      <p:sp>
        <p:nvSpPr>
          <p:cNvPr id="327" name="TextBox 326">
            <a:extLst>
              <a:ext uri="{FF2B5EF4-FFF2-40B4-BE49-F238E27FC236}">
                <a16:creationId xmlns:a16="http://schemas.microsoft.com/office/drawing/2014/main" id="{8F1E56E8-7C8C-1C34-D293-941CAF96C6A4}"/>
              </a:ext>
            </a:extLst>
          </p:cNvPr>
          <p:cNvSpPr txBox="1"/>
          <p:nvPr/>
        </p:nvSpPr>
        <p:spPr>
          <a:xfrm>
            <a:off x="9536887" y="4589291"/>
            <a:ext cx="1837944" cy="1135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chemeClr val="bg1"/>
                </a:solidFill>
                <a:ea typeface="Segoe UI" pitchFamily="34" charset="0"/>
                <a:cs typeface="Segoe UI"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400" b="0" i="0" u="none" strike="noStrike" kern="1200" cap="none" spc="0" normalizeH="0" baseline="0" noProof="0">
                <a:ln>
                  <a:noFill/>
                </a:ln>
                <a:solidFill>
                  <a:srgbClr val="2A446F"/>
                </a:solidFill>
                <a:effectLst/>
                <a:uLnTx/>
                <a:uFillTx/>
                <a:latin typeface="Segoe UI Semibold"/>
                <a:cs typeface="Segoe UI" pitchFamily="34" charset="0"/>
              </a:rPr>
              <a:t>Sécurité</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400" b="0" i="0" u="none" strike="noStrike" kern="1200" cap="none" spc="0" normalizeH="0" baseline="0" noProof="0">
                <a:ln>
                  <a:noFill/>
                </a:ln>
                <a:solidFill>
                  <a:srgbClr val="2A446F"/>
                </a:solidFill>
                <a:effectLst/>
                <a:uLnTx/>
                <a:uFillTx/>
                <a:latin typeface="Segoe UI Semibold"/>
                <a:cs typeface="Segoe UI" pitchFamily="34" charset="0"/>
              </a:rPr>
              <a:t>Protection des agents contre l’exfiltration </a:t>
            </a:r>
            <a:br>
              <a:rPr kumimoji="0" lang="fr-fr" sz="1400" b="0" i="0" u="none" strike="noStrike" kern="1200" cap="none" spc="0" normalizeH="0" baseline="0" noProof="0">
                <a:ln>
                  <a:noFill/>
                </a:ln>
                <a:solidFill>
                  <a:srgbClr val="2A446F"/>
                </a:solidFill>
                <a:effectLst/>
                <a:uLnTx/>
                <a:uFillTx/>
                <a:latin typeface="Segoe UI Semibold"/>
                <a:cs typeface="Segoe UI" pitchFamily="34" charset="0"/>
              </a:rPr>
            </a:br>
            <a:r>
              <a:rPr kumimoji="0" lang="fr-fr" sz="1400" b="0" i="0" u="none" strike="noStrike" kern="1200" cap="none" spc="0" normalizeH="0" baseline="0" noProof="0">
                <a:ln>
                  <a:noFill/>
                </a:ln>
                <a:solidFill>
                  <a:srgbClr val="2A446F"/>
                </a:solidFill>
                <a:effectLst/>
                <a:uLnTx/>
                <a:uFillTx/>
                <a:latin typeface="Segoe UI Semibold"/>
                <a:cs typeface="Segoe UI" pitchFamily="34" charset="0"/>
              </a:rPr>
              <a:t>de données et les menaces. </a:t>
            </a:r>
          </a:p>
        </p:txBody>
      </p:sp>
      <p:sp>
        <p:nvSpPr>
          <p:cNvPr id="7" name="Rounded Rectangle 5">
            <a:extLst>
              <a:ext uri="{FF2B5EF4-FFF2-40B4-BE49-F238E27FC236}">
                <a16:creationId xmlns:a16="http://schemas.microsoft.com/office/drawing/2014/main" id="{B891D6CB-2C7B-B889-ECA5-A1EA00E983DA}"/>
              </a:ext>
            </a:extLst>
          </p:cNvPr>
          <p:cNvSpPr txBox="1">
            <a:spLocks/>
          </p:cNvSpPr>
          <p:nvPr/>
        </p:nvSpPr>
        <p:spPr bwMode="auto">
          <a:xfrm>
            <a:off x="4381498" y="486496"/>
            <a:ext cx="3429004" cy="609682"/>
          </a:xfrm>
          <a:prstGeom prst="roundRect">
            <a:avLst>
              <a:gd name="adj" fmla="val 50000"/>
            </a:avLst>
          </a:prstGeom>
          <a:gradFill flip="none" rotWithShape="1">
            <a:gsLst>
              <a:gs pos="100000">
                <a:srgbClr val="BABAFF">
                  <a:lumMod val="90000"/>
                </a:srgbClr>
              </a:gs>
              <a:gs pos="29400">
                <a:srgbClr val="58AAFE">
                  <a:lumMod val="40000"/>
                  <a:lumOff val="60000"/>
                </a:srgbClr>
              </a:gs>
              <a:gs pos="0">
                <a:srgbClr val="FECBE6"/>
              </a:gs>
            </a:gsLst>
            <a:path path="circle">
              <a:fillToRect l="100000" t="100000"/>
            </a:path>
            <a:tileRect r="-100000" b="-100000"/>
          </a:gradFill>
          <a:ln w="76200" cap="flat" cmpd="sng" algn="ctr">
            <a:noFill/>
            <a:prstDash val="solid"/>
            <a:headEnd type="none" w="med" len="med"/>
            <a:tailEnd type="none" w="med" len="med"/>
          </a:ln>
          <a:effectLst>
            <a:outerShdw blurRad="375109" dist="101600" dir="5400000" sx="105000" sy="105000" algn="t" rotWithShape="0">
              <a:prstClr val="black">
                <a:alpha val="2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400" b="0" i="0" u="none" strike="noStrike" kern="1200" cap="none" spc="0" normalizeH="0" baseline="0" noProof="0">
                <a:ln w="3175">
                  <a:noFill/>
                </a:ln>
                <a:solidFill>
                  <a:srgbClr val="002060"/>
                </a:solidFill>
                <a:effectLst/>
                <a:uLnTx/>
                <a:uFillTx/>
                <a:latin typeface="Segoe Sans Display Semibold"/>
                <a:ea typeface="+mn-ea"/>
                <a:cs typeface="Segoe Sans Display Semibold" pitchFamily="2" charset="0"/>
              </a:rPr>
              <a:t>Microsoft Agent 365</a:t>
            </a:r>
          </a:p>
        </p:txBody>
      </p:sp>
    </p:spTree>
    <p:custDataLst>
      <p:tags r:id="rId1"/>
    </p:custDataLst>
    <p:extLst>
      <p:ext uri="{BB962C8B-B14F-4D97-AF65-F5344CB8AC3E}">
        <p14:creationId xmlns:p14="http://schemas.microsoft.com/office/powerpoint/2010/main" val="38845411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4F6299-5EEE-6E2F-3B1D-092D233FA5DC}"/>
            </a:ext>
          </a:extLst>
        </p:cNvPr>
        <p:cNvGrpSpPr/>
        <p:nvPr/>
      </p:nvGrpSpPr>
      <p:grpSpPr>
        <a:xfrm>
          <a:off x="0" y="0"/>
          <a:ext cx="0" cy="0"/>
          <a:chOff x="0" y="0"/>
          <a:chExt cx="0" cy="0"/>
        </a:xfrm>
      </p:grpSpPr>
      <p:sp>
        <p:nvSpPr>
          <p:cNvPr id="91" name="Rectangle: Rounded Corners 90">
            <a:extLst>
              <a:ext uri="{FF2B5EF4-FFF2-40B4-BE49-F238E27FC236}">
                <a16:creationId xmlns:a16="http://schemas.microsoft.com/office/drawing/2014/main" id="{B448489A-C686-946A-933D-9FB5F573D9AB}"/>
              </a:ext>
              <a:ext uri="{C183D7F6-B498-43B3-948B-1728B52AA6E4}">
                <adec:decorative xmlns:adec="http://schemas.microsoft.com/office/drawing/2017/decorative" val="1"/>
              </a:ext>
            </a:extLst>
          </p:cNvPr>
          <p:cNvSpPr>
            <a:spLocks/>
          </p:cNvSpPr>
          <p:nvPr/>
        </p:nvSpPr>
        <p:spPr bwMode="auto">
          <a:xfrm>
            <a:off x="585787" y="1367406"/>
            <a:ext cx="11020426" cy="4885325"/>
          </a:xfrm>
          <a:prstGeom prst="roundRect">
            <a:avLst>
              <a:gd name="adj" fmla="val 3788"/>
            </a:avLst>
          </a:prstGeom>
          <a:gradFill>
            <a:gsLst>
              <a:gs pos="0">
                <a:srgbClr val="FECBE6">
                  <a:alpha val="58000"/>
                </a:srgbClr>
              </a:gs>
              <a:gs pos="33000">
                <a:srgbClr val="BABAFF">
                  <a:alpha val="58000"/>
                </a:srgbClr>
              </a:gs>
              <a:gs pos="82000">
                <a:schemeClr val="accent6">
                  <a:lumMod val="25000"/>
                  <a:lumOff val="75000"/>
                  <a:alpha val="70000"/>
                </a:schemeClr>
              </a:gs>
              <a:gs pos="98165">
                <a:schemeClr val="bg1">
                  <a:alpha val="33000"/>
                </a:schemeClr>
              </a:gs>
            </a:gsLst>
            <a:lin ang="15600000" scaled="0"/>
          </a:gradFill>
          <a:ln w="6350">
            <a:solidFill>
              <a:schemeClr val="bg2">
                <a:lumMod val="90000"/>
              </a:schemeClr>
            </a:solidFill>
            <a:headEnd type="none" w="med" len="med"/>
            <a:tailEnd type="none" w="med" len="med"/>
          </a:ln>
          <a:effectLst>
            <a:outerShdw blurRad="152400" algn="ctr" rotWithShape="0">
              <a:schemeClr val="bg1">
                <a:alpha val="4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92" name="Rounded Rectangle 7">
            <a:extLst>
              <a:ext uri="{FF2B5EF4-FFF2-40B4-BE49-F238E27FC236}">
                <a16:creationId xmlns:a16="http://schemas.microsoft.com/office/drawing/2014/main" id="{C43B9389-5ADF-82D5-6756-DB010EC52002}"/>
              </a:ext>
              <a:ext uri="{C183D7F6-B498-43B3-948B-1728B52AA6E4}">
                <adec:decorative xmlns:adec="http://schemas.microsoft.com/office/drawing/2017/decorative" val="1"/>
              </a:ext>
            </a:extLst>
          </p:cNvPr>
          <p:cNvSpPr>
            <a:spLocks/>
          </p:cNvSpPr>
          <p:nvPr/>
        </p:nvSpPr>
        <p:spPr>
          <a:xfrm flipV="1">
            <a:off x="722947" y="4142007"/>
            <a:ext cx="10746105" cy="1973567"/>
          </a:xfrm>
          <a:prstGeom prst="roundRect">
            <a:avLst>
              <a:gd name="adj" fmla="val 5913"/>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93" name="Rounded Rectangle 7">
            <a:extLst>
              <a:ext uri="{FF2B5EF4-FFF2-40B4-BE49-F238E27FC236}">
                <a16:creationId xmlns:a16="http://schemas.microsoft.com/office/drawing/2014/main" id="{46A3B8FC-D913-6564-D420-25D4CE455E22}"/>
              </a:ext>
              <a:ext uri="{C183D7F6-B498-43B3-948B-1728B52AA6E4}">
                <adec:decorative xmlns:adec="http://schemas.microsoft.com/office/drawing/2017/decorative" val="1"/>
              </a:ext>
            </a:extLst>
          </p:cNvPr>
          <p:cNvSpPr>
            <a:spLocks/>
          </p:cNvSpPr>
          <p:nvPr/>
        </p:nvSpPr>
        <p:spPr>
          <a:xfrm flipV="1">
            <a:off x="722946" y="1671340"/>
            <a:ext cx="10746105" cy="1832426"/>
          </a:xfrm>
          <a:prstGeom prst="roundRect">
            <a:avLst>
              <a:gd name="adj" fmla="val 6368"/>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88" name="Title 87">
            <a:extLst>
              <a:ext uri="{FF2B5EF4-FFF2-40B4-BE49-F238E27FC236}">
                <a16:creationId xmlns:a16="http://schemas.microsoft.com/office/drawing/2014/main" id="{B7FDEA69-4F27-8540-E909-352133445205}"/>
              </a:ext>
            </a:extLst>
          </p:cNvPr>
          <p:cNvSpPr>
            <a:spLocks noGrp="1"/>
          </p:cNvSpPr>
          <p:nvPr>
            <p:ph type="title"/>
          </p:nvPr>
        </p:nvSpPr>
        <p:spPr>
          <a:xfrm>
            <a:off x="588263" y="457200"/>
            <a:ext cx="11018520" cy="553998"/>
          </a:xfrm>
        </p:spPr>
        <p:txBody>
          <a:bodyPr/>
          <a:lstStyle/>
          <a:p>
            <a:pPr algn="ctr"/>
            <a:r>
              <a:rPr lang="fr-fr">
                <a:gradFill flip="none" rotWithShape="1">
                  <a:gsLst>
                    <a:gs pos="8000">
                      <a:schemeClr val="accent5">
                        <a:lumMod val="90000"/>
                      </a:schemeClr>
                    </a:gs>
                    <a:gs pos="34000">
                      <a:schemeClr val="accent4">
                        <a:lumMod val="90000"/>
                      </a:schemeClr>
                    </a:gs>
                    <a:gs pos="79000">
                      <a:schemeClr val="accent1"/>
                    </a:gs>
                    <a:gs pos="57000">
                      <a:schemeClr val="accent3"/>
                    </a:gs>
                    <a:gs pos="100000">
                      <a:schemeClr val="tx2"/>
                    </a:gs>
                  </a:gsLst>
                  <a:lin ang="2700000" scaled="1"/>
                  <a:tileRect/>
                </a:gradFill>
              </a:rPr>
              <a:t>Tous vos agents peuvent être activés pour Agent 365</a:t>
            </a:r>
          </a:p>
        </p:txBody>
      </p:sp>
      <p:sp>
        <p:nvSpPr>
          <p:cNvPr id="2065" name="Rounded Rectangle 5">
            <a:extLst>
              <a:ext uri="{FF2B5EF4-FFF2-40B4-BE49-F238E27FC236}">
                <a16:creationId xmlns:a16="http://schemas.microsoft.com/office/drawing/2014/main" id="{AD2F171D-30AB-FB43-994F-2F0BA9866D17}"/>
              </a:ext>
            </a:extLst>
          </p:cNvPr>
          <p:cNvSpPr>
            <a:spLocks/>
          </p:cNvSpPr>
          <p:nvPr/>
        </p:nvSpPr>
        <p:spPr bwMode="auto">
          <a:xfrm>
            <a:off x="4991100" y="1491533"/>
            <a:ext cx="2209800" cy="383540"/>
          </a:xfrm>
          <a:prstGeom prst="roundRect">
            <a:avLst>
              <a:gd name="adj" fmla="val 50000"/>
            </a:avLst>
          </a:prstGeom>
          <a:gradFill flip="none" rotWithShape="1">
            <a:gsLst>
              <a:gs pos="100000">
                <a:schemeClr val="accent4">
                  <a:lumMod val="90000"/>
                </a:schemeClr>
              </a:gs>
              <a:gs pos="29400">
                <a:schemeClr val="accent3">
                  <a:lumMod val="40000"/>
                  <a:lumOff val="60000"/>
                </a:schemeClr>
              </a:gs>
              <a:gs pos="0">
                <a:schemeClr val="accent5"/>
              </a:gs>
            </a:gsLst>
            <a:path path="circle">
              <a:fillToRect l="100000" t="100000"/>
            </a:path>
            <a:tileRect r="-100000" b="-100000"/>
          </a:gradFill>
          <a:ln w="76200">
            <a:noFill/>
            <a:headEnd type="none" w="med" len="med"/>
            <a:tailEnd type="none" w="med" len="med"/>
          </a:ln>
          <a:effectLst>
            <a:outerShdw blurRad="375109" dist="101600" dir="5400000" sx="105000" sy="105000" algn="t"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a:ln>
                  <a:noFill/>
                </a:ln>
                <a:solidFill>
                  <a:srgbClr val="002060"/>
                </a:solidFill>
                <a:effectLst/>
                <a:uLnTx/>
                <a:uFillTx/>
                <a:latin typeface="Segoe Sans Display Semibold"/>
                <a:ea typeface="+mn-ea"/>
                <a:cs typeface="Segoe Sans Display Semibold" pitchFamily="2" charset="0"/>
              </a:rPr>
              <a:t>Agent 365 </a:t>
            </a:r>
          </a:p>
        </p:txBody>
      </p:sp>
      <p:cxnSp>
        <p:nvCxnSpPr>
          <p:cNvPr id="97" name="Straight Connector 96">
            <a:extLst>
              <a:ext uri="{FF2B5EF4-FFF2-40B4-BE49-F238E27FC236}">
                <a16:creationId xmlns:a16="http://schemas.microsoft.com/office/drawing/2014/main" id="{8DC9D109-0AAB-2AD2-1AC4-E4C13404D397}"/>
              </a:ext>
              <a:ext uri="{C183D7F6-B498-43B3-948B-1728B52AA6E4}">
                <adec:decorative xmlns:adec="http://schemas.microsoft.com/office/drawing/2017/decorative" val="1"/>
              </a:ext>
            </a:extLst>
          </p:cNvPr>
          <p:cNvCxnSpPr/>
          <p:nvPr/>
        </p:nvCxnSpPr>
        <p:spPr>
          <a:xfrm>
            <a:off x="4282122" y="2024601"/>
            <a:ext cx="0" cy="1314250"/>
          </a:xfrm>
          <a:prstGeom prst="line">
            <a:avLst/>
          </a:prstGeom>
          <a:ln w="6350">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242478C2-9BBA-31DE-EE02-FB65979769B3}"/>
              </a:ext>
              <a:ext uri="{C183D7F6-B498-43B3-948B-1728B52AA6E4}">
                <adec:decorative xmlns:adec="http://schemas.microsoft.com/office/drawing/2017/decorative" val="1"/>
              </a:ext>
            </a:extLst>
          </p:cNvPr>
          <p:cNvCxnSpPr/>
          <p:nvPr/>
        </p:nvCxnSpPr>
        <p:spPr>
          <a:xfrm>
            <a:off x="7909877" y="2024601"/>
            <a:ext cx="0" cy="1314250"/>
          </a:xfrm>
          <a:prstGeom prst="line">
            <a:avLst/>
          </a:prstGeom>
          <a:ln w="6350">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0BC02044-BB72-EECE-A613-F7BD005693FE}"/>
              </a:ext>
            </a:extLst>
          </p:cNvPr>
          <p:cNvGrpSpPr/>
          <p:nvPr/>
        </p:nvGrpSpPr>
        <p:grpSpPr>
          <a:xfrm>
            <a:off x="5019672" y="2258189"/>
            <a:ext cx="473712" cy="473712"/>
            <a:chOff x="5086921" y="2290857"/>
            <a:chExt cx="408376" cy="408376"/>
          </a:xfrm>
        </p:grpSpPr>
        <p:sp>
          <p:nvSpPr>
            <p:cNvPr id="2056" name="Rectangle: Rounded Corners 2055">
              <a:extLst>
                <a:ext uri="{FF2B5EF4-FFF2-40B4-BE49-F238E27FC236}">
                  <a16:creationId xmlns:a16="http://schemas.microsoft.com/office/drawing/2014/main" id="{C81CA51A-ED38-17DE-428D-1886E9798C7F}"/>
                </a:ext>
                <a:ext uri="{C183D7F6-B498-43B3-948B-1728B52AA6E4}">
                  <adec:decorative xmlns:adec="http://schemas.microsoft.com/office/drawing/2017/decorative" val="1"/>
                </a:ext>
              </a:extLst>
            </p:cNvPr>
            <p:cNvSpPr>
              <a:spLocks/>
            </p:cNvSpPr>
            <p:nvPr/>
          </p:nvSpPr>
          <p:spPr bwMode="auto">
            <a:xfrm>
              <a:off x="5086921" y="2290857"/>
              <a:ext cx="408376" cy="408376"/>
            </a:xfrm>
            <a:prstGeom prst="roundRect">
              <a:avLst>
                <a:gd name="adj" fmla="val 21705"/>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057" name="Graphic 2">
              <a:extLst>
                <a:ext uri="{FF2B5EF4-FFF2-40B4-BE49-F238E27FC236}">
                  <a16:creationId xmlns:a16="http://schemas.microsoft.com/office/drawing/2014/main" id="{31E6A743-5B5F-19DC-455B-1303F227B210}"/>
                </a:ext>
                <a:ext uri="{C183D7F6-B498-43B3-948B-1728B52AA6E4}">
                  <adec:decorative xmlns:adec="http://schemas.microsoft.com/office/drawing/2017/decorative" val="1"/>
                </a:ext>
              </a:extLst>
            </p:cNvPr>
            <p:cNvSpPr/>
            <p:nvPr/>
          </p:nvSpPr>
          <p:spPr>
            <a:xfrm>
              <a:off x="5180078" y="2384014"/>
              <a:ext cx="222063" cy="222063"/>
            </a:xfrm>
            <a:custGeom>
              <a:avLst/>
              <a:gdLst>
                <a:gd name="connsiteX0" fmla="*/ 89274 w 178348"/>
                <a:gd name="connsiteY0" fmla="*/ 0 h 185732"/>
                <a:gd name="connsiteX1" fmla="*/ 110058 w 178348"/>
                <a:gd name="connsiteY1" fmla="*/ 2410 h 185732"/>
                <a:gd name="connsiteX2" fmla="*/ 115601 w 178348"/>
                <a:gd name="connsiteY2" fmla="*/ 8592 h 185732"/>
                <a:gd name="connsiteX3" fmla="*/ 117220 w 178348"/>
                <a:gd name="connsiteY3" fmla="*/ 23136 h 185732"/>
                <a:gd name="connsiteX4" fmla="*/ 131782 w 178348"/>
                <a:gd name="connsiteY4" fmla="*/ 34777 h 185732"/>
                <a:gd name="connsiteX5" fmla="*/ 135575 w 178348"/>
                <a:gd name="connsiteY5" fmla="*/ 33766 h 185732"/>
                <a:gd name="connsiteX6" fmla="*/ 148920 w 178348"/>
                <a:gd name="connsiteY6" fmla="*/ 27908 h 185732"/>
                <a:gd name="connsiteX7" fmla="*/ 157016 w 178348"/>
                <a:gd name="connsiteY7" fmla="*/ 29566 h 185732"/>
                <a:gd name="connsiteX8" fmla="*/ 178009 w 178348"/>
                <a:gd name="connsiteY8" fmla="*/ 65684 h 185732"/>
                <a:gd name="connsiteX9" fmla="*/ 175428 w 178348"/>
                <a:gd name="connsiteY9" fmla="*/ 73543 h 185732"/>
                <a:gd name="connsiteX10" fmla="*/ 163598 w 178348"/>
                <a:gd name="connsiteY10" fmla="*/ 82267 h 185732"/>
                <a:gd name="connsiteX11" fmla="*/ 160784 w 178348"/>
                <a:gd name="connsiteY11" fmla="*/ 100656 h 185732"/>
                <a:gd name="connsiteX12" fmla="*/ 163598 w 178348"/>
                <a:gd name="connsiteY12" fmla="*/ 103470 h 185732"/>
                <a:gd name="connsiteX13" fmla="*/ 175437 w 178348"/>
                <a:gd name="connsiteY13" fmla="*/ 112185 h 185732"/>
                <a:gd name="connsiteX14" fmla="*/ 178028 w 178348"/>
                <a:gd name="connsiteY14" fmla="*/ 120053 h 185732"/>
                <a:gd name="connsiteX15" fmla="*/ 157035 w 178348"/>
                <a:gd name="connsiteY15" fmla="*/ 156172 h 185732"/>
                <a:gd name="connsiteX16" fmla="*/ 148958 w 178348"/>
                <a:gd name="connsiteY16" fmla="*/ 157839 h 185732"/>
                <a:gd name="connsiteX17" fmla="*/ 135556 w 178348"/>
                <a:gd name="connsiteY17" fmla="*/ 151962 h 185732"/>
                <a:gd name="connsiteX18" fmla="*/ 118240 w 178348"/>
                <a:gd name="connsiteY18" fmla="*/ 158722 h 185732"/>
                <a:gd name="connsiteX19" fmla="*/ 117211 w 178348"/>
                <a:gd name="connsiteY19" fmla="*/ 162573 h 185732"/>
                <a:gd name="connsiteX20" fmla="*/ 115601 w 178348"/>
                <a:gd name="connsiteY20" fmla="*/ 177108 h 185732"/>
                <a:gd name="connsiteX21" fmla="*/ 110153 w 178348"/>
                <a:gd name="connsiteY21" fmla="*/ 183271 h 185732"/>
                <a:gd name="connsiteX22" fmla="*/ 68186 w 178348"/>
                <a:gd name="connsiteY22" fmla="*/ 183271 h 185732"/>
                <a:gd name="connsiteX23" fmla="*/ 62737 w 178348"/>
                <a:gd name="connsiteY23" fmla="*/ 177108 h 185732"/>
                <a:gd name="connsiteX24" fmla="*/ 61137 w 178348"/>
                <a:gd name="connsiteY24" fmla="*/ 162592 h 185732"/>
                <a:gd name="connsiteX25" fmla="*/ 46567 w 178348"/>
                <a:gd name="connsiteY25" fmla="*/ 151005 h 185732"/>
                <a:gd name="connsiteX26" fmla="*/ 42792 w 178348"/>
                <a:gd name="connsiteY26" fmla="*/ 152019 h 185732"/>
                <a:gd name="connsiteX27" fmla="*/ 29400 w 178348"/>
                <a:gd name="connsiteY27" fmla="*/ 157886 h 185732"/>
                <a:gd name="connsiteX28" fmla="*/ 21313 w 178348"/>
                <a:gd name="connsiteY28" fmla="*/ 156220 h 185732"/>
                <a:gd name="connsiteX29" fmla="*/ 320 w 178348"/>
                <a:gd name="connsiteY29" fmla="*/ 120063 h 185732"/>
                <a:gd name="connsiteX30" fmla="*/ 2911 w 178348"/>
                <a:gd name="connsiteY30" fmla="*/ 112195 h 185732"/>
                <a:gd name="connsiteX31" fmla="*/ 14751 w 178348"/>
                <a:gd name="connsiteY31" fmla="*/ 103470 h 185732"/>
                <a:gd name="connsiteX32" fmla="*/ 17581 w 178348"/>
                <a:gd name="connsiteY32" fmla="*/ 85097 h 185732"/>
                <a:gd name="connsiteX33" fmla="*/ 14751 w 178348"/>
                <a:gd name="connsiteY33" fmla="*/ 82267 h 185732"/>
                <a:gd name="connsiteX34" fmla="*/ 2911 w 178348"/>
                <a:gd name="connsiteY34" fmla="*/ 73562 h 185732"/>
                <a:gd name="connsiteX35" fmla="*/ 330 w 178348"/>
                <a:gd name="connsiteY35" fmla="*/ 65694 h 185732"/>
                <a:gd name="connsiteX36" fmla="*/ 21323 w 178348"/>
                <a:gd name="connsiteY36" fmla="*/ 29575 h 185732"/>
                <a:gd name="connsiteX37" fmla="*/ 29419 w 178348"/>
                <a:gd name="connsiteY37" fmla="*/ 27918 h 185732"/>
                <a:gd name="connsiteX38" fmla="*/ 42754 w 178348"/>
                <a:gd name="connsiteY38" fmla="*/ 33776 h 185732"/>
                <a:gd name="connsiteX39" fmla="*/ 60130 w 178348"/>
                <a:gd name="connsiteY39" fmla="*/ 26909 h 185732"/>
                <a:gd name="connsiteX40" fmla="*/ 61137 w 178348"/>
                <a:gd name="connsiteY40" fmla="*/ 23127 h 185732"/>
                <a:gd name="connsiteX41" fmla="*/ 62757 w 178348"/>
                <a:gd name="connsiteY41" fmla="*/ 8592 h 185732"/>
                <a:gd name="connsiteX42" fmla="*/ 68310 w 178348"/>
                <a:gd name="connsiteY42" fmla="*/ 2400 h 185732"/>
                <a:gd name="connsiteX43" fmla="*/ 89274 w 178348"/>
                <a:gd name="connsiteY43" fmla="*/ 0 h 185732"/>
                <a:gd name="connsiteX44" fmla="*/ 89274 w 178348"/>
                <a:gd name="connsiteY44" fmla="*/ 14288 h 185732"/>
                <a:gd name="connsiteX45" fmla="*/ 76377 w 178348"/>
                <a:gd name="connsiteY45" fmla="*/ 15402 h 185732"/>
                <a:gd name="connsiteX46" fmla="*/ 75339 w 178348"/>
                <a:gd name="connsiteY46" fmla="*/ 24708 h 185732"/>
                <a:gd name="connsiteX47" fmla="*/ 44984 w 178348"/>
                <a:gd name="connsiteY47" fmla="*/ 48995 h 185732"/>
                <a:gd name="connsiteX48" fmla="*/ 37010 w 178348"/>
                <a:gd name="connsiteY48" fmla="*/ 46863 h 185732"/>
                <a:gd name="connsiteX49" fmla="*/ 28457 w 178348"/>
                <a:gd name="connsiteY49" fmla="*/ 43110 h 185732"/>
                <a:gd name="connsiteX50" fmla="*/ 15617 w 178348"/>
                <a:gd name="connsiteY50" fmla="*/ 65180 h 185732"/>
                <a:gd name="connsiteX51" fmla="*/ 23218 w 178348"/>
                <a:gd name="connsiteY51" fmla="*/ 70771 h 185732"/>
                <a:gd name="connsiteX52" fmla="*/ 29080 w 178348"/>
                <a:gd name="connsiteY52" fmla="*/ 109134 h 185732"/>
                <a:gd name="connsiteX53" fmla="*/ 23218 w 178348"/>
                <a:gd name="connsiteY53" fmla="*/ 114995 h 185732"/>
                <a:gd name="connsiteX54" fmla="*/ 15608 w 178348"/>
                <a:gd name="connsiteY54" fmla="*/ 120596 h 185732"/>
                <a:gd name="connsiteX55" fmla="*/ 28447 w 178348"/>
                <a:gd name="connsiteY55" fmla="*/ 142713 h 185732"/>
                <a:gd name="connsiteX56" fmla="*/ 37068 w 178348"/>
                <a:gd name="connsiteY56" fmla="*/ 138932 h 185732"/>
                <a:gd name="connsiteX57" fmla="*/ 73209 w 178348"/>
                <a:gd name="connsiteY57" fmla="*/ 153105 h 185732"/>
                <a:gd name="connsiteX58" fmla="*/ 75330 w 178348"/>
                <a:gd name="connsiteY58" fmla="*/ 161011 h 185732"/>
                <a:gd name="connsiteX59" fmla="*/ 76377 w 178348"/>
                <a:gd name="connsiteY59" fmla="*/ 170383 h 185732"/>
                <a:gd name="connsiteX60" fmla="*/ 101971 w 178348"/>
                <a:gd name="connsiteY60" fmla="*/ 170383 h 185732"/>
                <a:gd name="connsiteX61" fmla="*/ 103019 w 178348"/>
                <a:gd name="connsiteY61" fmla="*/ 161011 h 185732"/>
                <a:gd name="connsiteX62" fmla="*/ 133318 w 178348"/>
                <a:gd name="connsiteY62" fmla="*/ 136761 h 185732"/>
                <a:gd name="connsiteX63" fmla="*/ 141290 w 178348"/>
                <a:gd name="connsiteY63" fmla="*/ 138894 h 185732"/>
                <a:gd name="connsiteX64" fmla="*/ 149910 w 178348"/>
                <a:gd name="connsiteY64" fmla="*/ 142665 h 185732"/>
                <a:gd name="connsiteX65" fmla="*/ 162740 w 178348"/>
                <a:gd name="connsiteY65" fmla="*/ 120587 h 185732"/>
                <a:gd name="connsiteX66" fmla="*/ 155140 w 178348"/>
                <a:gd name="connsiteY66" fmla="*/ 114986 h 185732"/>
                <a:gd name="connsiteX67" fmla="*/ 149278 w 178348"/>
                <a:gd name="connsiteY67" fmla="*/ 76623 h 185732"/>
                <a:gd name="connsiteX68" fmla="*/ 155140 w 178348"/>
                <a:gd name="connsiteY68" fmla="*/ 70761 h 185732"/>
                <a:gd name="connsiteX69" fmla="*/ 162721 w 178348"/>
                <a:gd name="connsiteY69" fmla="*/ 65170 h 185732"/>
                <a:gd name="connsiteX70" fmla="*/ 149882 w 178348"/>
                <a:gd name="connsiteY70" fmla="*/ 43101 h 185732"/>
                <a:gd name="connsiteX71" fmla="*/ 141347 w 178348"/>
                <a:gd name="connsiteY71" fmla="*/ 46844 h 185732"/>
                <a:gd name="connsiteX72" fmla="*/ 105167 w 178348"/>
                <a:gd name="connsiteY72" fmla="*/ 32696 h 185732"/>
                <a:gd name="connsiteX73" fmla="*/ 103028 w 178348"/>
                <a:gd name="connsiteY73" fmla="*/ 24708 h 185732"/>
                <a:gd name="connsiteX74" fmla="*/ 101980 w 178348"/>
                <a:gd name="connsiteY74" fmla="*/ 15411 h 185732"/>
                <a:gd name="connsiteX75" fmla="*/ 89284 w 178348"/>
                <a:gd name="connsiteY75" fmla="*/ 14297 h 185732"/>
                <a:gd name="connsiteX76" fmla="*/ 89160 w 178348"/>
                <a:gd name="connsiteY76" fmla="*/ 57150 h 185732"/>
                <a:gd name="connsiteX77" fmla="*/ 124879 w 178348"/>
                <a:gd name="connsiteY77" fmla="*/ 92869 h 185732"/>
                <a:gd name="connsiteX78" fmla="*/ 89160 w 178348"/>
                <a:gd name="connsiteY78" fmla="*/ 128588 h 185732"/>
                <a:gd name="connsiteX79" fmla="*/ 53441 w 178348"/>
                <a:gd name="connsiteY79" fmla="*/ 92869 h 185732"/>
                <a:gd name="connsiteX80" fmla="*/ 89160 w 178348"/>
                <a:gd name="connsiteY80" fmla="*/ 57150 h 185732"/>
                <a:gd name="connsiteX81" fmla="*/ 89160 w 178348"/>
                <a:gd name="connsiteY81" fmla="*/ 71438 h 185732"/>
                <a:gd name="connsiteX82" fmla="*/ 67729 w 178348"/>
                <a:gd name="connsiteY82" fmla="*/ 92869 h 185732"/>
                <a:gd name="connsiteX83" fmla="*/ 89160 w 178348"/>
                <a:gd name="connsiteY83" fmla="*/ 114300 h 185732"/>
                <a:gd name="connsiteX84" fmla="*/ 110591 w 178348"/>
                <a:gd name="connsiteY84" fmla="*/ 92869 h 185732"/>
                <a:gd name="connsiteX85" fmla="*/ 89160 w 178348"/>
                <a:gd name="connsiteY85" fmla="*/ 71438 h 18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8348" h="185732">
                  <a:moveTo>
                    <a:pt x="89274" y="0"/>
                  </a:moveTo>
                  <a:cubicBezTo>
                    <a:pt x="96265" y="76"/>
                    <a:pt x="103228" y="886"/>
                    <a:pt x="110058" y="2410"/>
                  </a:cubicBezTo>
                  <a:cubicBezTo>
                    <a:pt x="113036" y="3075"/>
                    <a:pt x="115263" y="5558"/>
                    <a:pt x="115601" y="8592"/>
                  </a:cubicBezTo>
                  <a:lnTo>
                    <a:pt x="117220" y="23136"/>
                  </a:lnTo>
                  <a:cubicBezTo>
                    <a:pt x="118027" y="30372"/>
                    <a:pt x="124547" y="35584"/>
                    <a:pt x="131782" y="34777"/>
                  </a:cubicBezTo>
                  <a:cubicBezTo>
                    <a:pt x="133090" y="34631"/>
                    <a:pt x="134368" y="34290"/>
                    <a:pt x="135575" y="33766"/>
                  </a:cubicBezTo>
                  <a:lnTo>
                    <a:pt x="148920" y="27908"/>
                  </a:lnTo>
                  <a:cubicBezTo>
                    <a:pt x="151696" y="26685"/>
                    <a:pt x="154943" y="27350"/>
                    <a:pt x="157016" y="29566"/>
                  </a:cubicBezTo>
                  <a:cubicBezTo>
                    <a:pt x="166654" y="39863"/>
                    <a:pt x="173832" y="52212"/>
                    <a:pt x="178009" y="65684"/>
                  </a:cubicBezTo>
                  <a:cubicBezTo>
                    <a:pt x="178906" y="68586"/>
                    <a:pt x="177871" y="71738"/>
                    <a:pt x="175428" y="73543"/>
                  </a:cubicBezTo>
                  <a:lnTo>
                    <a:pt x="163598" y="82267"/>
                  </a:lnTo>
                  <a:cubicBezTo>
                    <a:pt x="157743" y="86568"/>
                    <a:pt x="156483" y="94801"/>
                    <a:pt x="160784" y="100656"/>
                  </a:cubicBezTo>
                  <a:cubicBezTo>
                    <a:pt x="161574" y="101731"/>
                    <a:pt x="162522" y="102680"/>
                    <a:pt x="163598" y="103470"/>
                  </a:cubicBezTo>
                  <a:lnTo>
                    <a:pt x="175437" y="112185"/>
                  </a:lnTo>
                  <a:cubicBezTo>
                    <a:pt x="177888" y="113989"/>
                    <a:pt x="178928" y="117146"/>
                    <a:pt x="178028" y="120053"/>
                  </a:cubicBezTo>
                  <a:cubicBezTo>
                    <a:pt x="173849" y="133524"/>
                    <a:pt x="166672" y="145873"/>
                    <a:pt x="157035" y="156172"/>
                  </a:cubicBezTo>
                  <a:cubicBezTo>
                    <a:pt x="154967" y="158383"/>
                    <a:pt x="151731" y="159050"/>
                    <a:pt x="148958" y="157839"/>
                  </a:cubicBezTo>
                  <a:lnTo>
                    <a:pt x="135556" y="151962"/>
                  </a:lnTo>
                  <a:cubicBezTo>
                    <a:pt x="128908" y="149046"/>
                    <a:pt x="121154" y="152073"/>
                    <a:pt x="118240" y="158722"/>
                  </a:cubicBezTo>
                  <a:cubicBezTo>
                    <a:pt x="117703" y="159946"/>
                    <a:pt x="117356" y="161244"/>
                    <a:pt x="117211" y="162573"/>
                  </a:cubicBezTo>
                  <a:lnTo>
                    <a:pt x="115601" y="177108"/>
                  </a:lnTo>
                  <a:cubicBezTo>
                    <a:pt x="115269" y="180106"/>
                    <a:pt x="113089" y="182573"/>
                    <a:pt x="110153" y="183271"/>
                  </a:cubicBezTo>
                  <a:cubicBezTo>
                    <a:pt x="96356" y="186553"/>
                    <a:pt x="81983" y="186553"/>
                    <a:pt x="68186" y="183271"/>
                  </a:cubicBezTo>
                  <a:cubicBezTo>
                    <a:pt x="65251" y="182573"/>
                    <a:pt x="63070" y="180106"/>
                    <a:pt x="62737" y="177108"/>
                  </a:cubicBezTo>
                  <a:lnTo>
                    <a:pt x="61137" y="162592"/>
                  </a:lnTo>
                  <a:cubicBezTo>
                    <a:pt x="60314" y="155369"/>
                    <a:pt x="53790" y="150181"/>
                    <a:pt x="46567" y="151005"/>
                  </a:cubicBezTo>
                  <a:cubicBezTo>
                    <a:pt x="45265" y="151153"/>
                    <a:pt x="43993" y="151495"/>
                    <a:pt x="42792" y="152019"/>
                  </a:cubicBezTo>
                  <a:lnTo>
                    <a:pt x="29400" y="157886"/>
                  </a:lnTo>
                  <a:cubicBezTo>
                    <a:pt x="26624" y="159103"/>
                    <a:pt x="23382" y="158434"/>
                    <a:pt x="21313" y="156220"/>
                  </a:cubicBezTo>
                  <a:cubicBezTo>
                    <a:pt x="11671" y="145910"/>
                    <a:pt x="4493" y="133547"/>
                    <a:pt x="320" y="120063"/>
                  </a:cubicBezTo>
                  <a:cubicBezTo>
                    <a:pt x="-580" y="117156"/>
                    <a:pt x="460" y="113998"/>
                    <a:pt x="2911" y="112195"/>
                  </a:cubicBezTo>
                  <a:lnTo>
                    <a:pt x="14751" y="103470"/>
                  </a:lnTo>
                  <a:cubicBezTo>
                    <a:pt x="20605" y="99178"/>
                    <a:pt x="21873" y="90952"/>
                    <a:pt x="17581" y="85097"/>
                  </a:cubicBezTo>
                  <a:cubicBezTo>
                    <a:pt x="16787" y="84015"/>
                    <a:pt x="15833" y="83061"/>
                    <a:pt x="14751" y="82267"/>
                  </a:cubicBezTo>
                  <a:lnTo>
                    <a:pt x="2911" y="73562"/>
                  </a:lnTo>
                  <a:cubicBezTo>
                    <a:pt x="463" y="71756"/>
                    <a:pt x="-573" y="68599"/>
                    <a:pt x="330" y="65694"/>
                  </a:cubicBezTo>
                  <a:cubicBezTo>
                    <a:pt x="4507" y="52222"/>
                    <a:pt x="11684" y="39873"/>
                    <a:pt x="21323" y="29575"/>
                  </a:cubicBezTo>
                  <a:cubicBezTo>
                    <a:pt x="23396" y="27359"/>
                    <a:pt x="26642" y="26695"/>
                    <a:pt x="29419" y="27918"/>
                  </a:cubicBezTo>
                  <a:lnTo>
                    <a:pt x="42754" y="33776"/>
                  </a:lnTo>
                  <a:cubicBezTo>
                    <a:pt x="49448" y="36678"/>
                    <a:pt x="57228" y="33603"/>
                    <a:pt x="60130" y="26909"/>
                  </a:cubicBezTo>
                  <a:cubicBezTo>
                    <a:pt x="60652" y="25705"/>
                    <a:pt x="60991" y="24430"/>
                    <a:pt x="61137" y="23127"/>
                  </a:cubicBezTo>
                  <a:lnTo>
                    <a:pt x="62757" y="8592"/>
                  </a:lnTo>
                  <a:cubicBezTo>
                    <a:pt x="63092" y="5552"/>
                    <a:pt x="65324" y="3063"/>
                    <a:pt x="68310" y="2400"/>
                  </a:cubicBezTo>
                  <a:cubicBezTo>
                    <a:pt x="75139" y="886"/>
                    <a:pt x="82121" y="86"/>
                    <a:pt x="89274" y="0"/>
                  </a:cubicBezTo>
                  <a:close/>
                  <a:moveTo>
                    <a:pt x="89274" y="14288"/>
                  </a:moveTo>
                  <a:cubicBezTo>
                    <a:pt x="84954" y="14338"/>
                    <a:pt x="80643" y="14711"/>
                    <a:pt x="76377" y="15402"/>
                  </a:cubicBezTo>
                  <a:lnTo>
                    <a:pt x="75339" y="24708"/>
                  </a:lnTo>
                  <a:cubicBezTo>
                    <a:pt x="73664" y="39797"/>
                    <a:pt x="60073" y="50671"/>
                    <a:pt x="44984" y="48995"/>
                  </a:cubicBezTo>
                  <a:cubicBezTo>
                    <a:pt x="42234" y="48690"/>
                    <a:pt x="39546" y="47971"/>
                    <a:pt x="37010" y="46863"/>
                  </a:cubicBezTo>
                  <a:lnTo>
                    <a:pt x="28457" y="43110"/>
                  </a:lnTo>
                  <a:cubicBezTo>
                    <a:pt x="23009" y="49722"/>
                    <a:pt x="18672" y="57176"/>
                    <a:pt x="15617" y="65180"/>
                  </a:cubicBezTo>
                  <a:lnTo>
                    <a:pt x="23218" y="70771"/>
                  </a:lnTo>
                  <a:cubicBezTo>
                    <a:pt x="35431" y="79746"/>
                    <a:pt x="38055" y="96922"/>
                    <a:pt x="29080" y="109134"/>
                  </a:cubicBezTo>
                  <a:cubicBezTo>
                    <a:pt x="27434" y="111373"/>
                    <a:pt x="25458" y="113349"/>
                    <a:pt x="23218" y="114995"/>
                  </a:cubicBezTo>
                  <a:lnTo>
                    <a:pt x="15608" y="120596"/>
                  </a:lnTo>
                  <a:cubicBezTo>
                    <a:pt x="18656" y="128616"/>
                    <a:pt x="22999" y="136084"/>
                    <a:pt x="28447" y="142713"/>
                  </a:cubicBezTo>
                  <a:lnTo>
                    <a:pt x="37068" y="138932"/>
                  </a:lnTo>
                  <a:cubicBezTo>
                    <a:pt x="50962" y="132865"/>
                    <a:pt x="67143" y="139211"/>
                    <a:pt x="73209" y="153105"/>
                  </a:cubicBezTo>
                  <a:cubicBezTo>
                    <a:pt x="74308" y="155619"/>
                    <a:pt x="75022" y="158285"/>
                    <a:pt x="75330" y="161011"/>
                  </a:cubicBezTo>
                  <a:lnTo>
                    <a:pt x="76377" y="170383"/>
                  </a:lnTo>
                  <a:cubicBezTo>
                    <a:pt x="84845" y="171812"/>
                    <a:pt x="93503" y="171812"/>
                    <a:pt x="101971" y="170383"/>
                  </a:cubicBezTo>
                  <a:lnTo>
                    <a:pt x="103019" y="161011"/>
                  </a:lnTo>
                  <a:cubicBezTo>
                    <a:pt x="104689" y="145948"/>
                    <a:pt x="118254" y="135090"/>
                    <a:pt x="133318" y="136761"/>
                  </a:cubicBezTo>
                  <a:cubicBezTo>
                    <a:pt x="136068" y="137066"/>
                    <a:pt x="138756" y="137785"/>
                    <a:pt x="141290" y="138894"/>
                  </a:cubicBezTo>
                  <a:lnTo>
                    <a:pt x="149910" y="142665"/>
                  </a:lnTo>
                  <a:cubicBezTo>
                    <a:pt x="155356" y="136050"/>
                    <a:pt x="159689" y="128593"/>
                    <a:pt x="162740" y="120587"/>
                  </a:cubicBezTo>
                  <a:lnTo>
                    <a:pt x="155140" y="114986"/>
                  </a:lnTo>
                  <a:cubicBezTo>
                    <a:pt x="142928" y="106010"/>
                    <a:pt x="140303" y="88835"/>
                    <a:pt x="149278" y="76623"/>
                  </a:cubicBezTo>
                  <a:cubicBezTo>
                    <a:pt x="150924" y="74384"/>
                    <a:pt x="152900" y="72407"/>
                    <a:pt x="155140" y="70761"/>
                  </a:cubicBezTo>
                  <a:lnTo>
                    <a:pt x="162721" y="65170"/>
                  </a:lnTo>
                  <a:cubicBezTo>
                    <a:pt x="159667" y="57166"/>
                    <a:pt x="155330" y="49712"/>
                    <a:pt x="149882" y="43101"/>
                  </a:cubicBezTo>
                  <a:lnTo>
                    <a:pt x="141347" y="46844"/>
                  </a:lnTo>
                  <a:cubicBezTo>
                    <a:pt x="127449" y="52928"/>
                    <a:pt x="111251" y="46594"/>
                    <a:pt x="105167" y="32696"/>
                  </a:cubicBezTo>
                  <a:cubicBezTo>
                    <a:pt x="104055" y="30156"/>
                    <a:pt x="103334" y="27463"/>
                    <a:pt x="103028" y="24708"/>
                  </a:cubicBezTo>
                  <a:lnTo>
                    <a:pt x="101980" y="15411"/>
                  </a:lnTo>
                  <a:cubicBezTo>
                    <a:pt x="97782" y="14725"/>
                    <a:pt x="93538" y="14352"/>
                    <a:pt x="89284" y="14297"/>
                  </a:cubicBezTo>
                  <a:close/>
                  <a:moveTo>
                    <a:pt x="89160" y="57150"/>
                  </a:moveTo>
                  <a:cubicBezTo>
                    <a:pt x="108887" y="57150"/>
                    <a:pt x="124879" y="73142"/>
                    <a:pt x="124879" y="92869"/>
                  </a:cubicBezTo>
                  <a:cubicBezTo>
                    <a:pt x="124879" y="112596"/>
                    <a:pt x="108887" y="128588"/>
                    <a:pt x="89160" y="128588"/>
                  </a:cubicBezTo>
                  <a:cubicBezTo>
                    <a:pt x="69433" y="128588"/>
                    <a:pt x="53441" y="112596"/>
                    <a:pt x="53441" y="92869"/>
                  </a:cubicBezTo>
                  <a:cubicBezTo>
                    <a:pt x="53441" y="73142"/>
                    <a:pt x="69433" y="57150"/>
                    <a:pt x="89160" y="57150"/>
                  </a:cubicBezTo>
                  <a:close/>
                  <a:moveTo>
                    <a:pt x="89160" y="71438"/>
                  </a:moveTo>
                  <a:cubicBezTo>
                    <a:pt x="77324" y="71438"/>
                    <a:pt x="67729" y="81033"/>
                    <a:pt x="67729" y="92869"/>
                  </a:cubicBezTo>
                  <a:cubicBezTo>
                    <a:pt x="67729" y="104705"/>
                    <a:pt x="77324" y="114300"/>
                    <a:pt x="89160" y="114300"/>
                  </a:cubicBezTo>
                  <a:cubicBezTo>
                    <a:pt x="100996" y="114300"/>
                    <a:pt x="110591" y="104705"/>
                    <a:pt x="110591" y="92869"/>
                  </a:cubicBezTo>
                  <a:cubicBezTo>
                    <a:pt x="110591" y="81033"/>
                    <a:pt x="100996" y="71438"/>
                    <a:pt x="89160" y="71438"/>
                  </a:cubicBezTo>
                  <a:close/>
                </a:path>
              </a:pathLst>
            </a:custGeom>
            <a:solidFill>
              <a:schemeClr val="tx1"/>
            </a:solidFill>
            <a:ln w="174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 name="Group 19">
            <a:extLst>
              <a:ext uri="{FF2B5EF4-FFF2-40B4-BE49-F238E27FC236}">
                <a16:creationId xmlns:a16="http://schemas.microsoft.com/office/drawing/2014/main" id="{0A7D3BD8-3878-AB0D-1EB1-194E1E8C1AA3}"/>
              </a:ext>
            </a:extLst>
          </p:cNvPr>
          <p:cNvGrpSpPr>
            <a:grpSpLocks/>
          </p:cNvGrpSpPr>
          <p:nvPr/>
        </p:nvGrpSpPr>
        <p:grpSpPr>
          <a:xfrm>
            <a:off x="5859144" y="2258189"/>
            <a:ext cx="473712" cy="473712"/>
            <a:chOff x="5891811" y="2290857"/>
            <a:chExt cx="408376" cy="408376"/>
          </a:xfrm>
        </p:grpSpPr>
        <p:sp>
          <p:nvSpPr>
            <p:cNvPr id="2058" name="Rectangle: Rounded Corners 2057">
              <a:extLst>
                <a:ext uri="{FF2B5EF4-FFF2-40B4-BE49-F238E27FC236}">
                  <a16:creationId xmlns:a16="http://schemas.microsoft.com/office/drawing/2014/main" id="{09BDF14A-BF13-CED3-6D98-BA1237180C81}"/>
                </a:ext>
                <a:ext uri="{C183D7F6-B498-43B3-948B-1728B52AA6E4}">
                  <adec:decorative xmlns:adec="http://schemas.microsoft.com/office/drawing/2017/decorative" val="1"/>
                </a:ext>
              </a:extLst>
            </p:cNvPr>
            <p:cNvSpPr>
              <a:spLocks/>
            </p:cNvSpPr>
            <p:nvPr/>
          </p:nvSpPr>
          <p:spPr bwMode="auto">
            <a:xfrm>
              <a:off x="5891811" y="2290857"/>
              <a:ext cx="408376" cy="408376"/>
            </a:xfrm>
            <a:prstGeom prst="roundRect">
              <a:avLst>
                <a:gd name="adj" fmla="val 21705"/>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059" name="Graphic 55">
              <a:extLst>
                <a:ext uri="{FF2B5EF4-FFF2-40B4-BE49-F238E27FC236}">
                  <a16:creationId xmlns:a16="http://schemas.microsoft.com/office/drawing/2014/main" id="{96A769BB-37F9-5790-8960-A7AEC878C339}"/>
                </a:ext>
                <a:ext uri="{C183D7F6-B498-43B3-948B-1728B52AA6E4}">
                  <adec:decorative xmlns:adec="http://schemas.microsoft.com/office/drawing/2017/decorative" val="1"/>
                </a:ext>
              </a:extLst>
            </p:cNvPr>
            <p:cNvSpPr/>
            <p:nvPr/>
          </p:nvSpPr>
          <p:spPr>
            <a:xfrm>
              <a:off x="5986426" y="2373298"/>
              <a:ext cx="219145" cy="243493"/>
            </a:xfrm>
            <a:custGeom>
              <a:avLst/>
              <a:gdLst>
                <a:gd name="connsiteX0" fmla="*/ 339367 w 444042"/>
                <a:gd name="connsiteY0" fmla="*/ 180155 h 493380"/>
                <a:gd name="connsiteX1" fmla="*/ 340504 w 444042"/>
                <a:gd name="connsiteY1" fmla="*/ 154014 h 493380"/>
                <a:gd name="connsiteX2" fmla="*/ 314363 w 444042"/>
                <a:gd name="connsiteY2" fmla="*/ 152878 h 493380"/>
                <a:gd name="connsiteX3" fmla="*/ 179408 w 444042"/>
                <a:gd name="connsiteY3" fmla="*/ 276587 h 493380"/>
                <a:gd name="connsiteX4" fmla="*/ 130261 w 444042"/>
                <a:gd name="connsiteY4" fmla="*/ 227441 h 493380"/>
                <a:gd name="connsiteX5" fmla="*/ 104095 w 444042"/>
                <a:gd name="connsiteY5" fmla="*/ 227441 h 493380"/>
                <a:gd name="connsiteX6" fmla="*/ 104095 w 444042"/>
                <a:gd name="connsiteY6" fmla="*/ 253605 h 493380"/>
                <a:gd name="connsiteX7" fmla="*/ 165768 w 444042"/>
                <a:gd name="connsiteY7" fmla="*/ 315278 h 493380"/>
                <a:gd name="connsiteX8" fmla="*/ 191353 w 444042"/>
                <a:gd name="connsiteY8" fmla="*/ 315835 h 493380"/>
                <a:gd name="connsiteX9" fmla="*/ 339367 w 444042"/>
                <a:gd name="connsiteY9" fmla="*/ 180155 h 493380"/>
                <a:gd name="connsiteX10" fmla="*/ 425541 w 444042"/>
                <a:gd name="connsiteY10" fmla="*/ 74007 h 493380"/>
                <a:gd name="connsiteX11" fmla="*/ 233122 w 444042"/>
                <a:gd name="connsiteY11" fmla="*/ 3700 h 493380"/>
                <a:gd name="connsiteX12" fmla="*/ 210920 w 444042"/>
                <a:gd name="connsiteY12" fmla="*/ 3700 h 493380"/>
                <a:gd name="connsiteX13" fmla="*/ 18502 w 444042"/>
                <a:gd name="connsiteY13" fmla="*/ 74007 h 493380"/>
                <a:gd name="connsiteX14" fmla="*/ 0 w 444042"/>
                <a:gd name="connsiteY14" fmla="*/ 92509 h 493380"/>
                <a:gd name="connsiteX15" fmla="*/ 0 w 444042"/>
                <a:gd name="connsiteY15" fmla="*/ 222021 h 493380"/>
                <a:gd name="connsiteX16" fmla="*/ 215240 w 444042"/>
                <a:gd name="connsiteY16" fmla="*/ 492093 h 493380"/>
                <a:gd name="connsiteX17" fmla="*/ 228803 w 444042"/>
                <a:gd name="connsiteY17" fmla="*/ 492093 h 493380"/>
                <a:gd name="connsiteX18" fmla="*/ 444043 w 444042"/>
                <a:gd name="connsiteY18" fmla="*/ 222021 h 493380"/>
                <a:gd name="connsiteX19" fmla="*/ 444043 w 444042"/>
                <a:gd name="connsiteY19" fmla="*/ 92509 h 493380"/>
                <a:gd name="connsiteX20" fmla="*/ 425541 w 444042"/>
                <a:gd name="connsiteY20" fmla="*/ 74007 h 493380"/>
                <a:gd name="connsiteX21" fmla="*/ 37004 w 444042"/>
                <a:gd name="connsiteY21" fmla="*/ 110466 h 493380"/>
                <a:gd name="connsiteX22" fmla="*/ 222021 w 444042"/>
                <a:gd name="connsiteY22" fmla="*/ 41390 h 493380"/>
                <a:gd name="connsiteX23" fmla="*/ 407039 w 444042"/>
                <a:gd name="connsiteY23" fmla="*/ 110466 h 493380"/>
                <a:gd name="connsiteX24" fmla="*/ 407039 w 444042"/>
                <a:gd name="connsiteY24" fmla="*/ 222021 h 493380"/>
                <a:gd name="connsiteX25" fmla="*/ 222021 w 444042"/>
                <a:gd name="connsiteY25" fmla="*/ 454944 h 493380"/>
                <a:gd name="connsiteX26" fmla="*/ 37004 w 444042"/>
                <a:gd name="connsiteY26" fmla="*/ 222021 h 493380"/>
                <a:gd name="connsiteX27" fmla="*/ 37004 w 444042"/>
                <a:gd name="connsiteY27" fmla="*/ 110466 h 493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4042" h="493380">
                  <a:moveTo>
                    <a:pt x="339367" y="180155"/>
                  </a:moveTo>
                  <a:cubicBezTo>
                    <a:pt x="346899" y="173250"/>
                    <a:pt x="347409" y="161546"/>
                    <a:pt x="340504" y="154014"/>
                  </a:cubicBezTo>
                  <a:cubicBezTo>
                    <a:pt x="333599" y="146482"/>
                    <a:pt x="321894" y="145973"/>
                    <a:pt x="314363" y="152878"/>
                  </a:cubicBezTo>
                  <a:lnTo>
                    <a:pt x="179408" y="276587"/>
                  </a:lnTo>
                  <a:lnTo>
                    <a:pt x="130261" y="227441"/>
                  </a:lnTo>
                  <a:cubicBezTo>
                    <a:pt x="123035" y="220216"/>
                    <a:pt x="111321" y="220216"/>
                    <a:pt x="104095" y="227441"/>
                  </a:cubicBezTo>
                  <a:cubicBezTo>
                    <a:pt x="96870" y="234667"/>
                    <a:pt x="96870" y="246380"/>
                    <a:pt x="104095" y="253605"/>
                  </a:cubicBezTo>
                  <a:lnTo>
                    <a:pt x="165768" y="315278"/>
                  </a:lnTo>
                  <a:cubicBezTo>
                    <a:pt x="172772" y="322284"/>
                    <a:pt x="184051" y="322528"/>
                    <a:pt x="191353" y="315835"/>
                  </a:cubicBezTo>
                  <a:lnTo>
                    <a:pt x="339367" y="180155"/>
                  </a:lnTo>
                  <a:close/>
                  <a:moveTo>
                    <a:pt x="425541" y="74007"/>
                  </a:moveTo>
                  <a:cubicBezTo>
                    <a:pt x="359837" y="74007"/>
                    <a:pt x="295831" y="50732"/>
                    <a:pt x="233122" y="3700"/>
                  </a:cubicBezTo>
                  <a:cubicBezTo>
                    <a:pt x="226543" y="-1233"/>
                    <a:pt x="217500" y="-1233"/>
                    <a:pt x="210920" y="3700"/>
                  </a:cubicBezTo>
                  <a:cubicBezTo>
                    <a:pt x="148211" y="50732"/>
                    <a:pt x="84206" y="74007"/>
                    <a:pt x="18502" y="74007"/>
                  </a:cubicBezTo>
                  <a:cubicBezTo>
                    <a:pt x="8284" y="74007"/>
                    <a:pt x="0" y="82291"/>
                    <a:pt x="0" y="92509"/>
                  </a:cubicBezTo>
                  <a:lnTo>
                    <a:pt x="0" y="222021"/>
                  </a:lnTo>
                  <a:cubicBezTo>
                    <a:pt x="0" y="345396"/>
                    <a:pt x="72960" y="436043"/>
                    <a:pt x="215240" y="492093"/>
                  </a:cubicBezTo>
                  <a:cubicBezTo>
                    <a:pt x="219599" y="493810"/>
                    <a:pt x="224444" y="493810"/>
                    <a:pt x="228803" y="492093"/>
                  </a:cubicBezTo>
                  <a:cubicBezTo>
                    <a:pt x="371082" y="436043"/>
                    <a:pt x="444043" y="345396"/>
                    <a:pt x="444043" y="222021"/>
                  </a:cubicBezTo>
                  <a:lnTo>
                    <a:pt x="444043" y="92509"/>
                  </a:lnTo>
                  <a:cubicBezTo>
                    <a:pt x="444043" y="82291"/>
                    <a:pt x="435759" y="74007"/>
                    <a:pt x="425541" y="74007"/>
                  </a:cubicBezTo>
                  <a:close/>
                  <a:moveTo>
                    <a:pt x="37004" y="110466"/>
                  </a:moveTo>
                  <a:cubicBezTo>
                    <a:pt x="100584" y="106715"/>
                    <a:pt x="162343" y="83586"/>
                    <a:pt x="222021" y="41390"/>
                  </a:cubicBezTo>
                  <a:cubicBezTo>
                    <a:pt x="281701" y="83586"/>
                    <a:pt x="343460" y="106715"/>
                    <a:pt x="407039" y="110466"/>
                  </a:cubicBezTo>
                  <a:lnTo>
                    <a:pt x="407039" y="222021"/>
                  </a:lnTo>
                  <a:cubicBezTo>
                    <a:pt x="407039" y="327003"/>
                    <a:pt x="346516" y="404052"/>
                    <a:pt x="222021" y="454944"/>
                  </a:cubicBezTo>
                  <a:cubicBezTo>
                    <a:pt x="97526" y="404052"/>
                    <a:pt x="37004" y="327003"/>
                    <a:pt x="37004" y="222021"/>
                  </a:cubicBezTo>
                  <a:lnTo>
                    <a:pt x="37004" y="110466"/>
                  </a:lnTo>
                  <a:close/>
                </a:path>
              </a:pathLst>
            </a:custGeom>
            <a:solidFill>
              <a:schemeClr val="tx1"/>
            </a:solidFill>
            <a:ln w="174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1" name="Group 20">
            <a:extLst>
              <a:ext uri="{FF2B5EF4-FFF2-40B4-BE49-F238E27FC236}">
                <a16:creationId xmlns:a16="http://schemas.microsoft.com/office/drawing/2014/main" id="{C0167A48-C817-C160-71A0-F5E619BED0A7}"/>
              </a:ext>
            </a:extLst>
          </p:cNvPr>
          <p:cNvGrpSpPr>
            <a:grpSpLocks/>
          </p:cNvGrpSpPr>
          <p:nvPr/>
        </p:nvGrpSpPr>
        <p:grpSpPr>
          <a:xfrm>
            <a:off x="6698616" y="2258189"/>
            <a:ext cx="473712" cy="473712"/>
            <a:chOff x="6696700" y="2290857"/>
            <a:chExt cx="408376" cy="408376"/>
          </a:xfrm>
        </p:grpSpPr>
        <p:sp>
          <p:nvSpPr>
            <p:cNvPr id="2060" name="Rectangle: Rounded Corners 2059">
              <a:extLst>
                <a:ext uri="{FF2B5EF4-FFF2-40B4-BE49-F238E27FC236}">
                  <a16:creationId xmlns:a16="http://schemas.microsoft.com/office/drawing/2014/main" id="{5D38F84D-85C9-09CF-6779-0AFFBC9042C1}"/>
                </a:ext>
                <a:ext uri="{C183D7F6-B498-43B3-948B-1728B52AA6E4}">
                  <adec:decorative xmlns:adec="http://schemas.microsoft.com/office/drawing/2017/decorative" val="1"/>
                </a:ext>
              </a:extLst>
            </p:cNvPr>
            <p:cNvSpPr>
              <a:spLocks/>
            </p:cNvSpPr>
            <p:nvPr/>
          </p:nvSpPr>
          <p:spPr bwMode="auto">
            <a:xfrm>
              <a:off x="6696700" y="2290857"/>
              <a:ext cx="408376" cy="408376"/>
            </a:xfrm>
            <a:prstGeom prst="roundRect">
              <a:avLst>
                <a:gd name="adj" fmla="val 21705"/>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061" name="Graphic 39">
              <a:extLst>
                <a:ext uri="{FF2B5EF4-FFF2-40B4-BE49-F238E27FC236}">
                  <a16:creationId xmlns:a16="http://schemas.microsoft.com/office/drawing/2014/main" id="{434AE313-4DEF-588F-DA6C-A17C1D9E0630}"/>
                </a:ext>
                <a:ext uri="{C183D7F6-B498-43B3-948B-1728B52AA6E4}">
                  <adec:decorative xmlns:adec="http://schemas.microsoft.com/office/drawing/2017/decorative" val="1"/>
                </a:ext>
              </a:extLst>
            </p:cNvPr>
            <p:cNvSpPr/>
            <p:nvPr/>
          </p:nvSpPr>
          <p:spPr>
            <a:xfrm>
              <a:off x="6808743" y="2392664"/>
              <a:ext cx="184292" cy="204763"/>
            </a:xfrm>
            <a:custGeom>
              <a:avLst/>
              <a:gdLst>
                <a:gd name="connsiteX0" fmla="*/ 223930 w 251999"/>
                <a:gd name="connsiteY0" fmla="*/ 29344 h 279991"/>
                <a:gd name="connsiteX1" fmla="*/ 192502 w 251999"/>
                <a:gd name="connsiteY1" fmla="*/ 0 h 279991"/>
                <a:gd name="connsiteX2" fmla="*/ 31501 w 251999"/>
                <a:gd name="connsiteY2" fmla="*/ 0 h 279991"/>
                <a:gd name="connsiteX3" fmla="*/ 29344 w 251999"/>
                <a:gd name="connsiteY3" fmla="*/ 73 h 279991"/>
                <a:gd name="connsiteX4" fmla="*/ 0 w 251999"/>
                <a:gd name="connsiteY4" fmla="*/ 31501 h 279991"/>
                <a:gd name="connsiteX5" fmla="*/ 0 w 251999"/>
                <a:gd name="connsiteY5" fmla="*/ 248477 h 279991"/>
                <a:gd name="connsiteX6" fmla="*/ 73 w 251999"/>
                <a:gd name="connsiteY6" fmla="*/ 250634 h 279991"/>
                <a:gd name="connsiteX7" fmla="*/ 31501 w 251999"/>
                <a:gd name="connsiteY7" fmla="*/ 279977 h 279991"/>
                <a:gd name="connsiteX8" fmla="*/ 137447 w 251999"/>
                <a:gd name="connsiteY8" fmla="*/ 279977 h 279991"/>
                <a:gd name="connsiteX9" fmla="*/ 116465 w 251999"/>
                <a:gd name="connsiteY9" fmla="*/ 258977 h 279991"/>
                <a:gd name="connsiteX10" fmla="*/ 31501 w 251999"/>
                <a:gd name="connsiteY10" fmla="*/ 258977 h 279991"/>
                <a:gd name="connsiteX11" fmla="*/ 30076 w 251999"/>
                <a:gd name="connsiteY11" fmla="*/ 258882 h 279991"/>
                <a:gd name="connsiteX12" fmla="*/ 21000 w 251999"/>
                <a:gd name="connsiteY12" fmla="*/ 248477 h 279991"/>
                <a:gd name="connsiteX13" fmla="*/ 21000 w 251999"/>
                <a:gd name="connsiteY13" fmla="*/ 31501 h 279991"/>
                <a:gd name="connsiteX14" fmla="*/ 21096 w 251999"/>
                <a:gd name="connsiteY14" fmla="*/ 30076 h 279991"/>
                <a:gd name="connsiteX15" fmla="*/ 31501 w 251999"/>
                <a:gd name="connsiteY15" fmla="*/ 21000 h 279991"/>
                <a:gd name="connsiteX16" fmla="*/ 192502 w 251999"/>
                <a:gd name="connsiteY16" fmla="*/ 21000 h 279991"/>
                <a:gd name="connsiteX17" fmla="*/ 193926 w 251999"/>
                <a:gd name="connsiteY17" fmla="*/ 21096 h 279991"/>
                <a:gd name="connsiteX18" fmla="*/ 203002 w 251999"/>
                <a:gd name="connsiteY18" fmla="*/ 31501 h 279991"/>
                <a:gd name="connsiteX19" fmla="*/ 203002 w 251999"/>
                <a:gd name="connsiteY19" fmla="*/ 193439 h 279991"/>
                <a:gd name="connsiteX20" fmla="*/ 219226 w 251999"/>
                <a:gd name="connsiteY20" fmla="*/ 177215 h 279991"/>
                <a:gd name="connsiteX21" fmla="*/ 224003 w 251999"/>
                <a:gd name="connsiteY21" fmla="*/ 173288 h 279991"/>
                <a:gd name="connsiteX22" fmla="*/ 224003 w 251999"/>
                <a:gd name="connsiteY22" fmla="*/ 31501 h 279991"/>
                <a:gd name="connsiteX23" fmla="*/ 223930 w 251999"/>
                <a:gd name="connsiteY23" fmla="*/ 29344 h 279991"/>
                <a:gd name="connsiteX24" fmla="*/ 172029 w 251999"/>
                <a:gd name="connsiteY24" fmla="*/ 279977 h 279991"/>
                <a:gd name="connsiteX25" fmla="*/ 171496 w 251999"/>
                <a:gd name="connsiteY25" fmla="*/ 279991 h 279991"/>
                <a:gd name="connsiteX26" fmla="*/ 170968 w 251999"/>
                <a:gd name="connsiteY26" fmla="*/ 279977 h 279991"/>
                <a:gd name="connsiteX27" fmla="*/ 164070 w 251999"/>
                <a:gd name="connsiteY27" fmla="*/ 276913 h 279991"/>
                <a:gd name="connsiteX28" fmla="*/ 129074 w 251999"/>
                <a:gd name="connsiteY28" fmla="*/ 241887 h 279991"/>
                <a:gd name="connsiteX29" fmla="*/ 129081 w 251999"/>
                <a:gd name="connsiteY29" fmla="*/ 227037 h 279991"/>
                <a:gd name="connsiteX30" fmla="*/ 143931 w 251999"/>
                <a:gd name="connsiteY30" fmla="*/ 227044 h 279991"/>
                <a:gd name="connsiteX31" fmla="*/ 171502 w 251999"/>
                <a:gd name="connsiteY31" fmla="*/ 254638 h 279991"/>
                <a:gd name="connsiteX32" fmla="*/ 234076 w 251999"/>
                <a:gd name="connsiteY32" fmla="*/ 192066 h 279991"/>
                <a:gd name="connsiteX33" fmla="*/ 248924 w 251999"/>
                <a:gd name="connsiteY33" fmla="*/ 192066 h 279991"/>
                <a:gd name="connsiteX34" fmla="*/ 248924 w 251999"/>
                <a:gd name="connsiteY34" fmla="*/ 206914 h 279991"/>
                <a:gd name="connsiteX35" fmla="*/ 178923 w 251999"/>
                <a:gd name="connsiteY35" fmla="*/ 276915 h 279991"/>
                <a:gd name="connsiteX36" fmla="*/ 172029 w 251999"/>
                <a:gd name="connsiteY36" fmla="*/ 279977 h 279991"/>
                <a:gd name="connsiteX37" fmla="*/ 137781 w 251999"/>
                <a:gd name="connsiteY37" fmla="*/ 202990 h 279991"/>
                <a:gd name="connsiteX38" fmla="*/ 135224 w 251999"/>
                <a:gd name="connsiteY38" fmla="*/ 202990 h 279991"/>
                <a:gd name="connsiteX39" fmla="*/ 101447 w 251999"/>
                <a:gd name="connsiteY39" fmla="*/ 202990 h 279991"/>
                <a:gd name="connsiteX40" fmla="*/ 90947 w 251999"/>
                <a:gd name="connsiteY40" fmla="*/ 192490 h 279991"/>
                <a:gd name="connsiteX41" fmla="*/ 101447 w 251999"/>
                <a:gd name="connsiteY41" fmla="*/ 181990 h 279991"/>
                <a:gd name="connsiteX42" fmla="*/ 171502 w 251999"/>
                <a:gd name="connsiteY42" fmla="*/ 181990 h 279991"/>
                <a:gd name="connsiteX43" fmla="*/ 182002 w 251999"/>
                <a:gd name="connsiteY43" fmla="*/ 192490 h 279991"/>
                <a:gd name="connsiteX44" fmla="*/ 171502 w 251999"/>
                <a:gd name="connsiteY44" fmla="*/ 202990 h 279991"/>
                <a:gd name="connsiteX45" fmla="*/ 137781 w 251999"/>
                <a:gd name="connsiteY45" fmla="*/ 202990 h 279991"/>
                <a:gd name="connsiteX46" fmla="*/ 70001 w 251999"/>
                <a:gd name="connsiteY46" fmla="*/ 80510 h 279991"/>
                <a:gd name="connsiteX47" fmla="*/ 56001 w 251999"/>
                <a:gd name="connsiteY47" fmla="*/ 94511 h 279991"/>
                <a:gd name="connsiteX48" fmla="*/ 42001 w 251999"/>
                <a:gd name="connsiteY48" fmla="*/ 80510 h 279991"/>
                <a:gd name="connsiteX49" fmla="*/ 56001 w 251999"/>
                <a:gd name="connsiteY49" fmla="*/ 66510 h 279991"/>
                <a:gd name="connsiteX50" fmla="*/ 70001 w 251999"/>
                <a:gd name="connsiteY50" fmla="*/ 80510 h 279991"/>
                <a:gd name="connsiteX51" fmla="*/ 90947 w 251999"/>
                <a:gd name="connsiteY51" fmla="*/ 80488 h 279991"/>
                <a:gd name="connsiteX52" fmla="*/ 101447 w 251999"/>
                <a:gd name="connsiteY52" fmla="*/ 69988 h 279991"/>
                <a:gd name="connsiteX53" fmla="*/ 171502 w 251999"/>
                <a:gd name="connsiteY53" fmla="*/ 69988 h 279991"/>
                <a:gd name="connsiteX54" fmla="*/ 182002 w 251999"/>
                <a:gd name="connsiteY54" fmla="*/ 80488 h 279991"/>
                <a:gd name="connsiteX55" fmla="*/ 171502 w 251999"/>
                <a:gd name="connsiteY55" fmla="*/ 90988 h 279991"/>
                <a:gd name="connsiteX56" fmla="*/ 101447 w 251999"/>
                <a:gd name="connsiteY56" fmla="*/ 90988 h 279991"/>
                <a:gd name="connsiteX57" fmla="*/ 90947 w 251999"/>
                <a:gd name="connsiteY57" fmla="*/ 80488 h 279991"/>
                <a:gd name="connsiteX58" fmla="*/ 101447 w 251999"/>
                <a:gd name="connsiteY58" fmla="*/ 125989 h 279991"/>
                <a:gd name="connsiteX59" fmla="*/ 90947 w 251999"/>
                <a:gd name="connsiteY59" fmla="*/ 136489 h 279991"/>
                <a:gd name="connsiteX60" fmla="*/ 101447 w 251999"/>
                <a:gd name="connsiteY60" fmla="*/ 146989 h 279991"/>
                <a:gd name="connsiteX61" fmla="*/ 171502 w 251999"/>
                <a:gd name="connsiteY61" fmla="*/ 146989 h 279991"/>
                <a:gd name="connsiteX62" fmla="*/ 182002 w 251999"/>
                <a:gd name="connsiteY62" fmla="*/ 136489 h 279991"/>
                <a:gd name="connsiteX63" fmla="*/ 171502 w 251999"/>
                <a:gd name="connsiteY63" fmla="*/ 125989 h 279991"/>
                <a:gd name="connsiteX64" fmla="*/ 101447 w 251999"/>
                <a:gd name="connsiteY64" fmla="*/ 125989 h 279991"/>
                <a:gd name="connsiteX65" fmla="*/ 56001 w 251999"/>
                <a:gd name="connsiteY65" fmla="*/ 150489 h 279991"/>
                <a:gd name="connsiteX66" fmla="*/ 70001 w 251999"/>
                <a:gd name="connsiteY66" fmla="*/ 136489 h 279991"/>
                <a:gd name="connsiteX67" fmla="*/ 56001 w 251999"/>
                <a:gd name="connsiteY67" fmla="*/ 122488 h 279991"/>
                <a:gd name="connsiteX68" fmla="*/ 42001 w 251999"/>
                <a:gd name="connsiteY68" fmla="*/ 136489 h 279991"/>
                <a:gd name="connsiteX69" fmla="*/ 56001 w 251999"/>
                <a:gd name="connsiteY69" fmla="*/ 150489 h 279991"/>
                <a:gd name="connsiteX70" fmla="*/ 70001 w 251999"/>
                <a:gd name="connsiteY70" fmla="*/ 192462 h 279991"/>
                <a:gd name="connsiteX71" fmla="*/ 56001 w 251999"/>
                <a:gd name="connsiteY71" fmla="*/ 206462 h 279991"/>
                <a:gd name="connsiteX72" fmla="*/ 42001 w 251999"/>
                <a:gd name="connsiteY72" fmla="*/ 192462 h 279991"/>
                <a:gd name="connsiteX73" fmla="*/ 56001 w 251999"/>
                <a:gd name="connsiteY73" fmla="*/ 178461 h 279991"/>
                <a:gd name="connsiteX74" fmla="*/ 70001 w 251999"/>
                <a:gd name="connsiteY74" fmla="*/ 192462 h 27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251999" h="279991">
                  <a:moveTo>
                    <a:pt x="223930" y="29344"/>
                  </a:moveTo>
                  <a:cubicBezTo>
                    <a:pt x="222821" y="12952"/>
                    <a:pt x="209174" y="0"/>
                    <a:pt x="192502" y="0"/>
                  </a:cubicBezTo>
                  <a:lnTo>
                    <a:pt x="31501" y="0"/>
                  </a:lnTo>
                  <a:lnTo>
                    <a:pt x="29344" y="73"/>
                  </a:lnTo>
                  <a:cubicBezTo>
                    <a:pt x="12952" y="1181"/>
                    <a:pt x="0" y="14828"/>
                    <a:pt x="0" y="31501"/>
                  </a:cubicBezTo>
                  <a:lnTo>
                    <a:pt x="0" y="248477"/>
                  </a:lnTo>
                  <a:lnTo>
                    <a:pt x="73" y="250634"/>
                  </a:lnTo>
                  <a:cubicBezTo>
                    <a:pt x="1181" y="267026"/>
                    <a:pt x="14828" y="279977"/>
                    <a:pt x="31501" y="279977"/>
                  </a:cubicBezTo>
                  <a:lnTo>
                    <a:pt x="137447" y="279977"/>
                  </a:lnTo>
                  <a:lnTo>
                    <a:pt x="116465" y="258977"/>
                  </a:lnTo>
                  <a:lnTo>
                    <a:pt x="31501" y="258977"/>
                  </a:lnTo>
                  <a:lnTo>
                    <a:pt x="30076" y="258882"/>
                  </a:lnTo>
                  <a:cubicBezTo>
                    <a:pt x="24951" y="258186"/>
                    <a:pt x="21000" y="253793"/>
                    <a:pt x="21000" y="248477"/>
                  </a:cubicBezTo>
                  <a:lnTo>
                    <a:pt x="21000" y="31501"/>
                  </a:lnTo>
                  <a:lnTo>
                    <a:pt x="21096" y="30076"/>
                  </a:lnTo>
                  <a:cubicBezTo>
                    <a:pt x="21792" y="24951"/>
                    <a:pt x="26185" y="21000"/>
                    <a:pt x="31501" y="21000"/>
                  </a:cubicBezTo>
                  <a:lnTo>
                    <a:pt x="192502" y="21000"/>
                  </a:lnTo>
                  <a:lnTo>
                    <a:pt x="193926" y="21096"/>
                  </a:lnTo>
                  <a:cubicBezTo>
                    <a:pt x="199051" y="21792"/>
                    <a:pt x="203002" y="26185"/>
                    <a:pt x="203002" y="31501"/>
                  </a:cubicBezTo>
                  <a:lnTo>
                    <a:pt x="203002" y="193439"/>
                  </a:lnTo>
                  <a:lnTo>
                    <a:pt x="219226" y="177215"/>
                  </a:lnTo>
                  <a:cubicBezTo>
                    <a:pt x="220715" y="175726"/>
                    <a:pt x="222316" y="174417"/>
                    <a:pt x="224003" y="173288"/>
                  </a:cubicBezTo>
                  <a:lnTo>
                    <a:pt x="224003" y="31501"/>
                  </a:lnTo>
                  <a:lnTo>
                    <a:pt x="223930" y="29344"/>
                  </a:lnTo>
                  <a:close/>
                  <a:moveTo>
                    <a:pt x="172029" y="279977"/>
                  </a:moveTo>
                  <a:cubicBezTo>
                    <a:pt x="171852" y="279987"/>
                    <a:pt x="171674" y="279991"/>
                    <a:pt x="171496" y="279991"/>
                  </a:cubicBezTo>
                  <a:cubicBezTo>
                    <a:pt x="171320" y="279991"/>
                    <a:pt x="171143" y="279987"/>
                    <a:pt x="170968" y="279977"/>
                  </a:cubicBezTo>
                  <a:cubicBezTo>
                    <a:pt x="168375" y="279847"/>
                    <a:pt x="165914" y="278758"/>
                    <a:pt x="164070" y="276913"/>
                  </a:cubicBezTo>
                  <a:lnTo>
                    <a:pt x="129074" y="241887"/>
                  </a:lnTo>
                  <a:cubicBezTo>
                    <a:pt x="124976" y="237785"/>
                    <a:pt x="124979" y="231136"/>
                    <a:pt x="129081" y="227037"/>
                  </a:cubicBezTo>
                  <a:cubicBezTo>
                    <a:pt x="133183" y="222937"/>
                    <a:pt x="139832" y="222940"/>
                    <a:pt x="143931" y="227044"/>
                  </a:cubicBezTo>
                  <a:lnTo>
                    <a:pt x="171502" y="254638"/>
                  </a:lnTo>
                  <a:lnTo>
                    <a:pt x="234076" y="192066"/>
                  </a:lnTo>
                  <a:cubicBezTo>
                    <a:pt x="238175" y="187965"/>
                    <a:pt x="244824" y="187965"/>
                    <a:pt x="248924" y="192066"/>
                  </a:cubicBezTo>
                  <a:cubicBezTo>
                    <a:pt x="253025" y="196166"/>
                    <a:pt x="253025" y="202814"/>
                    <a:pt x="248924" y="206914"/>
                  </a:cubicBezTo>
                  <a:lnTo>
                    <a:pt x="178923" y="276915"/>
                  </a:lnTo>
                  <a:cubicBezTo>
                    <a:pt x="177079" y="278759"/>
                    <a:pt x="174621" y="279847"/>
                    <a:pt x="172029" y="279977"/>
                  </a:cubicBezTo>
                  <a:close/>
                  <a:moveTo>
                    <a:pt x="137781" y="202990"/>
                  </a:moveTo>
                  <a:cubicBezTo>
                    <a:pt x="136929" y="202956"/>
                    <a:pt x="136075" y="202956"/>
                    <a:pt x="135224" y="202990"/>
                  </a:cubicBezTo>
                  <a:lnTo>
                    <a:pt x="101447" y="202990"/>
                  </a:lnTo>
                  <a:cubicBezTo>
                    <a:pt x="95648" y="202990"/>
                    <a:pt x="90947" y="198289"/>
                    <a:pt x="90947" y="192490"/>
                  </a:cubicBezTo>
                  <a:cubicBezTo>
                    <a:pt x="90947" y="186691"/>
                    <a:pt x="95648" y="181990"/>
                    <a:pt x="101447" y="181990"/>
                  </a:cubicBezTo>
                  <a:lnTo>
                    <a:pt x="171502" y="181990"/>
                  </a:lnTo>
                  <a:cubicBezTo>
                    <a:pt x="177302" y="181990"/>
                    <a:pt x="182002" y="186691"/>
                    <a:pt x="182002" y="192490"/>
                  </a:cubicBezTo>
                  <a:cubicBezTo>
                    <a:pt x="182002" y="198289"/>
                    <a:pt x="177302" y="202990"/>
                    <a:pt x="171502" y="202990"/>
                  </a:cubicBezTo>
                  <a:lnTo>
                    <a:pt x="137781" y="202990"/>
                  </a:lnTo>
                  <a:close/>
                  <a:moveTo>
                    <a:pt x="70001" y="80510"/>
                  </a:moveTo>
                  <a:cubicBezTo>
                    <a:pt x="70001" y="88242"/>
                    <a:pt x="63733" y="94511"/>
                    <a:pt x="56001" y="94511"/>
                  </a:cubicBezTo>
                  <a:cubicBezTo>
                    <a:pt x="48269" y="94511"/>
                    <a:pt x="42001" y="88242"/>
                    <a:pt x="42001" y="80510"/>
                  </a:cubicBezTo>
                  <a:cubicBezTo>
                    <a:pt x="42001" y="72778"/>
                    <a:pt x="48269" y="66510"/>
                    <a:pt x="56001" y="66510"/>
                  </a:cubicBezTo>
                  <a:cubicBezTo>
                    <a:pt x="63733" y="66510"/>
                    <a:pt x="70001" y="72778"/>
                    <a:pt x="70001" y="80510"/>
                  </a:cubicBezTo>
                  <a:close/>
                  <a:moveTo>
                    <a:pt x="90947" y="80488"/>
                  </a:moveTo>
                  <a:cubicBezTo>
                    <a:pt x="90947" y="74689"/>
                    <a:pt x="95648" y="69988"/>
                    <a:pt x="101447" y="69988"/>
                  </a:cubicBezTo>
                  <a:lnTo>
                    <a:pt x="171502" y="69988"/>
                  </a:lnTo>
                  <a:cubicBezTo>
                    <a:pt x="177302" y="69988"/>
                    <a:pt x="182002" y="74689"/>
                    <a:pt x="182002" y="80488"/>
                  </a:cubicBezTo>
                  <a:cubicBezTo>
                    <a:pt x="182002" y="86287"/>
                    <a:pt x="177302" y="90988"/>
                    <a:pt x="171502" y="90988"/>
                  </a:cubicBezTo>
                  <a:lnTo>
                    <a:pt x="101447" y="90988"/>
                  </a:lnTo>
                  <a:cubicBezTo>
                    <a:pt x="95648" y="90988"/>
                    <a:pt x="90947" y="86287"/>
                    <a:pt x="90947" y="80488"/>
                  </a:cubicBezTo>
                  <a:close/>
                  <a:moveTo>
                    <a:pt x="101447" y="125989"/>
                  </a:moveTo>
                  <a:cubicBezTo>
                    <a:pt x="95648" y="125989"/>
                    <a:pt x="90947" y="130690"/>
                    <a:pt x="90947" y="136489"/>
                  </a:cubicBezTo>
                  <a:cubicBezTo>
                    <a:pt x="90947" y="142288"/>
                    <a:pt x="95648" y="146989"/>
                    <a:pt x="101447" y="146989"/>
                  </a:cubicBezTo>
                  <a:lnTo>
                    <a:pt x="171502" y="146989"/>
                  </a:lnTo>
                  <a:cubicBezTo>
                    <a:pt x="177302" y="146989"/>
                    <a:pt x="182002" y="142288"/>
                    <a:pt x="182002" y="136489"/>
                  </a:cubicBezTo>
                  <a:cubicBezTo>
                    <a:pt x="182002" y="130690"/>
                    <a:pt x="177302" y="125989"/>
                    <a:pt x="171502" y="125989"/>
                  </a:cubicBezTo>
                  <a:lnTo>
                    <a:pt x="101447" y="125989"/>
                  </a:lnTo>
                  <a:close/>
                  <a:moveTo>
                    <a:pt x="56001" y="150489"/>
                  </a:moveTo>
                  <a:cubicBezTo>
                    <a:pt x="63733" y="150489"/>
                    <a:pt x="70001" y="144221"/>
                    <a:pt x="70001" y="136489"/>
                  </a:cubicBezTo>
                  <a:cubicBezTo>
                    <a:pt x="70001" y="128756"/>
                    <a:pt x="63733" y="122488"/>
                    <a:pt x="56001" y="122488"/>
                  </a:cubicBezTo>
                  <a:cubicBezTo>
                    <a:pt x="48269" y="122488"/>
                    <a:pt x="42001" y="128756"/>
                    <a:pt x="42001" y="136489"/>
                  </a:cubicBezTo>
                  <a:cubicBezTo>
                    <a:pt x="42001" y="144221"/>
                    <a:pt x="48269" y="150489"/>
                    <a:pt x="56001" y="150489"/>
                  </a:cubicBezTo>
                  <a:close/>
                  <a:moveTo>
                    <a:pt x="70001" y="192462"/>
                  </a:moveTo>
                  <a:cubicBezTo>
                    <a:pt x="70001" y="200194"/>
                    <a:pt x="63733" y="206462"/>
                    <a:pt x="56001" y="206462"/>
                  </a:cubicBezTo>
                  <a:cubicBezTo>
                    <a:pt x="48269" y="206462"/>
                    <a:pt x="42001" y="200194"/>
                    <a:pt x="42001" y="192462"/>
                  </a:cubicBezTo>
                  <a:cubicBezTo>
                    <a:pt x="42001" y="184729"/>
                    <a:pt x="48269" y="178461"/>
                    <a:pt x="56001" y="178461"/>
                  </a:cubicBezTo>
                  <a:cubicBezTo>
                    <a:pt x="63733" y="178461"/>
                    <a:pt x="70001" y="184729"/>
                    <a:pt x="70001" y="192462"/>
                  </a:cubicBezTo>
                  <a:close/>
                </a:path>
              </a:pathLst>
            </a:custGeom>
            <a:solidFill>
              <a:schemeClr val="tx1"/>
            </a:solidFill>
            <a:ln w="174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4B642DC5-ECA7-6395-5D93-0E5ED17C58D7}"/>
              </a:ext>
            </a:extLst>
          </p:cNvPr>
          <p:cNvGrpSpPr/>
          <p:nvPr/>
        </p:nvGrpSpPr>
        <p:grpSpPr>
          <a:xfrm>
            <a:off x="2231388" y="2258189"/>
            <a:ext cx="473712" cy="473712"/>
            <a:chOff x="2264056" y="2290857"/>
            <a:chExt cx="408376" cy="408376"/>
          </a:xfrm>
        </p:grpSpPr>
        <p:sp>
          <p:nvSpPr>
            <p:cNvPr id="2054" name="Rectangle: Rounded Corners 2053">
              <a:extLst>
                <a:ext uri="{FF2B5EF4-FFF2-40B4-BE49-F238E27FC236}">
                  <a16:creationId xmlns:a16="http://schemas.microsoft.com/office/drawing/2014/main" id="{624FA93A-BA22-8214-A109-6A7EC357FC12}"/>
                </a:ext>
                <a:ext uri="{C183D7F6-B498-43B3-948B-1728B52AA6E4}">
                  <adec:decorative xmlns:adec="http://schemas.microsoft.com/office/drawing/2017/decorative" val="1"/>
                </a:ext>
              </a:extLst>
            </p:cNvPr>
            <p:cNvSpPr>
              <a:spLocks/>
            </p:cNvSpPr>
            <p:nvPr/>
          </p:nvSpPr>
          <p:spPr bwMode="auto">
            <a:xfrm>
              <a:off x="2264056" y="2290857"/>
              <a:ext cx="408376" cy="408376"/>
            </a:xfrm>
            <a:prstGeom prst="roundRect">
              <a:avLst>
                <a:gd name="adj" fmla="val 21705"/>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5" name="Freeform: Shape 4">
              <a:extLst>
                <a:ext uri="{FF2B5EF4-FFF2-40B4-BE49-F238E27FC236}">
                  <a16:creationId xmlns:a16="http://schemas.microsoft.com/office/drawing/2014/main" id="{24873F1A-BD29-AAA5-2508-8F6D45DE82A1}"/>
                </a:ext>
                <a:ext uri="{C183D7F6-B498-43B3-948B-1728B52AA6E4}">
                  <adec:decorative xmlns:adec="http://schemas.microsoft.com/office/drawing/2017/decorative" val="1"/>
                </a:ext>
              </a:extLst>
            </p:cNvPr>
            <p:cNvSpPr>
              <a:spLocks/>
            </p:cNvSpPr>
            <p:nvPr/>
          </p:nvSpPr>
          <p:spPr>
            <a:xfrm>
              <a:off x="2336163" y="2389347"/>
              <a:ext cx="264162" cy="211396"/>
            </a:xfrm>
            <a:custGeom>
              <a:avLst/>
              <a:gdLst>
                <a:gd name="connsiteX0" fmla="*/ 2434151 w 5340464"/>
                <a:gd name="connsiteY0" fmla="*/ 2706428 h 4273712"/>
                <a:gd name="connsiteX1" fmla="*/ 2389564 w 5340464"/>
                <a:gd name="connsiteY1" fmla="*/ 2762693 h 4273712"/>
                <a:gd name="connsiteX2" fmla="*/ 2367651 w 5340464"/>
                <a:gd name="connsiteY2" fmla="*/ 2773563 h 4273712"/>
                <a:gd name="connsiteX3" fmla="*/ 2367631 w 5340464"/>
                <a:gd name="connsiteY3" fmla="*/ 2773554 h 4273712"/>
                <a:gd name="connsiteX4" fmla="*/ 2367592 w 5340464"/>
                <a:gd name="connsiteY4" fmla="*/ 2773593 h 4273712"/>
                <a:gd name="connsiteX5" fmla="*/ 2367651 w 5340464"/>
                <a:gd name="connsiteY5" fmla="*/ 2773563 h 4273712"/>
                <a:gd name="connsiteX6" fmla="*/ 2389875 w 5340464"/>
                <a:gd name="connsiteY6" fmla="*/ 2784389 h 4273712"/>
                <a:gd name="connsiteX7" fmla="*/ 2434863 w 5340464"/>
                <a:gd name="connsiteY7" fmla="*/ 2841074 h 4273712"/>
                <a:gd name="connsiteX8" fmla="*/ 2502135 w 5340464"/>
                <a:gd name="connsiteY8" fmla="*/ 2773909 h 4273712"/>
                <a:gd name="connsiteX9" fmla="*/ 2434151 w 5340464"/>
                <a:gd name="connsiteY9" fmla="*/ 2706428 h 4273712"/>
                <a:gd name="connsiteX10" fmla="*/ 2430944 w 5340464"/>
                <a:gd name="connsiteY10" fmla="*/ 2615855 h 4273712"/>
                <a:gd name="connsiteX11" fmla="*/ 2448757 w 5340464"/>
                <a:gd name="connsiteY11" fmla="*/ 2618153 h 4273712"/>
                <a:gd name="connsiteX12" fmla="*/ 2476731 w 5340464"/>
                <a:gd name="connsiteY12" fmla="*/ 2645545 h 4273712"/>
                <a:gd name="connsiteX13" fmla="*/ 2489750 w 5340464"/>
                <a:gd name="connsiteY13" fmla="*/ 2685607 h 4273712"/>
                <a:gd name="connsiteX14" fmla="*/ 2522198 w 5340464"/>
                <a:gd name="connsiteY14" fmla="*/ 2717846 h 4273712"/>
                <a:gd name="connsiteX15" fmla="*/ 2561453 w 5340464"/>
                <a:gd name="connsiteY15" fmla="*/ 2730607 h 4273712"/>
                <a:gd name="connsiteX16" fmla="*/ 2591069 w 5340464"/>
                <a:gd name="connsiteY16" fmla="*/ 2787089 h 4273712"/>
                <a:gd name="connsiteX17" fmla="*/ 2562997 w 5340464"/>
                <a:gd name="connsiteY17" fmla="*/ 2816144 h 4273712"/>
                <a:gd name="connsiteX18" fmla="*/ 2522871 w 5340464"/>
                <a:gd name="connsiteY18" fmla="*/ 2829143 h 4273712"/>
                <a:gd name="connsiteX19" fmla="*/ 2490502 w 5340464"/>
                <a:gd name="connsiteY19" fmla="*/ 2861619 h 4273712"/>
                <a:gd name="connsiteX20" fmla="*/ 2477760 w 5340464"/>
                <a:gd name="connsiteY20" fmla="*/ 2900693 h 4273712"/>
                <a:gd name="connsiteX21" fmla="*/ 2460942 w 5340464"/>
                <a:gd name="connsiteY21" fmla="*/ 2923213 h 4273712"/>
                <a:gd name="connsiteX22" fmla="*/ 2408390 w 5340464"/>
                <a:gd name="connsiteY22" fmla="*/ 2923015 h 4273712"/>
                <a:gd name="connsiteX23" fmla="*/ 2392166 w 5340464"/>
                <a:gd name="connsiteY23" fmla="*/ 2901325 h 4273712"/>
                <a:gd name="connsiteX24" fmla="*/ 2379186 w 5340464"/>
                <a:gd name="connsiteY24" fmla="*/ 2861540 h 4273712"/>
                <a:gd name="connsiteX25" fmla="*/ 2346698 w 5340464"/>
                <a:gd name="connsiteY25" fmla="*/ 2829024 h 4273712"/>
                <a:gd name="connsiteX26" fmla="*/ 2307482 w 5340464"/>
                <a:gd name="connsiteY26" fmla="*/ 2816262 h 4273712"/>
                <a:gd name="connsiteX27" fmla="*/ 2285158 w 5340464"/>
                <a:gd name="connsiteY27" fmla="*/ 2799815 h 4273712"/>
                <a:gd name="connsiteX28" fmla="*/ 2277078 w 5340464"/>
                <a:gd name="connsiteY28" fmla="*/ 2775015 h 4273712"/>
                <a:gd name="connsiteX29" fmla="*/ 2277078 w 5340464"/>
                <a:gd name="connsiteY29" fmla="*/ 2771912 h 4273712"/>
                <a:gd name="connsiteX30" fmla="*/ 2284994 w 5340464"/>
                <a:gd name="connsiteY30" fmla="*/ 2747267 h 4273712"/>
                <a:gd name="connsiteX31" fmla="*/ 2307087 w 5340464"/>
                <a:gd name="connsiteY31" fmla="*/ 2730805 h 4273712"/>
                <a:gd name="connsiteX32" fmla="*/ 2346896 w 5340464"/>
                <a:gd name="connsiteY32" fmla="*/ 2717925 h 4273712"/>
                <a:gd name="connsiteX33" fmla="*/ 2378553 w 5340464"/>
                <a:gd name="connsiteY33" fmla="*/ 2685567 h 4273712"/>
                <a:gd name="connsiteX34" fmla="*/ 2391375 w 5340464"/>
                <a:gd name="connsiteY34" fmla="*/ 2646375 h 4273712"/>
                <a:gd name="connsiteX35" fmla="*/ 2430944 w 5340464"/>
                <a:gd name="connsiteY35" fmla="*/ 2615855 h 4273712"/>
                <a:gd name="connsiteX36" fmla="*/ 3004537 w 5340464"/>
                <a:gd name="connsiteY36" fmla="*/ 2402141 h 4273712"/>
                <a:gd name="connsiteX37" fmla="*/ 4205622 w 5340464"/>
                <a:gd name="connsiteY37" fmla="*/ 2402141 h 4273712"/>
                <a:gd name="connsiteX38" fmla="*/ 4405840 w 5340464"/>
                <a:gd name="connsiteY38" fmla="*/ 2602471 h 4273712"/>
                <a:gd name="connsiteX39" fmla="*/ 4232844 w 5340464"/>
                <a:gd name="connsiteY39" fmla="*/ 2800811 h 4273712"/>
                <a:gd name="connsiteX40" fmla="*/ 4205622 w 5340464"/>
                <a:gd name="connsiteY40" fmla="*/ 2802661 h 4273712"/>
                <a:gd name="connsiteX41" fmla="*/ 3004537 w 5340464"/>
                <a:gd name="connsiteY41" fmla="*/ 2802661 h 4273712"/>
                <a:gd name="connsiteX42" fmla="*/ 2804318 w 5340464"/>
                <a:gd name="connsiteY42" fmla="*/ 2602359 h 4273712"/>
                <a:gd name="connsiteX43" fmla="*/ 2977316 w 5340464"/>
                <a:gd name="connsiteY43" fmla="*/ 2404019 h 4273712"/>
                <a:gd name="connsiteX44" fmla="*/ 874720 w 5340464"/>
                <a:gd name="connsiteY44" fmla="*/ 2325667 h 4273712"/>
                <a:gd name="connsiteX45" fmla="*/ 1962370 w 5340464"/>
                <a:gd name="connsiteY45" fmla="*/ 2325667 h 4273712"/>
                <a:gd name="connsiteX46" fmla="*/ 2004015 w 5340464"/>
                <a:gd name="connsiteY46" fmla="*/ 2329728 h 4273712"/>
                <a:gd name="connsiteX47" fmla="*/ 1974667 w 5340464"/>
                <a:gd name="connsiteY47" fmla="*/ 2351537 h 4273712"/>
                <a:gd name="connsiteX48" fmla="*/ 1904253 w 5340464"/>
                <a:gd name="connsiteY48" fmla="*/ 2374390 h 4273712"/>
                <a:gd name="connsiteX49" fmla="*/ 1840799 w 5340464"/>
                <a:gd name="connsiteY49" fmla="*/ 2506053 h 4273712"/>
                <a:gd name="connsiteX50" fmla="*/ 1905761 w 5340464"/>
                <a:gd name="connsiteY50" fmla="*/ 2570087 h 4273712"/>
                <a:gd name="connsiteX51" fmla="*/ 1973971 w 5340464"/>
                <a:gd name="connsiteY51" fmla="*/ 2592359 h 4273712"/>
                <a:gd name="connsiteX52" fmla="*/ 2016080 w 5340464"/>
                <a:gd name="connsiteY52" fmla="*/ 2634585 h 4273712"/>
                <a:gd name="connsiteX53" fmla="*/ 2039049 w 5340464"/>
                <a:gd name="connsiteY53" fmla="*/ 2705811 h 4273712"/>
                <a:gd name="connsiteX54" fmla="*/ 2076518 w 5340464"/>
                <a:gd name="connsiteY54" fmla="*/ 2755809 h 4273712"/>
                <a:gd name="connsiteX55" fmla="*/ 2135563 w 5340464"/>
                <a:gd name="connsiteY55" fmla="*/ 2774601 h 4273712"/>
                <a:gd name="connsiteX56" fmla="*/ 2136607 w 5340464"/>
                <a:gd name="connsiteY56" fmla="*/ 2774601 h 4273712"/>
                <a:gd name="connsiteX57" fmla="*/ 2141480 w 5340464"/>
                <a:gd name="connsiteY57" fmla="*/ 2774485 h 4273712"/>
                <a:gd name="connsiteX58" fmla="*/ 2051577 w 5340464"/>
                <a:gd name="connsiteY58" fmla="*/ 2892809 h 4273712"/>
                <a:gd name="connsiteX59" fmla="*/ 1418313 w 5340464"/>
                <a:gd name="connsiteY59" fmla="*/ 3081778 h 4273712"/>
                <a:gd name="connsiteX60" fmla="*/ 785513 w 5340464"/>
                <a:gd name="connsiteY60" fmla="*/ 2892809 h 4273712"/>
                <a:gd name="connsiteX61" fmla="*/ 661969 w 5340464"/>
                <a:gd name="connsiteY61" fmla="*/ 2624029 h 4273712"/>
                <a:gd name="connsiteX62" fmla="*/ 661969 w 5340464"/>
                <a:gd name="connsiteY62" fmla="*/ 2538186 h 4273712"/>
                <a:gd name="connsiteX63" fmla="*/ 874720 w 5340464"/>
                <a:gd name="connsiteY63" fmla="*/ 2325667 h 4273712"/>
                <a:gd name="connsiteX64" fmla="*/ 2134855 w 5340464"/>
                <a:gd name="connsiteY64" fmla="*/ 2279963 h 4273712"/>
                <a:gd name="connsiteX65" fmla="*/ 2114677 w 5340464"/>
                <a:gd name="connsiteY65" fmla="*/ 2342291 h 4273712"/>
                <a:gd name="connsiteX66" fmla="*/ 2073889 w 5340464"/>
                <a:gd name="connsiteY66" fmla="*/ 2409584 h 4273712"/>
                <a:gd name="connsiteX67" fmla="*/ 2007672 w 5340464"/>
                <a:gd name="connsiteY67" fmla="*/ 2451544 h 4273712"/>
                <a:gd name="connsiteX68" fmla="*/ 1944551 w 5340464"/>
                <a:gd name="connsiteY68" fmla="*/ 2472189 h 4273712"/>
                <a:gd name="connsiteX69" fmla="*/ 2007241 w 5340464"/>
                <a:gd name="connsiteY69" fmla="*/ 2492203 h 4273712"/>
                <a:gd name="connsiteX70" fmla="*/ 2074634 w 5340464"/>
                <a:gd name="connsiteY70" fmla="*/ 2534084 h 4273712"/>
                <a:gd name="connsiteX71" fmla="*/ 2074516 w 5340464"/>
                <a:gd name="connsiteY71" fmla="*/ 2534084 h 4273712"/>
                <a:gd name="connsiteX72" fmla="*/ 2088739 w 5340464"/>
                <a:gd name="connsiteY72" fmla="*/ 2550355 h 4273712"/>
                <a:gd name="connsiteX73" fmla="*/ 2116166 w 5340464"/>
                <a:gd name="connsiteY73" fmla="*/ 2601810 h 4273712"/>
                <a:gd name="connsiteX74" fmla="*/ 2136344 w 5340464"/>
                <a:gd name="connsiteY74" fmla="*/ 2664257 h 4273712"/>
                <a:gd name="connsiteX75" fmla="*/ 2156523 w 5340464"/>
                <a:gd name="connsiteY75" fmla="*/ 2601928 h 4273712"/>
                <a:gd name="connsiteX76" fmla="*/ 2265213 w 5340464"/>
                <a:gd name="connsiteY76" fmla="*/ 2492597 h 4273712"/>
                <a:gd name="connsiteX77" fmla="*/ 2327512 w 5340464"/>
                <a:gd name="connsiteY77" fmla="*/ 2472307 h 4273712"/>
                <a:gd name="connsiteX78" fmla="*/ 2264037 w 5340464"/>
                <a:gd name="connsiteY78" fmla="*/ 2451741 h 4273712"/>
                <a:gd name="connsiteX79" fmla="*/ 2155074 w 5340464"/>
                <a:gd name="connsiteY79" fmla="*/ 2342489 h 4273712"/>
                <a:gd name="connsiteX80" fmla="*/ 2138069 w 5340464"/>
                <a:gd name="connsiteY80" fmla="*/ 2216065 h 4273712"/>
                <a:gd name="connsiteX81" fmla="*/ 2188182 w 5340464"/>
                <a:gd name="connsiteY81" fmla="*/ 2253842 h 4273712"/>
                <a:gd name="connsiteX82" fmla="*/ 2210829 w 5340464"/>
                <a:gd name="connsiteY82" fmla="*/ 2323853 h 4273712"/>
                <a:gd name="connsiteX83" fmla="*/ 2282218 w 5340464"/>
                <a:gd name="connsiteY83" fmla="*/ 2395677 h 4273712"/>
                <a:gd name="connsiteX84" fmla="*/ 2350981 w 5340464"/>
                <a:gd name="connsiteY84" fmla="*/ 2418133 h 4273712"/>
                <a:gd name="connsiteX85" fmla="*/ 2387621 w 5340464"/>
                <a:gd name="connsiteY85" fmla="*/ 2453602 h 4273712"/>
                <a:gd name="connsiteX86" fmla="*/ 2353019 w 5340464"/>
                <a:gd name="connsiteY86" fmla="*/ 2526086 h 4273712"/>
                <a:gd name="connsiteX87" fmla="*/ 2283354 w 5340464"/>
                <a:gd name="connsiteY87" fmla="*/ 2548858 h 4273712"/>
                <a:gd name="connsiteX88" fmla="*/ 2212161 w 5340464"/>
                <a:gd name="connsiteY88" fmla="*/ 2620249 h 4273712"/>
                <a:gd name="connsiteX89" fmla="*/ 2188143 w 5340464"/>
                <a:gd name="connsiteY89" fmla="*/ 2693688 h 4273712"/>
                <a:gd name="connsiteX90" fmla="*/ 2136149 w 5340464"/>
                <a:gd name="connsiteY90" fmla="*/ 2728043 h 4273712"/>
                <a:gd name="connsiteX91" fmla="*/ 2136149 w 5340464"/>
                <a:gd name="connsiteY91" fmla="*/ 2728201 h 4273712"/>
                <a:gd name="connsiteX92" fmla="*/ 2103393 w 5340464"/>
                <a:gd name="connsiteY92" fmla="*/ 2717800 h 4273712"/>
                <a:gd name="connsiteX93" fmla="*/ 2103393 w 5340464"/>
                <a:gd name="connsiteY93" fmla="*/ 2717760 h 4273712"/>
                <a:gd name="connsiteX94" fmla="*/ 2082744 w 5340464"/>
                <a:gd name="connsiteY94" fmla="*/ 2690181 h 4273712"/>
                <a:gd name="connsiteX95" fmla="*/ 2060097 w 5340464"/>
                <a:gd name="connsiteY95" fmla="*/ 2620249 h 4273712"/>
                <a:gd name="connsiteX96" fmla="*/ 1988708 w 5340464"/>
                <a:gd name="connsiteY96" fmla="*/ 2548307 h 4273712"/>
                <a:gd name="connsiteX97" fmla="*/ 1919984 w 5340464"/>
                <a:gd name="connsiteY97" fmla="*/ 2525889 h 4273712"/>
                <a:gd name="connsiteX98" fmla="*/ 1884428 w 5340464"/>
                <a:gd name="connsiteY98" fmla="*/ 2490578 h 4273712"/>
                <a:gd name="connsiteX99" fmla="*/ 1919317 w 5340464"/>
                <a:gd name="connsiteY99" fmla="*/ 2418173 h 4273712"/>
                <a:gd name="connsiteX100" fmla="*/ 1988943 w 5340464"/>
                <a:gd name="connsiteY100" fmla="*/ 2395677 h 4273712"/>
                <a:gd name="connsiteX101" fmla="*/ 2058295 w 5340464"/>
                <a:gd name="connsiteY101" fmla="*/ 2325311 h 4273712"/>
                <a:gd name="connsiteX102" fmla="*/ 2081137 w 5340464"/>
                <a:gd name="connsiteY102" fmla="*/ 2254708 h 4273712"/>
                <a:gd name="connsiteX103" fmla="*/ 2115800 w 5340464"/>
                <a:gd name="connsiteY103" fmla="*/ 2219288 h 4273712"/>
                <a:gd name="connsiteX104" fmla="*/ 2138069 w 5340464"/>
                <a:gd name="connsiteY104" fmla="*/ 2216065 h 4273712"/>
                <a:gd name="connsiteX105" fmla="*/ 1630368 w 5340464"/>
                <a:gd name="connsiteY105" fmla="*/ 1616771 h 4273712"/>
                <a:gd name="connsiteX106" fmla="*/ 1508912 w 5340464"/>
                <a:gd name="connsiteY106" fmla="*/ 1731498 h 4273712"/>
                <a:gd name="connsiteX107" fmla="*/ 1623756 w 5340464"/>
                <a:gd name="connsiteY107" fmla="*/ 1852953 h 4273712"/>
                <a:gd name="connsiteX108" fmla="*/ 1630368 w 5340464"/>
                <a:gd name="connsiteY108" fmla="*/ 1852953 h 4273712"/>
                <a:gd name="connsiteX109" fmla="*/ 1745211 w 5340464"/>
                <a:gd name="connsiteY109" fmla="*/ 1731498 h 4273712"/>
                <a:gd name="connsiteX110" fmla="*/ 1630368 w 5340464"/>
                <a:gd name="connsiteY110" fmla="*/ 1616771 h 4273712"/>
                <a:gd name="connsiteX111" fmla="*/ 1205446 w 5340464"/>
                <a:gd name="connsiteY111" fmla="*/ 1616771 h 4273712"/>
                <a:gd name="connsiteX112" fmla="*/ 1087239 w 5340464"/>
                <a:gd name="connsiteY112" fmla="*/ 1734862 h 4273712"/>
                <a:gd name="connsiteX113" fmla="*/ 1205446 w 5340464"/>
                <a:gd name="connsiteY113" fmla="*/ 1853069 h 4273712"/>
                <a:gd name="connsiteX114" fmla="*/ 1323654 w 5340464"/>
                <a:gd name="connsiteY114" fmla="*/ 1734862 h 4273712"/>
                <a:gd name="connsiteX115" fmla="*/ 1205446 w 5340464"/>
                <a:gd name="connsiteY115" fmla="*/ 1616771 h 4273712"/>
                <a:gd name="connsiteX116" fmla="*/ 3004537 w 5340464"/>
                <a:gd name="connsiteY116" fmla="*/ 1468640 h 4273712"/>
                <a:gd name="connsiteX117" fmla="*/ 4205622 w 5340464"/>
                <a:gd name="connsiteY117" fmla="*/ 1468640 h 4273712"/>
                <a:gd name="connsiteX118" fmla="*/ 4405840 w 5340464"/>
                <a:gd name="connsiteY118" fmla="*/ 1668942 h 4273712"/>
                <a:gd name="connsiteX119" fmla="*/ 4232844 w 5340464"/>
                <a:gd name="connsiteY119" fmla="*/ 1867282 h 4273712"/>
                <a:gd name="connsiteX120" fmla="*/ 4205622 w 5340464"/>
                <a:gd name="connsiteY120" fmla="*/ 1869160 h 4273712"/>
                <a:gd name="connsiteX121" fmla="*/ 3004537 w 5340464"/>
                <a:gd name="connsiteY121" fmla="*/ 1869160 h 4273712"/>
                <a:gd name="connsiteX122" fmla="*/ 2804318 w 5340464"/>
                <a:gd name="connsiteY122" fmla="*/ 1668830 h 4273712"/>
                <a:gd name="connsiteX123" fmla="*/ 2977316 w 5340464"/>
                <a:gd name="connsiteY123" fmla="*/ 1470490 h 4273712"/>
                <a:gd name="connsiteX124" fmla="*/ 1418313 w 5340464"/>
                <a:gd name="connsiteY124" fmla="*/ 1191386 h 4273712"/>
                <a:gd name="connsiteX125" fmla="*/ 1488611 w 5340464"/>
                <a:gd name="connsiteY125" fmla="*/ 1252636 h 4273712"/>
                <a:gd name="connsiteX126" fmla="*/ 1489191 w 5340464"/>
                <a:gd name="connsiteY126" fmla="*/ 1262264 h 4273712"/>
                <a:gd name="connsiteX127" fmla="*/ 1489191 w 5340464"/>
                <a:gd name="connsiteY127" fmla="*/ 1333142 h 4273712"/>
                <a:gd name="connsiteX128" fmla="*/ 1820266 w 5340464"/>
                <a:gd name="connsiteY128" fmla="*/ 1333142 h 4273712"/>
                <a:gd name="connsiteX129" fmla="*/ 2033017 w 5340464"/>
                <a:gd name="connsiteY129" fmla="*/ 1545893 h 4273712"/>
                <a:gd name="connsiteX130" fmla="*/ 2033017 w 5340464"/>
                <a:gd name="connsiteY130" fmla="*/ 1971625 h 4273712"/>
                <a:gd name="connsiteX131" fmla="*/ 1820266 w 5340464"/>
                <a:gd name="connsiteY131" fmla="*/ 2184375 h 4273712"/>
                <a:gd name="connsiteX132" fmla="*/ 1016360 w 5340464"/>
                <a:gd name="connsiteY132" fmla="*/ 2184375 h 4273712"/>
                <a:gd name="connsiteX133" fmla="*/ 803610 w 5340464"/>
                <a:gd name="connsiteY133" fmla="*/ 1971625 h 4273712"/>
                <a:gd name="connsiteX134" fmla="*/ 803610 w 5340464"/>
                <a:gd name="connsiteY134" fmla="*/ 1545893 h 4273712"/>
                <a:gd name="connsiteX135" fmla="*/ 1016360 w 5340464"/>
                <a:gd name="connsiteY135" fmla="*/ 1333142 h 4273712"/>
                <a:gd name="connsiteX136" fmla="*/ 1347319 w 5340464"/>
                <a:gd name="connsiteY136" fmla="*/ 1333142 h 4273712"/>
                <a:gd name="connsiteX137" fmla="*/ 1347319 w 5340464"/>
                <a:gd name="connsiteY137" fmla="*/ 1262380 h 4273712"/>
                <a:gd name="connsiteX138" fmla="*/ 1408685 w 5340464"/>
                <a:gd name="connsiteY138" fmla="*/ 1192082 h 4273712"/>
                <a:gd name="connsiteX139" fmla="*/ 600795 w 5340464"/>
                <a:gd name="connsiteY139" fmla="*/ 400549 h 4273712"/>
                <a:gd name="connsiteX140" fmla="*/ 400549 w 5340464"/>
                <a:gd name="connsiteY140" fmla="*/ 600795 h 4273712"/>
                <a:gd name="connsiteX141" fmla="*/ 400549 w 5340464"/>
                <a:gd name="connsiteY141" fmla="*/ 898024 h 4273712"/>
                <a:gd name="connsiteX142" fmla="*/ 400550 w 5340464"/>
                <a:gd name="connsiteY142" fmla="*/ 898024 h 4273712"/>
                <a:gd name="connsiteX143" fmla="*/ 400550 w 5340464"/>
                <a:gd name="connsiteY143" fmla="*/ 3290704 h 4273712"/>
                <a:gd name="connsiteX144" fmla="*/ 400549 w 5340464"/>
                <a:gd name="connsiteY144" fmla="*/ 3290704 h 4273712"/>
                <a:gd name="connsiteX145" fmla="*/ 400549 w 5340464"/>
                <a:gd name="connsiteY145" fmla="*/ 3672890 h 4273712"/>
                <a:gd name="connsiteX146" fmla="*/ 600795 w 5340464"/>
                <a:gd name="connsiteY146" fmla="*/ 3873164 h 4273712"/>
                <a:gd name="connsiteX147" fmla="*/ 4739669 w 5340464"/>
                <a:gd name="connsiteY147" fmla="*/ 3873164 h 4273712"/>
                <a:gd name="connsiteX148" fmla="*/ 4939943 w 5340464"/>
                <a:gd name="connsiteY148" fmla="*/ 3672890 h 4273712"/>
                <a:gd name="connsiteX149" fmla="*/ 4939943 w 5340464"/>
                <a:gd name="connsiteY149" fmla="*/ 600795 h 4273712"/>
                <a:gd name="connsiteX150" fmla="*/ 4739669 w 5340464"/>
                <a:gd name="connsiteY150" fmla="*/ 400549 h 4273712"/>
                <a:gd name="connsiteX151" fmla="*/ 600795 w 5340464"/>
                <a:gd name="connsiteY151" fmla="*/ 0 h 4273712"/>
                <a:gd name="connsiteX152" fmla="*/ 4739669 w 5340464"/>
                <a:gd name="connsiteY152" fmla="*/ 0 h 4273712"/>
                <a:gd name="connsiteX153" fmla="*/ 5340464 w 5340464"/>
                <a:gd name="connsiteY153" fmla="*/ 600795 h 4273712"/>
                <a:gd name="connsiteX154" fmla="*/ 5340464 w 5340464"/>
                <a:gd name="connsiteY154" fmla="*/ 3672890 h 4273712"/>
                <a:gd name="connsiteX155" fmla="*/ 4739669 w 5340464"/>
                <a:gd name="connsiteY155" fmla="*/ 4273712 h 4273712"/>
                <a:gd name="connsiteX156" fmla="*/ 600795 w 5340464"/>
                <a:gd name="connsiteY156" fmla="*/ 4273712 h 4273712"/>
                <a:gd name="connsiteX157" fmla="*/ 0 w 5340464"/>
                <a:gd name="connsiteY157" fmla="*/ 3672890 h 4273712"/>
                <a:gd name="connsiteX158" fmla="*/ 0 w 5340464"/>
                <a:gd name="connsiteY158" fmla="*/ 3290704 h 4273712"/>
                <a:gd name="connsiteX159" fmla="*/ 1 w 5340464"/>
                <a:gd name="connsiteY159" fmla="*/ 3290704 h 4273712"/>
                <a:gd name="connsiteX160" fmla="*/ 1 w 5340464"/>
                <a:gd name="connsiteY160" fmla="*/ 898024 h 4273712"/>
                <a:gd name="connsiteX161" fmla="*/ 0 w 5340464"/>
                <a:gd name="connsiteY161" fmla="*/ 898024 h 4273712"/>
                <a:gd name="connsiteX162" fmla="*/ 0 w 5340464"/>
                <a:gd name="connsiteY162" fmla="*/ 600795 h 4273712"/>
                <a:gd name="connsiteX163" fmla="*/ 600795 w 5340464"/>
                <a:gd name="connsiteY163" fmla="*/ 0 h 427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340464" h="4273712">
                  <a:moveTo>
                    <a:pt x="2434151" y="2706428"/>
                  </a:moveTo>
                  <a:cubicBezTo>
                    <a:pt x="2425871" y="2729814"/>
                    <a:pt x="2410071" y="2749514"/>
                    <a:pt x="2389564" y="2762693"/>
                  </a:cubicBezTo>
                  <a:lnTo>
                    <a:pt x="2367651" y="2773563"/>
                  </a:lnTo>
                  <a:lnTo>
                    <a:pt x="2367631" y="2773554"/>
                  </a:lnTo>
                  <a:lnTo>
                    <a:pt x="2367592" y="2773593"/>
                  </a:lnTo>
                  <a:lnTo>
                    <a:pt x="2367651" y="2773563"/>
                  </a:lnTo>
                  <a:lnTo>
                    <a:pt x="2389875" y="2784389"/>
                  </a:lnTo>
                  <a:cubicBezTo>
                    <a:pt x="2410632" y="2797566"/>
                    <a:pt x="2426604" y="2817440"/>
                    <a:pt x="2434863" y="2841074"/>
                  </a:cubicBezTo>
                  <a:cubicBezTo>
                    <a:pt x="2445999" y="2809704"/>
                    <a:pt x="2470716" y="2785027"/>
                    <a:pt x="2502135" y="2773909"/>
                  </a:cubicBezTo>
                  <a:cubicBezTo>
                    <a:pt x="2470439" y="2762811"/>
                    <a:pt x="2445453" y="2738011"/>
                    <a:pt x="2434151" y="2706428"/>
                  </a:cubicBezTo>
                  <a:close/>
                  <a:moveTo>
                    <a:pt x="2430944" y="2615855"/>
                  </a:moveTo>
                  <a:cubicBezTo>
                    <a:pt x="2436804" y="2615430"/>
                    <a:pt x="2442844" y="2616146"/>
                    <a:pt x="2448757" y="2618153"/>
                  </a:cubicBezTo>
                  <a:cubicBezTo>
                    <a:pt x="2461764" y="2622566"/>
                    <a:pt x="2472057" y="2632645"/>
                    <a:pt x="2476731" y="2645545"/>
                  </a:cubicBezTo>
                  <a:lnTo>
                    <a:pt x="2489750" y="2685607"/>
                  </a:lnTo>
                  <a:cubicBezTo>
                    <a:pt x="2494918" y="2700830"/>
                    <a:pt x="2506923" y="2712761"/>
                    <a:pt x="2522198" y="2717846"/>
                  </a:cubicBezTo>
                  <a:lnTo>
                    <a:pt x="2561453" y="2730607"/>
                  </a:lnTo>
                  <a:cubicBezTo>
                    <a:pt x="2585252" y="2738039"/>
                    <a:pt x="2598513" y="2763325"/>
                    <a:pt x="2591069" y="2787089"/>
                  </a:cubicBezTo>
                  <a:cubicBezTo>
                    <a:pt x="2586823" y="2800649"/>
                    <a:pt x="2576420" y="2811419"/>
                    <a:pt x="2562997" y="2816144"/>
                  </a:cubicBezTo>
                  <a:lnTo>
                    <a:pt x="2522871" y="2829143"/>
                  </a:lnTo>
                  <a:cubicBezTo>
                    <a:pt x="2507577" y="2834298"/>
                    <a:pt x="2495590" y="2846321"/>
                    <a:pt x="2490502" y="2861619"/>
                  </a:cubicBezTo>
                  <a:lnTo>
                    <a:pt x="2477760" y="2900693"/>
                  </a:lnTo>
                  <a:cubicBezTo>
                    <a:pt x="2474673" y="2909780"/>
                    <a:pt x="2468816" y="2917682"/>
                    <a:pt x="2460942" y="2923213"/>
                  </a:cubicBezTo>
                  <a:cubicBezTo>
                    <a:pt x="2445192" y="2934394"/>
                    <a:pt x="2424057" y="2934311"/>
                    <a:pt x="2408390" y="2923015"/>
                  </a:cubicBezTo>
                  <a:cubicBezTo>
                    <a:pt x="2400852" y="2917651"/>
                    <a:pt x="2395177" y="2910065"/>
                    <a:pt x="2392166" y="2901325"/>
                  </a:cubicBezTo>
                  <a:lnTo>
                    <a:pt x="2379186" y="2861540"/>
                  </a:lnTo>
                  <a:cubicBezTo>
                    <a:pt x="2374121" y="2846179"/>
                    <a:pt x="2362071" y="2834117"/>
                    <a:pt x="2346698" y="2829024"/>
                  </a:cubicBezTo>
                  <a:lnTo>
                    <a:pt x="2307482" y="2816262"/>
                  </a:lnTo>
                  <a:cubicBezTo>
                    <a:pt x="2298280" y="2813163"/>
                    <a:pt x="2290573" y="2807314"/>
                    <a:pt x="2285158" y="2799815"/>
                  </a:cubicBezTo>
                  <a:lnTo>
                    <a:pt x="2277078" y="2775015"/>
                  </a:lnTo>
                  <a:lnTo>
                    <a:pt x="2277078" y="2771912"/>
                  </a:lnTo>
                  <a:lnTo>
                    <a:pt x="2284994" y="2747267"/>
                  </a:lnTo>
                  <a:cubicBezTo>
                    <a:pt x="2290339" y="2739791"/>
                    <a:pt x="2297963" y="2733940"/>
                    <a:pt x="2307087" y="2730805"/>
                  </a:cubicBezTo>
                  <a:lnTo>
                    <a:pt x="2346896" y="2717925"/>
                  </a:lnTo>
                  <a:cubicBezTo>
                    <a:pt x="2361893" y="2712607"/>
                    <a:pt x="2373583" y="2700659"/>
                    <a:pt x="2378553" y="2685567"/>
                  </a:cubicBezTo>
                  <a:lnTo>
                    <a:pt x="2391375" y="2646375"/>
                  </a:lnTo>
                  <a:cubicBezTo>
                    <a:pt x="2397405" y="2628664"/>
                    <a:pt x="2413363" y="2617129"/>
                    <a:pt x="2430944" y="2615855"/>
                  </a:cubicBezTo>
                  <a:close/>
                  <a:moveTo>
                    <a:pt x="3004537" y="2402141"/>
                  </a:moveTo>
                  <a:lnTo>
                    <a:pt x="4205622" y="2402141"/>
                  </a:lnTo>
                  <a:cubicBezTo>
                    <a:pt x="4316216" y="2402169"/>
                    <a:pt x="4405869" y="2491849"/>
                    <a:pt x="4405840" y="2602471"/>
                  </a:cubicBezTo>
                  <a:cubicBezTo>
                    <a:pt x="4405812" y="2702524"/>
                    <a:pt x="4331944" y="2787158"/>
                    <a:pt x="4232844" y="2800811"/>
                  </a:cubicBezTo>
                  <a:lnTo>
                    <a:pt x="4205622" y="2802661"/>
                  </a:lnTo>
                  <a:lnTo>
                    <a:pt x="3004537" y="2802661"/>
                  </a:lnTo>
                  <a:cubicBezTo>
                    <a:pt x="2893943" y="2802633"/>
                    <a:pt x="2804318" y="2712953"/>
                    <a:pt x="2804318" y="2602359"/>
                  </a:cubicBezTo>
                  <a:cubicBezTo>
                    <a:pt x="2804346" y="2502306"/>
                    <a:pt x="2878216" y="2417644"/>
                    <a:pt x="2977316" y="2404019"/>
                  </a:cubicBezTo>
                  <a:close/>
                  <a:moveTo>
                    <a:pt x="874720" y="2325667"/>
                  </a:moveTo>
                  <a:lnTo>
                    <a:pt x="1962370" y="2325667"/>
                  </a:lnTo>
                  <a:cubicBezTo>
                    <a:pt x="1976639" y="2325667"/>
                    <a:pt x="1990559" y="2327060"/>
                    <a:pt x="2004015" y="2329728"/>
                  </a:cubicBezTo>
                  <a:cubicBezTo>
                    <a:pt x="1996359" y="2339820"/>
                    <a:pt x="1986150" y="2347592"/>
                    <a:pt x="1974667" y="2351537"/>
                  </a:cubicBezTo>
                  <a:lnTo>
                    <a:pt x="1904253" y="2374390"/>
                  </a:lnTo>
                  <a:cubicBezTo>
                    <a:pt x="1850658" y="2392949"/>
                    <a:pt x="1822122" y="2451879"/>
                    <a:pt x="1840799" y="2506053"/>
                  </a:cubicBezTo>
                  <a:cubicBezTo>
                    <a:pt x="1851470" y="2536446"/>
                    <a:pt x="1875019" y="2559763"/>
                    <a:pt x="1905761" y="2570087"/>
                  </a:cubicBezTo>
                  <a:lnTo>
                    <a:pt x="1973971" y="2592359"/>
                  </a:lnTo>
                  <a:cubicBezTo>
                    <a:pt x="1993807" y="2598972"/>
                    <a:pt x="2009583" y="2614864"/>
                    <a:pt x="2016080" y="2634585"/>
                  </a:cubicBezTo>
                  <a:lnTo>
                    <a:pt x="2039049" y="2705811"/>
                  </a:lnTo>
                  <a:cubicBezTo>
                    <a:pt x="2046125" y="2725879"/>
                    <a:pt x="2059001" y="2743164"/>
                    <a:pt x="2076518" y="2755809"/>
                  </a:cubicBezTo>
                  <a:cubicBezTo>
                    <a:pt x="2093802" y="2768105"/>
                    <a:pt x="2114219" y="2774601"/>
                    <a:pt x="2135563" y="2774601"/>
                  </a:cubicBezTo>
                  <a:lnTo>
                    <a:pt x="2136607" y="2774601"/>
                  </a:lnTo>
                  <a:cubicBezTo>
                    <a:pt x="2138231" y="2774601"/>
                    <a:pt x="2139855" y="2774601"/>
                    <a:pt x="2141480" y="2774485"/>
                  </a:cubicBezTo>
                  <a:cubicBezTo>
                    <a:pt x="2120483" y="2819262"/>
                    <a:pt x="2090090" y="2859747"/>
                    <a:pt x="2051577" y="2892809"/>
                  </a:cubicBezTo>
                  <a:cubicBezTo>
                    <a:pt x="1903440" y="3019832"/>
                    <a:pt x="1691618" y="3081778"/>
                    <a:pt x="1418313" y="3081778"/>
                  </a:cubicBezTo>
                  <a:cubicBezTo>
                    <a:pt x="1145008" y="3081778"/>
                    <a:pt x="933302" y="3019832"/>
                    <a:pt x="785513" y="2892809"/>
                  </a:cubicBezTo>
                  <a:cubicBezTo>
                    <a:pt x="707095" y="2825411"/>
                    <a:pt x="661969" y="2727271"/>
                    <a:pt x="661969" y="2624029"/>
                  </a:cubicBezTo>
                  <a:lnTo>
                    <a:pt x="661969" y="2538186"/>
                  </a:lnTo>
                  <a:cubicBezTo>
                    <a:pt x="662085" y="2420791"/>
                    <a:pt x="757324" y="2325667"/>
                    <a:pt x="874720" y="2325667"/>
                  </a:cubicBezTo>
                  <a:close/>
                  <a:moveTo>
                    <a:pt x="2134855" y="2279963"/>
                  </a:moveTo>
                  <a:lnTo>
                    <a:pt x="2114677" y="2342291"/>
                  </a:lnTo>
                  <a:cubicBezTo>
                    <a:pt x="2106338" y="2367545"/>
                    <a:pt x="2092390" y="2390558"/>
                    <a:pt x="2073889" y="2409584"/>
                  </a:cubicBezTo>
                  <a:cubicBezTo>
                    <a:pt x="2055308" y="2428491"/>
                    <a:pt x="2032651" y="2442847"/>
                    <a:pt x="2007672" y="2451544"/>
                  </a:cubicBezTo>
                  <a:lnTo>
                    <a:pt x="1944551" y="2472189"/>
                  </a:lnTo>
                  <a:lnTo>
                    <a:pt x="2007241" y="2492203"/>
                  </a:lnTo>
                  <a:cubicBezTo>
                    <a:pt x="2032637" y="2500705"/>
                    <a:pt x="2055713" y="2515046"/>
                    <a:pt x="2074634" y="2534084"/>
                  </a:cubicBezTo>
                  <a:lnTo>
                    <a:pt x="2074516" y="2534084"/>
                  </a:lnTo>
                  <a:cubicBezTo>
                    <a:pt x="2079618" y="2539178"/>
                    <a:pt x="2084370" y="2544615"/>
                    <a:pt x="2088739" y="2550355"/>
                  </a:cubicBezTo>
                  <a:cubicBezTo>
                    <a:pt x="2100729" y="2565811"/>
                    <a:pt x="2110005" y="2583214"/>
                    <a:pt x="2116166" y="2601810"/>
                  </a:cubicBezTo>
                  <a:lnTo>
                    <a:pt x="2136344" y="2664257"/>
                  </a:lnTo>
                  <a:lnTo>
                    <a:pt x="2156523" y="2601928"/>
                  </a:lnTo>
                  <a:cubicBezTo>
                    <a:pt x="2173579" y="2550289"/>
                    <a:pt x="2213865" y="2509767"/>
                    <a:pt x="2265213" y="2492597"/>
                  </a:cubicBezTo>
                  <a:lnTo>
                    <a:pt x="2327512" y="2472307"/>
                  </a:lnTo>
                  <a:lnTo>
                    <a:pt x="2264037" y="2451741"/>
                  </a:lnTo>
                  <a:cubicBezTo>
                    <a:pt x="2212584" y="2434688"/>
                    <a:pt x="2172180" y="2394177"/>
                    <a:pt x="2155074" y="2342489"/>
                  </a:cubicBezTo>
                  <a:close/>
                  <a:moveTo>
                    <a:pt x="2138069" y="2216065"/>
                  </a:moveTo>
                  <a:cubicBezTo>
                    <a:pt x="2160111" y="2217352"/>
                    <a:pt x="2180309" y="2231612"/>
                    <a:pt x="2188182" y="2253842"/>
                  </a:cubicBezTo>
                  <a:lnTo>
                    <a:pt x="2210829" y="2323853"/>
                  </a:lnTo>
                  <a:cubicBezTo>
                    <a:pt x="2222027" y="2357776"/>
                    <a:pt x="2248486" y="2384397"/>
                    <a:pt x="2282218" y="2395677"/>
                  </a:cubicBezTo>
                  <a:lnTo>
                    <a:pt x="2350981" y="2418133"/>
                  </a:lnTo>
                  <a:cubicBezTo>
                    <a:pt x="2368092" y="2423454"/>
                    <a:pt x="2381684" y="2436612"/>
                    <a:pt x="2387621" y="2453602"/>
                  </a:cubicBezTo>
                  <a:cubicBezTo>
                    <a:pt x="2397972" y="2483226"/>
                    <a:pt x="2382480" y="2515677"/>
                    <a:pt x="2353019" y="2526086"/>
                  </a:cubicBezTo>
                  <a:lnTo>
                    <a:pt x="2283354" y="2548858"/>
                  </a:lnTo>
                  <a:cubicBezTo>
                    <a:pt x="2249783" y="2560079"/>
                    <a:pt x="2223414" y="2586524"/>
                    <a:pt x="2212161" y="2620249"/>
                  </a:cubicBezTo>
                  <a:lnTo>
                    <a:pt x="2188143" y="2693688"/>
                  </a:lnTo>
                  <a:cubicBezTo>
                    <a:pt x="2179205" y="2714569"/>
                    <a:pt x="2158753" y="2728083"/>
                    <a:pt x="2136149" y="2728043"/>
                  </a:cubicBezTo>
                  <a:lnTo>
                    <a:pt x="2136149" y="2728201"/>
                  </a:lnTo>
                  <a:cubicBezTo>
                    <a:pt x="2124433" y="2728240"/>
                    <a:pt x="2112992" y="2724615"/>
                    <a:pt x="2103393" y="2717800"/>
                  </a:cubicBezTo>
                  <a:lnTo>
                    <a:pt x="2103393" y="2717760"/>
                  </a:lnTo>
                  <a:cubicBezTo>
                    <a:pt x="2093833" y="2710983"/>
                    <a:pt x="2086623" y="2701331"/>
                    <a:pt x="2082744" y="2690181"/>
                  </a:cubicBezTo>
                  <a:lnTo>
                    <a:pt x="2060097" y="2620249"/>
                  </a:lnTo>
                  <a:cubicBezTo>
                    <a:pt x="2048871" y="2586319"/>
                    <a:pt x="2022428" y="2559669"/>
                    <a:pt x="1988708" y="2548307"/>
                  </a:cubicBezTo>
                  <a:lnTo>
                    <a:pt x="1919984" y="2525889"/>
                  </a:lnTo>
                  <a:cubicBezTo>
                    <a:pt x="1903324" y="2520306"/>
                    <a:pt x="1890188" y="2507257"/>
                    <a:pt x="1884428" y="2490578"/>
                  </a:cubicBezTo>
                  <a:cubicBezTo>
                    <a:pt x="1874179" y="2460896"/>
                    <a:pt x="1889799" y="2428480"/>
                    <a:pt x="1919317" y="2418173"/>
                  </a:cubicBezTo>
                  <a:lnTo>
                    <a:pt x="1988943" y="2395677"/>
                  </a:lnTo>
                  <a:cubicBezTo>
                    <a:pt x="2021570" y="2384158"/>
                    <a:pt x="2047134" y="2358221"/>
                    <a:pt x="2058295" y="2325311"/>
                  </a:cubicBezTo>
                  <a:lnTo>
                    <a:pt x="2081137" y="2254708"/>
                  </a:lnTo>
                  <a:cubicBezTo>
                    <a:pt x="2086692" y="2238190"/>
                    <a:pt x="2099464" y="2225139"/>
                    <a:pt x="2115800" y="2219288"/>
                  </a:cubicBezTo>
                  <a:cubicBezTo>
                    <a:pt x="2123170" y="2216649"/>
                    <a:pt x="2130722" y="2215636"/>
                    <a:pt x="2138069" y="2216065"/>
                  </a:cubicBezTo>
                  <a:close/>
                  <a:moveTo>
                    <a:pt x="1630368" y="1616771"/>
                  </a:moveTo>
                  <a:cubicBezTo>
                    <a:pt x="1565174" y="1614915"/>
                    <a:pt x="1510768" y="1666304"/>
                    <a:pt x="1508912" y="1731498"/>
                  </a:cubicBezTo>
                  <a:cubicBezTo>
                    <a:pt x="1507056" y="1796692"/>
                    <a:pt x="1558446" y="1851097"/>
                    <a:pt x="1623756" y="1852953"/>
                  </a:cubicBezTo>
                  <a:lnTo>
                    <a:pt x="1630368" y="1852953"/>
                  </a:lnTo>
                  <a:cubicBezTo>
                    <a:pt x="1695678" y="1851097"/>
                    <a:pt x="1747067" y="1796692"/>
                    <a:pt x="1745211" y="1731498"/>
                  </a:cubicBezTo>
                  <a:cubicBezTo>
                    <a:pt x="1743471" y="1668856"/>
                    <a:pt x="1693126" y="1618511"/>
                    <a:pt x="1630368" y="1616771"/>
                  </a:cubicBezTo>
                  <a:close/>
                  <a:moveTo>
                    <a:pt x="1205446" y="1616771"/>
                  </a:moveTo>
                  <a:cubicBezTo>
                    <a:pt x="1140252" y="1616771"/>
                    <a:pt x="1087239" y="1669552"/>
                    <a:pt x="1087239" y="1734862"/>
                  </a:cubicBezTo>
                  <a:cubicBezTo>
                    <a:pt x="1087239" y="1800172"/>
                    <a:pt x="1140252" y="1853069"/>
                    <a:pt x="1205446" y="1853069"/>
                  </a:cubicBezTo>
                  <a:cubicBezTo>
                    <a:pt x="1270756" y="1853069"/>
                    <a:pt x="1323654" y="1800056"/>
                    <a:pt x="1323654" y="1734862"/>
                  </a:cubicBezTo>
                  <a:cubicBezTo>
                    <a:pt x="1323654" y="1669668"/>
                    <a:pt x="1270640" y="1616771"/>
                    <a:pt x="1205446" y="1616771"/>
                  </a:cubicBezTo>
                  <a:close/>
                  <a:moveTo>
                    <a:pt x="3004537" y="1468640"/>
                  </a:moveTo>
                  <a:lnTo>
                    <a:pt x="4205622" y="1468640"/>
                  </a:lnTo>
                  <a:cubicBezTo>
                    <a:pt x="4316216" y="1468668"/>
                    <a:pt x="4405869" y="1558348"/>
                    <a:pt x="4405840" y="1668942"/>
                  </a:cubicBezTo>
                  <a:cubicBezTo>
                    <a:pt x="4405812" y="1768995"/>
                    <a:pt x="4331944" y="1853658"/>
                    <a:pt x="4232844" y="1867282"/>
                  </a:cubicBezTo>
                  <a:lnTo>
                    <a:pt x="4205622" y="1869160"/>
                  </a:lnTo>
                  <a:lnTo>
                    <a:pt x="3004537" y="1869160"/>
                  </a:lnTo>
                  <a:cubicBezTo>
                    <a:pt x="2893943" y="1869132"/>
                    <a:pt x="2804318" y="1779452"/>
                    <a:pt x="2804318" y="1668830"/>
                  </a:cubicBezTo>
                  <a:cubicBezTo>
                    <a:pt x="2804346" y="1568805"/>
                    <a:pt x="2878216" y="1484143"/>
                    <a:pt x="2977316" y="1470490"/>
                  </a:cubicBezTo>
                  <a:close/>
                  <a:moveTo>
                    <a:pt x="1418313" y="1191386"/>
                  </a:moveTo>
                  <a:cubicBezTo>
                    <a:pt x="1453694" y="1191386"/>
                    <a:pt x="1483739" y="1217603"/>
                    <a:pt x="1488611" y="1252636"/>
                  </a:cubicBezTo>
                  <a:lnTo>
                    <a:pt x="1489191" y="1262264"/>
                  </a:lnTo>
                  <a:lnTo>
                    <a:pt x="1489191" y="1333142"/>
                  </a:lnTo>
                  <a:lnTo>
                    <a:pt x="1820266" y="1333142"/>
                  </a:lnTo>
                  <a:cubicBezTo>
                    <a:pt x="1937777" y="1333142"/>
                    <a:pt x="2033017" y="1428381"/>
                    <a:pt x="2033017" y="1545893"/>
                  </a:cubicBezTo>
                  <a:lnTo>
                    <a:pt x="2033017" y="1971625"/>
                  </a:lnTo>
                  <a:cubicBezTo>
                    <a:pt x="2033017" y="2089137"/>
                    <a:pt x="1937777" y="2184375"/>
                    <a:pt x="1820266" y="2184375"/>
                  </a:cubicBezTo>
                  <a:lnTo>
                    <a:pt x="1016360" y="2184375"/>
                  </a:lnTo>
                  <a:cubicBezTo>
                    <a:pt x="898849" y="2184375"/>
                    <a:pt x="803610" y="2089137"/>
                    <a:pt x="803610" y="1971625"/>
                  </a:cubicBezTo>
                  <a:lnTo>
                    <a:pt x="803610" y="1545893"/>
                  </a:lnTo>
                  <a:cubicBezTo>
                    <a:pt x="803610" y="1428381"/>
                    <a:pt x="898849" y="1333142"/>
                    <a:pt x="1016360" y="1333142"/>
                  </a:cubicBezTo>
                  <a:lnTo>
                    <a:pt x="1347319" y="1333142"/>
                  </a:lnTo>
                  <a:lnTo>
                    <a:pt x="1347319" y="1262380"/>
                  </a:lnTo>
                  <a:cubicBezTo>
                    <a:pt x="1347319" y="1226999"/>
                    <a:pt x="1373536" y="1196954"/>
                    <a:pt x="1408685" y="1192082"/>
                  </a:cubicBezTo>
                  <a:close/>
                  <a:moveTo>
                    <a:pt x="600795" y="400549"/>
                  </a:moveTo>
                  <a:cubicBezTo>
                    <a:pt x="490202" y="400549"/>
                    <a:pt x="400549" y="490201"/>
                    <a:pt x="400549" y="600795"/>
                  </a:cubicBezTo>
                  <a:lnTo>
                    <a:pt x="400549" y="898024"/>
                  </a:lnTo>
                  <a:lnTo>
                    <a:pt x="400550" y="898024"/>
                  </a:lnTo>
                  <a:lnTo>
                    <a:pt x="400550" y="3290704"/>
                  </a:lnTo>
                  <a:lnTo>
                    <a:pt x="400549" y="3290704"/>
                  </a:lnTo>
                  <a:lnTo>
                    <a:pt x="400549" y="3672890"/>
                  </a:lnTo>
                  <a:cubicBezTo>
                    <a:pt x="400549" y="3783455"/>
                    <a:pt x="490258" y="3873164"/>
                    <a:pt x="600795" y="3873164"/>
                  </a:cubicBezTo>
                  <a:lnTo>
                    <a:pt x="4739669" y="3873164"/>
                  </a:lnTo>
                  <a:cubicBezTo>
                    <a:pt x="4850262" y="3873164"/>
                    <a:pt x="4939943" y="3783511"/>
                    <a:pt x="4939943" y="3672890"/>
                  </a:cubicBezTo>
                  <a:lnTo>
                    <a:pt x="4939943" y="600795"/>
                  </a:lnTo>
                  <a:cubicBezTo>
                    <a:pt x="4939943" y="490201"/>
                    <a:pt x="4850262" y="400549"/>
                    <a:pt x="4739669" y="400549"/>
                  </a:cubicBezTo>
                  <a:close/>
                  <a:moveTo>
                    <a:pt x="600795" y="0"/>
                  </a:moveTo>
                  <a:lnTo>
                    <a:pt x="4739669" y="0"/>
                  </a:lnTo>
                  <a:cubicBezTo>
                    <a:pt x="5071478" y="0"/>
                    <a:pt x="5340464" y="268986"/>
                    <a:pt x="5340464" y="600795"/>
                  </a:cubicBezTo>
                  <a:lnTo>
                    <a:pt x="5340464" y="3672890"/>
                  </a:lnTo>
                  <a:cubicBezTo>
                    <a:pt x="5340464" y="4004699"/>
                    <a:pt x="5071478" y="4273712"/>
                    <a:pt x="4739669" y="4273712"/>
                  </a:cubicBezTo>
                  <a:lnTo>
                    <a:pt x="600795" y="4273712"/>
                  </a:lnTo>
                  <a:cubicBezTo>
                    <a:pt x="268986" y="4273712"/>
                    <a:pt x="0" y="4004699"/>
                    <a:pt x="0" y="3672890"/>
                  </a:cubicBezTo>
                  <a:lnTo>
                    <a:pt x="0" y="3290704"/>
                  </a:lnTo>
                  <a:lnTo>
                    <a:pt x="1" y="3290704"/>
                  </a:lnTo>
                  <a:lnTo>
                    <a:pt x="1" y="898024"/>
                  </a:lnTo>
                  <a:lnTo>
                    <a:pt x="0" y="898024"/>
                  </a:lnTo>
                  <a:lnTo>
                    <a:pt x="0" y="600795"/>
                  </a:lnTo>
                  <a:cubicBezTo>
                    <a:pt x="0" y="268986"/>
                    <a:pt x="268986" y="0"/>
                    <a:pt x="600795" y="0"/>
                  </a:cubicBezTo>
                  <a:close/>
                </a:path>
              </a:pathLst>
            </a:custGeom>
            <a:solidFill>
              <a:schemeClr val="tx1"/>
            </a:solidFill>
            <a:ln w="174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96" name="TextBox 95">
            <a:extLst>
              <a:ext uri="{FF2B5EF4-FFF2-40B4-BE49-F238E27FC236}">
                <a16:creationId xmlns:a16="http://schemas.microsoft.com/office/drawing/2014/main" id="{7656043F-9D1D-B42C-146F-D413C5A12E3A}"/>
              </a:ext>
            </a:extLst>
          </p:cNvPr>
          <p:cNvSpPr txBox="1"/>
          <p:nvPr/>
        </p:nvSpPr>
        <p:spPr>
          <a:xfrm>
            <a:off x="1610641" y="3026456"/>
            <a:ext cx="1715213" cy="40934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2060"/>
                </a:solidFill>
                <a:effectLst/>
                <a:uLnTx/>
                <a:uFillTx/>
                <a:latin typeface="Segoe Sans Display"/>
                <a:ea typeface="+mn-ea"/>
                <a:cs typeface="+mn-cs"/>
              </a:rPr>
              <a:t>Registre des agents </a:t>
            </a:r>
            <a:br>
              <a:rPr kumimoji="0" lang="fr-fr" sz="1400" b="0" i="0" u="none" strike="noStrike" kern="1200" cap="none" spc="0" normalizeH="0" baseline="0" noProof="0">
                <a:ln>
                  <a:noFill/>
                </a:ln>
                <a:solidFill>
                  <a:srgbClr val="002060"/>
                </a:solidFill>
                <a:effectLst/>
                <a:uLnTx/>
                <a:uFillTx/>
                <a:latin typeface="Segoe Sans Display"/>
                <a:ea typeface="+mn-ea"/>
                <a:cs typeface="+mn-cs"/>
              </a:rPr>
            </a:br>
            <a:r>
              <a:rPr kumimoji="0" lang="fr-fr" sz="1400" b="0" i="0" u="none" strike="noStrike" kern="1200" cap="none" spc="0" normalizeH="0" baseline="0" noProof="0">
                <a:ln>
                  <a:noFill/>
                </a:ln>
                <a:solidFill>
                  <a:srgbClr val="002060"/>
                </a:solidFill>
                <a:effectLst/>
                <a:uLnTx/>
                <a:uFillTx/>
                <a:latin typeface="Segoe Sans Display"/>
                <a:ea typeface="+mn-ea"/>
                <a:cs typeface="+mn-cs"/>
              </a:rPr>
              <a:t>et contrôle des accès </a:t>
            </a:r>
          </a:p>
        </p:txBody>
      </p:sp>
      <p:sp>
        <p:nvSpPr>
          <p:cNvPr id="95" name="TextBox 94">
            <a:extLst>
              <a:ext uri="{FF2B5EF4-FFF2-40B4-BE49-F238E27FC236}">
                <a16:creationId xmlns:a16="http://schemas.microsoft.com/office/drawing/2014/main" id="{703072CE-BF27-849E-CB92-50FBD3E49C62}"/>
              </a:ext>
            </a:extLst>
          </p:cNvPr>
          <p:cNvSpPr txBox="1"/>
          <p:nvPr/>
        </p:nvSpPr>
        <p:spPr>
          <a:xfrm>
            <a:off x="5138209" y="3026456"/>
            <a:ext cx="1915589" cy="40934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2060"/>
                </a:solidFill>
                <a:effectLst/>
                <a:uLnTx/>
                <a:uFillTx/>
                <a:latin typeface="Segoe Sans Display"/>
                <a:ea typeface="+mn-ea"/>
                <a:cs typeface="+mn-cs"/>
              </a:rPr>
              <a:t>Visualisation des agents </a:t>
            </a:r>
            <a:br>
              <a:rPr kumimoji="0" lang="fr-fr" sz="1400" b="0" i="0" u="none" strike="noStrike" kern="1200" cap="none" spc="0" normalizeH="0" baseline="0" noProof="0">
                <a:ln>
                  <a:noFill/>
                </a:ln>
                <a:solidFill>
                  <a:srgbClr val="002060"/>
                </a:solidFill>
                <a:effectLst/>
                <a:uLnTx/>
                <a:uFillTx/>
                <a:latin typeface="Segoe Sans Display"/>
                <a:ea typeface="+mn-ea"/>
                <a:cs typeface="+mn-cs"/>
              </a:rPr>
            </a:br>
            <a:r>
              <a:rPr kumimoji="0" lang="fr-fr" sz="1400" b="0" i="0" u="none" strike="noStrike" kern="1200" cap="none" spc="0" normalizeH="0" baseline="0" noProof="0">
                <a:ln>
                  <a:noFill/>
                </a:ln>
                <a:solidFill>
                  <a:srgbClr val="002060"/>
                </a:solidFill>
                <a:effectLst/>
                <a:uLnTx/>
                <a:uFillTx/>
                <a:latin typeface="Segoe Sans Display"/>
                <a:ea typeface="+mn-ea"/>
                <a:cs typeface="+mn-cs"/>
              </a:rPr>
              <a:t>et sécurité</a:t>
            </a:r>
          </a:p>
        </p:txBody>
      </p:sp>
      <p:sp>
        <p:nvSpPr>
          <p:cNvPr id="106" name="Rectangle: Rounded Corners 105">
            <a:extLst>
              <a:ext uri="{FF2B5EF4-FFF2-40B4-BE49-F238E27FC236}">
                <a16:creationId xmlns:a16="http://schemas.microsoft.com/office/drawing/2014/main" id="{33D7AD87-B483-77D9-1605-857167C3A8B7}"/>
              </a:ext>
              <a:ext uri="{C183D7F6-B498-43B3-948B-1728B52AA6E4}">
                <adec:decorative xmlns:adec="http://schemas.microsoft.com/office/drawing/2017/decorative" val="1"/>
              </a:ext>
            </a:extLst>
          </p:cNvPr>
          <p:cNvSpPr>
            <a:spLocks/>
          </p:cNvSpPr>
          <p:nvPr/>
        </p:nvSpPr>
        <p:spPr bwMode="auto">
          <a:xfrm>
            <a:off x="10148927" y="2031777"/>
            <a:ext cx="408376" cy="408376"/>
          </a:xfrm>
          <a:prstGeom prst="roundRect">
            <a:avLst>
              <a:gd name="adj" fmla="val 21705"/>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08" name="Rectangle: Rounded Corners 107">
            <a:extLst>
              <a:ext uri="{FF2B5EF4-FFF2-40B4-BE49-F238E27FC236}">
                <a16:creationId xmlns:a16="http://schemas.microsoft.com/office/drawing/2014/main" id="{3AF547C2-AEB3-6CFB-8A4C-3214C4B7B7E9}"/>
              </a:ext>
              <a:ext uri="{C183D7F6-B498-43B3-948B-1728B52AA6E4}">
                <adec:decorative xmlns:adec="http://schemas.microsoft.com/office/drawing/2017/decorative" val="1"/>
              </a:ext>
            </a:extLst>
          </p:cNvPr>
          <p:cNvSpPr>
            <a:spLocks/>
          </p:cNvSpPr>
          <p:nvPr/>
        </p:nvSpPr>
        <p:spPr bwMode="auto">
          <a:xfrm>
            <a:off x="10812578" y="2031777"/>
            <a:ext cx="408376" cy="408376"/>
          </a:xfrm>
          <a:prstGeom prst="roundRect">
            <a:avLst>
              <a:gd name="adj" fmla="val 21705"/>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10" name="Rectangle: Rounded Corners 109">
            <a:extLst>
              <a:ext uri="{FF2B5EF4-FFF2-40B4-BE49-F238E27FC236}">
                <a16:creationId xmlns:a16="http://schemas.microsoft.com/office/drawing/2014/main" id="{36B019F5-6B60-9339-A987-44F4B732972C}"/>
              </a:ext>
              <a:ext uri="{C183D7F6-B498-43B3-948B-1728B52AA6E4}">
                <adec:decorative xmlns:adec="http://schemas.microsoft.com/office/drawing/2017/decorative" val="1"/>
              </a:ext>
            </a:extLst>
          </p:cNvPr>
          <p:cNvSpPr>
            <a:spLocks/>
          </p:cNvSpPr>
          <p:nvPr/>
        </p:nvSpPr>
        <p:spPr bwMode="auto">
          <a:xfrm>
            <a:off x="9485276" y="2031777"/>
            <a:ext cx="408376" cy="408376"/>
          </a:xfrm>
          <a:prstGeom prst="roundRect">
            <a:avLst>
              <a:gd name="adj" fmla="val 21705"/>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12" name="Rectangle: Rounded Corners 111">
            <a:extLst>
              <a:ext uri="{FF2B5EF4-FFF2-40B4-BE49-F238E27FC236}">
                <a16:creationId xmlns:a16="http://schemas.microsoft.com/office/drawing/2014/main" id="{F7560E83-74C9-04EF-707F-AFBE2F55FE63}"/>
              </a:ext>
              <a:ext uri="{C183D7F6-B498-43B3-948B-1728B52AA6E4}">
                <adec:decorative xmlns:adec="http://schemas.microsoft.com/office/drawing/2017/decorative" val="1"/>
              </a:ext>
            </a:extLst>
          </p:cNvPr>
          <p:cNvSpPr>
            <a:spLocks/>
          </p:cNvSpPr>
          <p:nvPr/>
        </p:nvSpPr>
        <p:spPr bwMode="auto">
          <a:xfrm>
            <a:off x="8821625" y="2031777"/>
            <a:ext cx="408376" cy="408376"/>
          </a:xfrm>
          <a:prstGeom prst="roundRect">
            <a:avLst>
              <a:gd name="adj" fmla="val 21705"/>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15" name="Rectangle: Rounded Corners 114">
            <a:extLst>
              <a:ext uri="{FF2B5EF4-FFF2-40B4-BE49-F238E27FC236}">
                <a16:creationId xmlns:a16="http://schemas.microsoft.com/office/drawing/2014/main" id="{20B0F24B-53D6-E01A-9352-185F83B69BC4}"/>
              </a:ext>
              <a:ext uri="{C183D7F6-B498-43B3-948B-1728B52AA6E4}">
                <adec:decorative xmlns:adec="http://schemas.microsoft.com/office/drawing/2017/decorative" val="1"/>
              </a:ext>
            </a:extLst>
          </p:cNvPr>
          <p:cNvSpPr>
            <a:spLocks/>
          </p:cNvSpPr>
          <p:nvPr/>
        </p:nvSpPr>
        <p:spPr bwMode="auto">
          <a:xfrm>
            <a:off x="8821625" y="2549937"/>
            <a:ext cx="408376" cy="408376"/>
          </a:xfrm>
          <a:prstGeom prst="roundRect">
            <a:avLst>
              <a:gd name="adj" fmla="val 21705"/>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17" name="Rectangle: Rounded Corners 116">
            <a:extLst>
              <a:ext uri="{FF2B5EF4-FFF2-40B4-BE49-F238E27FC236}">
                <a16:creationId xmlns:a16="http://schemas.microsoft.com/office/drawing/2014/main" id="{BE9B65E2-D51D-706D-44BE-8F309C1AB420}"/>
              </a:ext>
              <a:ext uri="{C183D7F6-B498-43B3-948B-1728B52AA6E4}">
                <adec:decorative xmlns:adec="http://schemas.microsoft.com/office/drawing/2017/decorative" val="1"/>
              </a:ext>
            </a:extLst>
          </p:cNvPr>
          <p:cNvSpPr>
            <a:spLocks/>
          </p:cNvSpPr>
          <p:nvPr/>
        </p:nvSpPr>
        <p:spPr bwMode="auto">
          <a:xfrm>
            <a:off x="8157974" y="2549937"/>
            <a:ext cx="408376" cy="408376"/>
          </a:xfrm>
          <a:prstGeom prst="roundRect">
            <a:avLst>
              <a:gd name="adj" fmla="val 21705"/>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19" name="Rectangle: Rounded Corners 118">
            <a:extLst>
              <a:ext uri="{FF2B5EF4-FFF2-40B4-BE49-F238E27FC236}">
                <a16:creationId xmlns:a16="http://schemas.microsoft.com/office/drawing/2014/main" id="{A49CA902-6900-4233-DCF7-0352C963D778}"/>
              </a:ext>
              <a:ext uri="{C183D7F6-B498-43B3-948B-1728B52AA6E4}">
                <adec:decorative xmlns:adec="http://schemas.microsoft.com/office/drawing/2017/decorative" val="1"/>
              </a:ext>
            </a:extLst>
          </p:cNvPr>
          <p:cNvSpPr>
            <a:spLocks/>
          </p:cNvSpPr>
          <p:nvPr/>
        </p:nvSpPr>
        <p:spPr bwMode="auto">
          <a:xfrm>
            <a:off x="8157974" y="2031777"/>
            <a:ext cx="408376" cy="408376"/>
          </a:xfrm>
          <a:prstGeom prst="roundRect">
            <a:avLst>
              <a:gd name="adj" fmla="val 21705"/>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21" name="Rectangle: Rounded Corners 120">
            <a:extLst>
              <a:ext uri="{FF2B5EF4-FFF2-40B4-BE49-F238E27FC236}">
                <a16:creationId xmlns:a16="http://schemas.microsoft.com/office/drawing/2014/main" id="{B3FFFD6F-5B51-BA3F-6869-EED40BE5894C}"/>
              </a:ext>
              <a:ext uri="{C183D7F6-B498-43B3-948B-1728B52AA6E4}">
                <adec:decorative xmlns:adec="http://schemas.microsoft.com/office/drawing/2017/decorative" val="1"/>
              </a:ext>
            </a:extLst>
          </p:cNvPr>
          <p:cNvSpPr>
            <a:spLocks/>
          </p:cNvSpPr>
          <p:nvPr/>
        </p:nvSpPr>
        <p:spPr bwMode="auto">
          <a:xfrm>
            <a:off x="10812578" y="2549937"/>
            <a:ext cx="408376" cy="408376"/>
          </a:xfrm>
          <a:prstGeom prst="roundRect">
            <a:avLst>
              <a:gd name="adj" fmla="val 21705"/>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23" name="Rectangle: Rounded Corners 122">
            <a:extLst>
              <a:ext uri="{FF2B5EF4-FFF2-40B4-BE49-F238E27FC236}">
                <a16:creationId xmlns:a16="http://schemas.microsoft.com/office/drawing/2014/main" id="{92C037EE-1EE8-D3A3-FA67-15E1B3CD117A}"/>
              </a:ext>
              <a:ext uri="{C183D7F6-B498-43B3-948B-1728B52AA6E4}">
                <adec:decorative xmlns:adec="http://schemas.microsoft.com/office/drawing/2017/decorative" val="1"/>
              </a:ext>
            </a:extLst>
          </p:cNvPr>
          <p:cNvSpPr>
            <a:spLocks/>
          </p:cNvSpPr>
          <p:nvPr/>
        </p:nvSpPr>
        <p:spPr bwMode="auto">
          <a:xfrm>
            <a:off x="10148927" y="2549937"/>
            <a:ext cx="408376" cy="408376"/>
          </a:xfrm>
          <a:prstGeom prst="roundRect">
            <a:avLst>
              <a:gd name="adj" fmla="val 21705"/>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25" name="Rectangle: Rounded Corners 124">
            <a:extLst>
              <a:ext uri="{FF2B5EF4-FFF2-40B4-BE49-F238E27FC236}">
                <a16:creationId xmlns:a16="http://schemas.microsoft.com/office/drawing/2014/main" id="{34036024-810C-4B2D-7A85-7C63CF302BA2}"/>
              </a:ext>
              <a:ext uri="{C183D7F6-B498-43B3-948B-1728B52AA6E4}">
                <adec:decorative xmlns:adec="http://schemas.microsoft.com/office/drawing/2017/decorative" val="1"/>
              </a:ext>
            </a:extLst>
          </p:cNvPr>
          <p:cNvSpPr>
            <a:spLocks/>
          </p:cNvSpPr>
          <p:nvPr/>
        </p:nvSpPr>
        <p:spPr bwMode="auto">
          <a:xfrm>
            <a:off x="9485276" y="2549937"/>
            <a:ext cx="408376" cy="408376"/>
          </a:xfrm>
          <a:prstGeom prst="roundRect">
            <a:avLst>
              <a:gd name="adj" fmla="val 21705"/>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pic>
        <p:nvPicPr>
          <p:cNvPr id="8" name="Picture 7" descr="Logo de Teams">
            <a:extLst>
              <a:ext uri="{FF2B5EF4-FFF2-40B4-BE49-F238E27FC236}">
                <a16:creationId xmlns:a16="http://schemas.microsoft.com/office/drawing/2014/main" id="{429663FB-E64C-FCAE-A290-11FFDCE9BC2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61551" y="2135353"/>
            <a:ext cx="201223" cy="201223"/>
          </a:xfrm>
          <a:prstGeom prst="rect">
            <a:avLst/>
          </a:prstGeom>
        </p:spPr>
      </p:pic>
      <p:pic>
        <p:nvPicPr>
          <p:cNvPr id="9" name="Picture 8" descr="Logo de Outlook">
            <a:extLst>
              <a:ext uri="{FF2B5EF4-FFF2-40B4-BE49-F238E27FC236}">
                <a16:creationId xmlns:a16="http://schemas.microsoft.com/office/drawing/2014/main" id="{5F18FE63-3546-053E-8CF4-840961C31B2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07057" y="2123055"/>
            <a:ext cx="237514" cy="225820"/>
          </a:xfrm>
          <a:prstGeom prst="rect">
            <a:avLst/>
          </a:prstGeom>
        </p:spPr>
      </p:pic>
      <p:pic>
        <p:nvPicPr>
          <p:cNvPr id="10" name="Picture 9" descr="Logo de Word">
            <a:extLst>
              <a:ext uri="{FF2B5EF4-FFF2-40B4-BE49-F238E27FC236}">
                <a16:creationId xmlns:a16="http://schemas.microsoft.com/office/drawing/2014/main" id="{76942009-E40A-B005-CB3B-4989E378E4E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86610" y="2128093"/>
            <a:ext cx="205710" cy="215744"/>
          </a:xfrm>
          <a:prstGeom prst="rect">
            <a:avLst/>
          </a:prstGeom>
        </p:spPr>
      </p:pic>
      <p:pic>
        <p:nvPicPr>
          <p:cNvPr id="11" name="Picture 10" descr="Logo de Excel">
            <a:extLst>
              <a:ext uri="{FF2B5EF4-FFF2-40B4-BE49-F238E27FC236}">
                <a16:creationId xmlns:a16="http://schemas.microsoft.com/office/drawing/2014/main" id="{D63173DC-010E-2CA5-98F9-418E02D3E21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253288" y="2131268"/>
            <a:ext cx="199656" cy="209394"/>
          </a:xfrm>
          <a:prstGeom prst="rect">
            <a:avLst/>
          </a:prstGeom>
        </p:spPr>
      </p:pic>
      <p:pic>
        <p:nvPicPr>
          <p:cNvPr id="12" name="Picture 11" descr="Logo de PowerPoint">
            <a:extLst>
              <a:ext uri="{FF2B5EF4-FFF2-40B4-BE49-F238E27FC236}">
                <a16:creationId xmlns:a16="http://schemas.microsoft.com/office/drawing/2014/main" id="{B100413C-A709-D3D3-E6B5-6A159C776F5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898807" y="2124383"/>
            <a:ext cx="235918" cy="223164"/>
          </a:xfrm>
          <a:prstGeom prst="rect">
            <a:avLst/>
          </a:prstGeom>
        </p:spPr>
      </p:pic>
      <p:pic>
        <p:nvPicPr>
          <p:cNvPr id="13" name="Picture 12" descr="Logo de OneDrive">
            <a:extLst>
              <a:ext uri="{FF2B5EF4-FFF2-40B4-BE49-F238E27FC236}">
                <a16:creationId xmlns:a16="http://schemas.microsoft.com/office/drawing/2014/main" id="{A5C2478C-3B37-5E2A-80F3-2B57B0F078C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241812" y="2673892"/>
            <a:ext cx="240700" cy="160466"/>
          </a:xfrm>
          <a:prstGeom prst="rect">
            <a:avLst/>
          </a:prstGeom>
        </p:spPr>
      </p:pic>
      <p:pic>
        <p:nvPicPr>
          <p:cNvPr id="14" name="Picture 13" descr="Logo de SharePoint">
            <a:extLst>
              <a:ext uri="{FF2B5EF4-FFF2-40B4-BE49-F238E27FC236}">
                <a16:creationId xmlns:a16="http://schemas.microsoft.com/office/drawing/2014/main" id="{80BED1FC-670C-1C62-1B42-04148DBCAC6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913976" y="2642044"/>
            <a:ext cx="223674" cy="224162"/>
          </a:xfrm>
          <a:prstGeom prst="rect">
            <a:avLst/>
          </a:prstGeom>
        </p:spPr>
      </p:pic>
      <p:pic>
        <p:nvPicPr>
          <p:cNvPr id="126" name="Picture 6" descr="Logo de Microsoft Dynamics 365 ">
            <a:extLst>
              <a:ext uri="{FF2B5EF4-FFF2-40B4-BE49-F238E27FC236}">
                <a16:creationId xmlns:a16="http://schemas.microsoft.com/office/drawing/2014/main" id="{355B6D02-EBC3-C2C8-E2C0-631F0BD10F0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30089" t="3867" r="30089" b="3867"/>
          <a:stretch>
            <a:fillRect/>
          </a:stretch>
        </p:blipFill>
        <p:spPr bwMode="auto">
          <a:xfrm>
            <a:off x="9600331" y="2638131"/>
            <a:ext cx="178268" cy="23198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Logo de Microsoft Power Apps">
            <a:extLst>
              <a:ext uri="{FF2B5EF4-FFF2-40B4-BE49-F238E27FC236}">
                <a16:creationId xmlns:a16="http://schemas.microsoft.com/office/drawing/2014/main" id="{9D35E7FB-C5B4-7EE0-5093-DA27586A1C38}"/>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243532" y="2644541"/>
            <a:ext cx="219168" cy="21916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Power BI">
            <a:extLst>
              <a:ext uri="{FF2B5EF4-FFF2-40B4-BE49-F238E27FC236}">
                <a16:creationId xmlns:a16="http://schemas.microsoft.com/office/drawing/2014/main" id="{8C8E22BA-0B02-C0A7-1171-373AB63996A8}"/>
              </a:ext>
              <a:ext uri="{C183D7F6-B498-43B3-948B-1728B52AA6E4}">
                <adec:decorative xmlns:adec="http://schemas.microsoft.com/office/drawing/2017/decorative" val="0"/>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23525" t="5556" r="23525" b="5556"/>
          <a:stretch>
            <a:fillRect/>
          </a:stretch>
        </p:blipFill>
        <p:spPr bwMode="auto">
          <a:xfrm>
            <a:off x="10932701" y="2649588"/>
            <a:ext cx="168132" cy="209074"/>
          </a:xfrm>
          <a:prstGeom prst="rect">
            <a:avLst/>
          </a:prstGeom>
          <a:noFill/>
          <a:extLst>
            <a:ext uri="{909E8E84-426E-40DD-AFC4-6F175D3DCCD1}">
              <a14:hiddenFill xmlns:a14="http://schemas.microsoft.com/office/drawing/2010/main">
                <a:solidFill>
                  <a:srgbClr val="FFFFFF"/>
                </a:solidFill>
              </a14:hiddenFill>
            </a:ext>
          </a:extLst>
        </p:spPr>
      </p:pic>
      <p:sp>
        <p:nvSpPr>
          <p:cNvPr id="114" name="TextBox 113">
            <a:extLst>
              <a:ext uri="{FF2B5EF4-FFF2-40B4-BE49-F238E27FC236}">
                <a16:creationId xmlns:a16="http://schemas.microsoft.com/office/drawing/2014/main" id="{D03DE7E8-3968-EB82-3E46-1E7A655BAB86}"/>
              </a:ext>
            </a:extLst>
          </p:cNvPr>
          <p:cNvSpPr txBox="1"/>
          <p:nvPr/>
        </p:nvSpPr>
        <p:spPr>
          <a:xfrm>
            <a:off x="9096178" y="3026456"/>
            <a:ext cx="1255151" cy="40934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2060"/>
                </a:solidFill>
                <a:effectLst/>
                <a:uLnTx/>
                <a:uFillTx/>
                <a:latin typeface="Segoe Sans Display"/>
                <a:ea typeface="+mn-ea"/>
                <a:cs typeface="+mn-cs"/>
              </a:rPr>
              <a:t>Interopérabilité </a:t>
            </a:r>
            <a:br>
              <a:rPr kumimoji="0" lang="fr-fr" sz="1400" b="0" i="0" u="none" strike="noStrike" kern="1200" cap="none" spc="0" normalizeH="0" baseline="0" noProof="0">
                <a:ln>
                  <a:noFill/>
                </a:ln>
                <a:solidFill>
                  <a:srgbClr val="002060"/>
                </a:solidFill>
                <a:effectLst/>
                <a:uLnTx/>
                <a:uFillTx/>
                <a:latin typeface="Segoe Sans Display"/>
                <a:ea typeface="+mn-ea"/>
                <a:cs typeface="+mn-cs"/>
              </a:rPr>
            </a:br>
            <a:r>
              <a:rPr kumimoji="0" lang="fr-fr" sz="1400" b="0" i="0" u="none" strike="noStrike" kern="1200" cap="none" spc="0" normalizeH="0" baseline="0" noProof="0">
                <a:ln>
                  <a:noFill/>
                </a:ln>
                <a:solidFill>
                  <a:srgbClr val="002060"/>
                </a:solidFill>
                <a:effectLst/>
                <a:uLnTx/>
                <a:uFillTx/>
                <a:latin typeface="Segoe Sans Display"/>
                <a:ea typeface="+mn-ea"/>
                <a:cs typeface="+mn-cs"/>
              </a:rPr>
              <a:t>des agents</a:t>
            </a:r>
          </a:p>
        </p:txBody>
      </p:sp>
      <p:sp>
        <p:nvSpPr>
          <p:cNvPr id="2066" name="Rounded Rectangle 5">
            <a:extLst>
              <a:ext uri="{FF2B5EF4-FFF2-40B4-BE49-F238E27FC236}">
                <a16:creationId xmlns:a16="http://schemas.microsoft.com/office/drawing/2014/main" id="{F1D97ACF-E5DE-40FF-23E7-7B58C83F376A}"/>
              </a:ext>
            </a:extLst>
          </p:cNvPr>
          <p:cNvSpPr/>
          <p:nvPr/>
        </p:nvSpPr>
        <p:spPr bwMode="auto">
          <a:xfrm>
            <a:off x="4991100" y="3929286"/>
            <a:ext cx="2209800" cy="383540"/>
          </a:xfrm>
          <a:prstGeom prst="roundRect">
            <a:avLst>
              <a:gd name="adj" fmla="val 50000"/>
            </a:avLst>
          </a:prstGeom>
          <a:gradFill flip="none" rotWithShape="1">
            <a:gsLst>
              <a:gs pos="100000">
                <a:schemeClr val="accent4">
                  <a:lumMod val="90000"/>
                </a:schemeClr>
              </a:gs>
              <a:gs pos="29400">
                <a:schemeClr val="accent3">
                  <a:lumMod val="40000"/>
                  <a:lumOff val="60000"/>
                </a:schemeClr>
              </a:gs>
              <a:gs pos="0">
                <a:schemeClr val="accent5"/>
              </a:gs>
            </a:gsLst>
            <a:path path="circle">
              <a:fillToRect l="100000" t="100000"/>
            </a:path>
            <a:tileRect r="-100000" b="-100000"/>
          </a:gradFill>
          <a:ln w="76200">
            <a:noFill/>
            <a:headEnd type="none" w="med" len="med"/>
            <a:tailEnd type="none" w="med" len="med"/>
          </a:ln>
          <a:effectLst>
            <a:outerShdw blurRad="375109" dist="101600" dir="5400000" sx="105000" sy="105000" algn="t"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a:ln>
                  <a:noFill/>
                </a:ln>
                <a:solidFill>
                  <a:srgbClr val="002060"/>
                </a:solidFill>
                <a:effectLst/>
                <a:uLnTx/>
                <a:uFillTx/>
                <a:latin typeface="Segoe Sans Display Semibold"/>
                <a:ea typeface="+mn-ea"/>
                <a:cs typeface="Segoe Sans Display Semibold" pitchFamily="2" charset="0"/>
              </a:rPr>
              <a:t>Votre agent</a:t>
            </a:r>
          </a:p>
        </p:txBody>
      </p:sp>
      <p:cxnSp>
        <p:nvCxnSpPr>
          <p:cNvPr id="26" name="Straight Connector 25">
            <a:extLst>
              <a:ext uri="{FF2B5EF4-FFF2-40B4-BE49-F238E27FC236}">
                <a16:creationId xmlns:a16="http://schemas.microsoft.com/office/drawing/2014/main" id="{AC9A8E4D-0F3C-41D6-C5A7-6C945EB10BBF}"/>
              </a:ext>
              <a:ext uri="{C183D7F6-B498-43B3-948B-1728B52AA6E4}">
                <adec:decorative xmlns:adec="http://schemas.microsoft.com/office/drawing/2017/decorative" val="1"/>
              </a:ext>
            </a:extLst>
          </p:cNvPr>
          <p:cNvCxnSpPr/>
          <p:nvPr/>
        </p:nvCxnSpPr>
        <p:spPr>
          <a:xfrm>
            <a:off x="3423285" y="4548116"/>
            <a:ext cx="0" cy="1314250"/>
          </a:xfrm>
          <a:prstGeom prst="line">
            <a:avLst/>
          </a:prstGeom>
          <a:ln w="6350">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1161EE2-351E-BD0F-139B-A9E56A281F2F}"/>
              </a:ext>
              <a:ext uri="{C183D7F6-B498-43B3-948B-1728B52AA6E4}">
                <adec:decorative xmlns:adec="http://schemas.microsoft.com/office/drawing/2017/decorative" val="1"/>
              </a:ext>
            </a:extLst>
          </p:cNvPr>
          <p:cNvCxnSpPr/>
          <p:nvPr/>
        </p:nvCxnSpPr>
        <p:spPr>
          <a:xfrm>
            <a:off x="6095999" y="4548116"/>
            <a:ext cx="0" cy="1314250"/>
          </a:xfrm>
          <a:prstGeom prst="line">
            <a:avLst/>
          </a:prstGeom>
          <a:ln w="6350">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B412718-E0EE-E669-1AC3-919FCA7044DF}"/>
              </a:ext>
              <a:ext uri="{C183D7F6-B498-43B3-948B-1728B52AA6E4}">
                <adec:decorative xmlns:adec="http://schemas.microsoft.com/office/drawing/2017/decorative" val="1"/>
              </a:ext>
            </a:extLst>
          </p:cNvPr>
          <p:cNvCxnSpPr/>
          <p:nvPr/>
        </p:nvCxnSpPr>
        <p:spPr>
          <a:xfrm>
            <a:off x="8768713" y="4548116"/>
            <a:ext cx="0" cy="1314250"/>
          </a:xfrm>
          <a:prstGeom prst="line">
            <a:avLst/>
          </a:prstGeom>
          <a:ln w="6350">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Rectangle: Rounded Corners 28">
            <a:extLst>
              <a:ext uri="{FF2B5EF4-FFF2-40B4-BE49-F238E27FC236}">
                <a16:creationId xmlns:a16="http://schemas.microsoft.com/office/drawing/2014/main" id="{C0FE03AD-568C-B322-B522-8B0AFF078696}"/>
              </a:ext>
              <a:ext uri="{C183D7F6-B498-43B3-948B-1728B52AA6E4}">
                <adec:decorative xmlns:adec="http://schemas.microsoft.com/office/drawing/2017/decorative" val="1"/>
              </a:ext>
            </a:extLst>
          </p:cNvPr>
          <p:cNvSpPr>
            <a:spLocks/>
          </p:cNvSpPr>
          <p:nvPr/>
        </p:nvSpPr>
        <p:spPr bwMode="auto">
          <a:xfrm>
            <a:off x="4524372" y="4754716"/>
            <a:ext cx="470540" cy="470540"/>
          </a:xfrm>
          <a:prstGeom prst="roundRect">
            <a:avLst>
              <a:gd name="adj" fmla="val 18838"/>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pic>
        <p:nvPicPr>
          <p:cNvPr id="30" name="Picture 10">
            <a:extLst>
              <a:ext uri="{FF2B5EF4-FFF2-40B4-BE49-F238E27FC236}">
                <a16:creationId xmlns:a16="http://schemas.microsoft.com/office/drawing/2014/main" id="{1A456962-A9A3-008E-45BC-C07133C4D0D8}"/>
              </a:ext>
              <a:ext uri="{C183D7F6-B498-43B3-948B-1728B52AA6E4}">
                <adec:decorative xmlns:adec="http://schemas.microsoft.com/office/drawing/2017/decorative" val="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p:blipFill>
        <p:spPr bwMode="auto">
          <a:xfrm>
            <a:off x="4571046" y="4791377"/>
            <a:ext cx="377192" cy="397218"/>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Rounded Corners 30">
            <a:extLst>
              <a:ext uri="{FF2B5EF4-FFF2-40B4-BE49-F238E27FC236}">
                <a16:creationId xmlns:a16="http://schemas.microsoft.com/office/drawing/2014/main" id="{0C457F4B-BE86-9165-E912-9BD6D762667E}"/>
              </a:ext>
              <a:ext uri="{C183D7F6-B498-43B3-948B-1728B52AA6E4}">
                <adec:decorative xmlns:adec="http://schemas.microsoft.com/office/drawing/2017/decorative" val="1"/>
              </a:ext>
            </a:extLst>
          </p:cNvPr>
          <p:cNvSpPr>
            <a:spLocks/>
          </p:cNvSpPr>
          <p:nvPr/>
        </p:nvSpPr>
        <p:spPr bwMode="auto">
          <a:xfrm>
            <a:off x="7197085" y="4754716"/>
            <a:ext cx="470540" cy="470540"/>
          </a:xfrm>
          <a:prstGeom prst="roundRect">
            <a:avLst>
              <a:gd name="adj" fmla="val 18838"/>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pic>
        <p:nvPicPr>
          <p:cNvPr id="32" name="Picture 31">
            <a:extLst>
              <a:ext uri="{FF2B5EF4-FFF2-40B4-BE49-F238E27FC236}">
                <a16:creationId xmlns:a16="http://schemas.microsoft.com/office/drawing/2014/main" id="{BA2D4FE0-DCC2-3715-6CF5-3249BD568CA8}"/>
              </a:ext>
              <a:ext uri="{C183D7F6-B498-43B3-948B-1728B52AA6E4}">
                <adec:decorative xmlns:adec="http://schemas.microsoft.com/office/drawing/2017/decorative" val="1"/>
              </a:ext>
            </a:extLst>
          </p:cNvPr>
          <p:cNvPicPr>
            <a:picLocks noChangeAspect="1"/>
          </p:cNvPicPr>
          <p:nvPr/>
        </p:nvPicPr>
        <p:blipFill>
          <a:blip r:embed="rId15"/>
          <a:srcRect l="44451" t="10655" r="49613" b="15907"/>
          <a:stretch>
            <a:fillRect/>
          </a:stretch>
        </p:blipFill>
        <p:spPr>
          <a:xfrm>
            <a:off x="7291089" y="4837805"/>
            <a:ext cx="282534" cy="304362"/>
          </a:xfrm>
          <a:prstGeom prst="rect">
            <a:avLst/>
          </a:prstGeom>
        </p:spPr>
      </p:pic>
      <p:sp>
        <p:nvSpPr>
          <p:cNvPr id="33" name="Rectangle: Rounded Corners 32">
            <a:extLst>
              <a:ext uri="{FF2B5EF4-FFF2-40B4-BE49-F238E27FC236}">
                <a16:creationId xmlns:a16="http://schemas.microsoft.com/office/drawing/2014/main" id="{6EA2E826-F968-D6B6-081E-D849D087F527}"/>
              </a:ext>
              <a:ext uri="{C183D7F6-B498-43B3-948B-1728B52AA6E4}">
                <adec:decorative xmlns:adec="http://schemas.microsoft.com/office/drawing/2017/decorative" val="1"/>
              </a:ext>
            </a:extLst>
          </p:cNvPr>
          <p:cNvSpPr>
            <a:spLocks/>
          </p:cNvSpPr>
          <p:nvPr/>
        </p:nvSpPr>
        <p:spPr bwMode="auto">
          <a:xfrm>
            <a:off x="9869798" y="4754716"/>
            <a:ext cx="470540" cy="470540"/>
          </a:xfrm>
          <a:prstGeom prst="roundRect">
            <a:avLst>
              <a:gd name="adj" fmla="val 18838"/>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pic>
        <p:nvPicPr>
          <p:cNvPr id="34" name="Picture 33">
            <a:extLst>
              <a:ext uri="{FF2B5EF4-FFF2-40B4-BE49-F238E27FC236}">
                <a16:creationId xmlns:a16="http://schemas.microsoft.com/office/drawing/2014/main" id="{DF105C12-603A-A3B2-37AC-2708B311CDA1}"/>
              </a:ext>
              <a:ext uri="{C183D7F6-B498-43B3-948B-1728B52AA6E4}">
                <adec:decorative xmlns:adec="http://schemas.microsoft.com/office/drawing/2017/decorative" val="1"/>
              </a:ext>
            </a:extLst>
          </p:cNvPr>
          <p:cNvPicPr>
            <a:picLocks noChangeAspect="1"/>
          </p:cNvPicPr>
          <p:nvPr/>
        </p:nvPicPr>
        <p:blipFill>
          <a:blip r:embed="rId16">
            <a:extLst>
              <a:ext uri="{BEBA8EAE-BF5A-486C-A8C5-ECC9F3942E4B}">
                <a14:imgProps xmlns:a14="http://schemas.microsoft.com/office/drawing/2010/main">
                  <a14:imgLayer r:embed="rId17">
                    <a14:imgEffect>
                      <a14:brightnessContrast bright="-100000"/>
                    </a14:imgEffect>
                  </a14:imgLayer>
                </a14:imgProps>
              </a:ext>
            </a:extLst>
          </a:blip>
          <a:srcRect l="72162" t="10655" r="19905" b="15907"/>
          <a:stretch>
            <a:fillRect/>
          </a:stretch>
        </p:blipFill>
        <p:spPr>
          <a:xfrm>
            <a:off x="9942031" y="4858559"/>
            <a:ext cx="326076" cy="262854"/>
          </a:xfrm>
          <a:prstGeom prst="rect">
            <a:avLst/>
          </a:prstGeom>
        </p:spPr>
      </p:pic>
      <p:sp>
        <p:nvSpPr>
          <p:cNvPr id="36" name="Rectangle: Rounded Corners 35">
            <a:extLst>
              <a:ext uri="{FF2B5EF4-FFF2-40B4-BE49-F238E27FC236}">
                <a16:creationId xmlns:a16="http://schemas.microsoft.com/office/drawing/2014/main" id="{556CB952-2ABD-F399-2415-95D9F4562D4B}"/>
              </a:ext>
            </a:extLst>
          </p:cNvPr>
          <p:cNvSpPr>
            <a:spLocks/>
          </p:cNvSpPr>
          <p:nvPr/>
        </p:nvSpPr>
        <p:spPr bwMode="auto">
          <a:xfrm>
            <a:off x="1851658" y="4754716"/>
            <a:ext cx="470540" cy="470540"/>
          </a:xfrm>
          <a:prstGeom prst="roundRect">
            <a:avLst>
              <a:gd name="adj" fmla="val 18838"/>
            </a:avLst>
          </a:prstGeom>
          <a:gradFill flip="none" rotWithShape="1">
            <a:gsLst>
              <a:gs pos="0">
                <a:schemeClr val="tx1">
                  <a:lumMod val="20000"/>
                  <a:lumOff val="80000"/>
                </a:schemeClr>
              </a:gs>
              <a:gs pos="61000">
                <a:schemeClr val="bg1"/>
              </a:gs>
            </a:gsLst>
            <a:lin ang="13500000" scaled="1"/>
            <a:tileRect/>
          </a:gradFill>
          <a:ln w="12700">
            <a:gradFill>
              <a:gsLst>
                <a:gs pos="0">
                  <a:schemeClr val="bg1"/>
                </a:gs>
                <a:gs pos="64000">
                  <a:schemeClr val="bg2">
                    <a:lumMod val="90000"/>
                  </a:schemeClr>
                </a:gs>
                <a:gs pos="94000">
                  <a:schemeClr val="bg1"/>
                </a:gs>
                <a:gs pos="100000">
                  <a:schemeClr val="bg2">
                    <a:lumMod val="90000"/>
                  </a:schemeClr>
                </a:gs>
              </a:gsLst>
              <a:lin ang="5400000" scaled="1"/>
            </a:gradFill>
            <a:headEnd type="none" w="med" len="med"/>
            <a:tailEnd type="none" w="med" len="med"/>
          </a:ln>
          <a:effectLst>
            <a:outerShdw blurRad="88900" dist="76200" dir="2700000" algn="tl" rotWithShape="0">
              <a:schemeClr val="accent4">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pic>
        <p:nvPicPr>
          <p:cNvPr id="37" name="Picture 2" descr="Microsoft Copilot Studio - YouTube">
            <a:extLst>
              <a:ext uri="{FF2B5EF4-FFF2-40B4-BE49-F238E27FC236}">
                <a16:creationId xmlns:a16="http://schemas.microsoft.com/office/drawing/2014/main" id="{15F095EF-9299-1D88-6903-A518D33B8F48}"/>
              </a:ext>
            </a:extLst>
          </p:cNvPr>
          <p:cNvPicPr>
            <a:picLocks noChangeAspect="1" noChangeArrowheads="1"/>
          </p:cNvPicPr>
          <p:nvPr/>
        </p:nvPicPr>
        <p:blipFill rotWithShape="1">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l="13961" t="12630" r="20257" b="17556"/>
          <a:stretch>
            <a:fillRect/>
          </a:stretch>
        </p:blipFill>
        <p:spPr bwMode="auto">
          <a:xfrm>
            <a:off x="1956327" y="4851379"/>
            <a:ext cx="261202" cy="277213"/>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021F135D-D8C9-15F0-CB35-7D53F70AB4AC}"/>
              </a:ext>
            </a:extLst>
          </p:cNvPr>
          <p:cNvSpPr txBox="1"/>
          <p:nvPr/>
        </p:nvSpPr>
        <p:spPr>
          <a:xfrm>
            <a:off x="819151" y="5387842"/>
            <a:ext cx="2535554"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2060"/>
                </a:solidFill>
                <a:effectLst/>
                <a:uLnTx/>
                <a:uFillTx/>
                <a:latin typeface="Segoe Sans Display"/>
                <a:ea typeface="+mn-ea"/>
                <a:cs typeface="+mn-cs"/>
              </a:rPr>
              <a:t>Copilot Studio</a:t>
            </a:r>
          </a:p>
        </p:txBody>
      </p:sp>
      <p:sp>
        <p:nvSpPr>
          <p:cNvPr id="39" name="TextBox 38">
            <a:extLst>
              <a:ext uri="{FF2B5EF4-FFF2-40B4-BE49-F238E27FC236}">
                <a16:creationId xmlns:a16="http://schemas.microsoft.com/office/drawing/2014/main" id="{7005CCBD-2462-F308-5D61-FBD24468C758}"/>
              </a:ext>
            </a:extLst>
          </p:cNvPr>
          <p:cNvSpPr txBox="1"/>
          <p:nvPr/>
        </p:nvSpPr>
        <p:spPr>
          <a:xfrm>
            <a:off x="3491865" y="5387842"/>
            <a:ext cx="2535554"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2060"/>
                </a:solidFill>
                <a:effectLst/>
                <a:uLnTx/>
                <a:uFillTx/>
                <a:latin typeface="Segoe Sans Display"/>
                <a:ea typeface="+mn-ea"/>
                <a:cs typeface="+mn-cs"/>
              </a:rPr>
              <a:t>Microsoft Foundry</a:t>
            </a:r>
          </a:p>
        </p:txBody>
      </p:sp>
      <p:sp>
        <p:nvSpPr>
          <p:cNvPr id="40" name="TextBox 39">
            <a:extLst>
              <a:ext uri="{FF2B5EF4-FFF2-40B4-BE49-F238E27FC236}">
                <a16:creationId xmlns:a16="http://schemas.microsoft.com/office/drawing/2014/main" id="{B06191B9-5057-BFA1-D675-9849AD1D6A7A}"/>
              </a:ext>
            </a:extLst>
          </p:cNvPr>
          <p:cNvSpPr txBox="1"/>
          <p:nvPr/>
        </p:nvSpPr>
        <p:spPr>
          <a:xfrm>
            <a:off x="6164579" y="5387842"/>
            <a:ext cx="2535554"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2060"/>
                </a:solidFill>
                <a:effectLst/>
                <a:uLnTx/>
                <a:uFillTx/>
                <a:latin typeface="Segoe Sans Display"/>
                <a:ea typeface="+mn-ea"/>
                <a:cs typeface="+mn-cs"/>
              </a:rPr>
              <a:t>Microsoft Agent Framework</a:t>
            </a:r>
          </a:p>
        </p:txBody>
      </p:sp>
      <p:sp>
        <p:nvSpPr>
          <p:cNvPr id="41" name="TextBox 40">
            <a:extLst>
              <a:ext uri="{FF2B5EF4-FFF2-40B4-BE49-F238E27FC236}">
                <a16:creationId xmlns:a16="http://schemas.microsoft.com/office/drawing/2014/main" id="{2858E60C-8985-8A86-EB80-25A846D93051}"/>
              </a:ext>
            </a:extLst>
          </p:cNvPr>
          <p:cNvSpPr txBox="1"/>
          <p:nvPr/>
        </p:nvSpPr>
        <p:spPr>
          <a:xfrm>
            <a:off x="8837292" y="5387842"/>
            <a:ext cx="2535554" cy="646331"/>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2060"/>
                </a:solidFill>
                <a:effectLst/>
                <a:uLnTx/>
                <a:uFillTx/>
                <a:latin typeface="Segoe Sans Display"/>
                <a:ea typeface="+mn-ea"/>
                <a:cs typeface="+mn-cs"/>
              </a:rPr>
              <a:t>N’importe quelle pile IA +</a:t>
            </a:r>
            <a:br>
              <a:rPr sz="1400"/>
            </a:br>
            <a:r>
              <a:rPr kumimoji="0" lang="fr-fr" sz="1400" b="0" i="0" u="none" strike="noStrike" kern="1200" cap="none" spc="0" normalizeH="0" baseline="0" noProof="0">
                <a:ln>
                  <a:noFill/>
                </a:ln>
                <a:solidFill>
                  <a:srgbClr val="002060"/>
                </a:solidFill>
                <a:effectLst/>
                <a:uLnTx/>
                <a:uFillTx/>
                <a:latin typeface="Segoe Sans Display"/>
                <a:ea typeface="+mn-ea"/>
                <a:cs typeface="+mn-cs"/>
              </a:rPr>
              <a:t>Kit de développement logiciel (SDK) Agent 365</a:t>
            </a:r>
            <a:endParaRPr kumimoji="0" lang="en-IN" sz="1400" b="0" i="0" u="none" strike="noStrike" kern="1200" cap="none" spc="0" normalizeH="0" baseline="0" noProof="0">
              <a:ln>
                <a:noFill/>
              </a:ln>
              <a:solidFill>
                <a:srgbClr val="002060"/>
              </a:solidFill>
              <a:effectLst/>
              <a:uLnTx/>
              <a:uFillTx/>
              <a:latin typeface="Segoe Sans Display"/>
              <a:ea typeface="+mn-ea"/>
              <a:cs typeface="+mn-cs"/>
            </a:endParaRPr>
          </a:p>
        </p:txBody>
      </p:sp>
      <p:sp>
        <p:nvSpPr>
          <p:cNvPr id="3" name="TextBox 2">
            <a:extLst>
              <a:ext uri="{FF2B5EF4-FFF2-40B4-BE49-F238E27FC236}">
                <a16:creationId xmlns:a16="http://schemas.microsoft.com/office/drawing/2014/main" id="{B37A824A-E44E-59AA-20DC-3EE480A6CFA5}"/>
              </a:ext>
            </a:extLst>
          </p:cNvPr>
          <p:cNvSpPr txBox="1"/>
          <p:nvPr/>
        </p:nvSpPr>
        <p:spPr>
          <a:xfrm>
            <a:off x="5917263" y="3362005"/>
            <a:ext cx="357470" cy="61555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a:ln>
                  <a:noFill/>
                </a:ln>
                <a:solidFill>
                  <a:srgbClr val="1B44B1"/>
                </a:solidFill>
                <a:effectLst/>
                <a:uLnTx/>
                <a:uFillTx/>
                <a:latin typeface="Segoe Sans Display"/>
                <a:ea typeface="+mn-ea"/>
                <a:cs typeface="+mn-cs"/>
              </a:rPr>
              <a:t>+</a:t>
            </a:r>
          </a:p>
        </p:txBody>
      </p:sp>
    </p:spTree>
    <p:custDataLst>
      <p:tags r:id="rId1"/>
    </p:custDataLst>
    <p:extLst>
      <p:ext uri="{BB962C8B-B14F-4D97-AF65-F5344CB8AC3E}">
        <p14:creationId xmlns:p14="http://schemas.microsoft.com/office/powerpoint/2010/main" val="25594517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DC3062-BB8D-AB4C-DA4A-0AFAAEF2D59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F8AB7BA-192A-6DB3-EEC9-D96D5259F656}"/>
              </a:ext>
            </a:extLst>
          </p:cNvPr>
          <p:cNvSpPr>
            <a:spLocks noGrp="1"/>
          </p:cNvSpPr>
          <p:nvPr>
            <p:ph type="title"/>
          </p:nvPr>
        </p:nvSpPr>
        <p:spPr>
          <a:xfrm>
            <a:off x="588263" y="2873415"/>
            <a:ext cx="3182027" cy="1107996"/>
          </a:xfrm>
        </p:spPr>
        <p:txBody>
          <a:bodyPr/>
          <a:lstStyle/>
          <a:p>
            <a:r>
              <a:rPr lang="fr-fr"/>
              <a:t>Agent 365 n’est pas…</a:t>
            </a:r>
          </a:p>
        </p:txBody>
      </p:sp>
      <p:sp>
        <p:nvSpPr>
          <p:cNvPr id="7" name="Text Placeholder 6">
            <a:extLst>
              <a:ext uri="{FF2B5EF4-FFF2-40B4-BE49-F238E27FC236}">
                <a16:creationId xmlns:a16="http://schemas.microsoft.com/office/drawing/2014/main" id="{483EABBC-1400-DFB6-3F46-55CD9A9A363A}"/>
              </a:ext>
            </a:extLst>
          </p:cNvPr>
          <p:cNvSpPr>
            <a:spLocks noGrp="1"/>
          </p:cNvSpPr>
          <p:nvPr>
            <p:ph type="body" sz="quarter" idx="11"/>
          </p:nvPr>
        </p:nvSpPr>
        <p:spPr>
          <a:xfrm>
            <a:off x="4941887" y="2982675"/>
            <a:ext cx="8182441" cy="889474"/>
          </a:xfrm>
        </p:spPr>
        <p:txBody>
          <a:bodyPr/>
          <a:lstStyle/>
          <a:p>
            <a:r>
              <a:rPr lang="fr-fr" sz="2400"/>
              <a:t>Uniquement le centre d’administration Microsoft. </a:t>
            </a:r>
          </a:p>
          <a:p>
            <a:r>
              <a:rPr lang="fr-fr" sz="2400"/>
              <a:t>Une « vue unique centralisée ». </a:t>
            </a:r>
          </a:p>
        </p:txBody>
      </p:sp>
    </p:spTree>
    <p:extLst>
      <p:ext uri="{BB962C8B-B14F-4D97-AF65-F5344CB8AC3E}">
        <p14:creationId xmlns:p14="http://schemas.microsoft.com/office/powerpoint/2010/main" val="42092817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0B00C4-A134-B636-C609-668808013A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E45D6ED-A8D0-147A-1B42-CF5FE5732F75}"/>
              </a:ext>
            </a:extLst>
          </p:cNvPr>
          <p:cNvSpPr>
            <a:spLocks noGrp="1"/>
          </p:cNvSpPr>
          <p:nvPr>
            <p:ph type="title"/>
          </p:nvPr>
        </p:nvSpPr>
        <p:spPr>
          <a:xfrm>
            <a:off x="588263" y="3150413"/>
            <a:ext cx="3182027" cy="553998"/>
          </a:xfrm>
        </p:spPr>
        <p:txBody>
          <a:bodyPr/>
          <a:lstStyle/>
          <a:p>
            <a:r>
              <a:rPr lang="fr-fr"/>
              <a:t>Agent 365 est…</a:t>
            </a:r>
          </a:p>
        </p:txBody>
      </p:sp>
      <p:sp>
        <p:nvSpPr>
          <p:cNvPr id="4" name="Text Placeholder 3">
            <a:extLst>
              <a:ext uri="{FF2B5EF4-FFF2-40B4-BE49-F238E27FC236}">
                <a16:creationId xmlns:a16="http://schemas.microsoft.com/office/drawing/2014/main" id="{A4127B60-7714-686D-6F22-CED91D5ECD33}"/>
              </a:ext>
            </a:extLst>
          </p:cNvPr>
          <p:cNvSpPr>
            <a:spLocks noGrp="1"/>
          </p:cNvSpPr>
          <p:nvPr>
            <p:ph type="body" sz="quarter" idx="11"/>
          </p:nvPr>
        </p:nvSpPr>
        <p:spPr>
          <a:xfrm>
            <a:off x="4941888" y="3027304"/>
            <a:ext cx="7250112" cy="800219"/>
          </a:xfrm>
        </p:spPr>
        <p:txBody>
          <a:bodyPr/>
          <a:lstStyle/>
          <a:p>
            <a:pPr marL="0" indent="0">
              <a:buNone/>
            </a:pPr>
            <a:r>
              <a:rPr lang="fr-fr" sz="2600"/>
              <a:t>Une suite </a:t>
            </a:r>
            <a:r>
              <a:rPr lang="fr-fr" sz="2600" b="1"/>
              <a:t>de gestion indépendante</a:t>
            </a:r>
            <a:r>
              <a:rPr lang="fr-fr" sz="2600"/>
              <a:t> </a:t>
            </a:r>
            <a:r>
              <a:rPr lang="fr-fr" sz="2600" b="1"/>
              <a:t>des agents </a:t>
            </a:r>
            <a:r>
              <a:rPr lang="fr-fr" sz="2600"/>
              <a:t>qui s’adapte aux besoins de vos administrateurs. </a:t>
            </a:r>
          </a:p>
        </p:txBody>
      </p:sp>
    </p:spTree>
    <p:extLst>
      <p:ext uri="{BB962C8B-B14F-4D97-AF65-F5344CB8AC3E}">
        <p14:creationId xmlns:p14="http://schemas.microsoft.com/office/powerpoint/2010/main" val="15464852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gradFill>
          <a:gsLst>
            <a:gs pos="31000">
              <a:srgbClr val="C5B4E3"/>
            </a:gs>
            <a:gs pos="89000">
              <a:srgbClr val="ACE0D8"/>
            </a:gs>
          </a:gsLst>
          <a:lin ang="1800000" scaled="0"/>
        </a:gradFill>
        <a:effectLst/>
      </p:bgPr>
    </p:bg>
    <p:spTree>
      <p:nvGrpSpPr>
        <p:cNvPr id="1" name="">
          <a:extLst>
            <a:ext uri="{FF2B5EF4-FFF2-40B4-BE49-F238E27FC236}">
              <a16:creationId xmlns:a16="http://schemas.microsoft.com/office/drawing/2014/main" id="{2282A2C3-89AC-F514-FFC4-6C74728E223C}"/>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D0987B5D-64E4-7670-B27B-D1368D608337}"/>
              </a:ext>
              <a:ext uri="{C183D7F6-B498-43B3-948B-1728B52AA6E4}">
                <adec:decorative xmlns:adec="http://schemas.microsoft.com/office/drawing/2017/decorative" val="1"/>
              </a:ext>
            </a:extLst>
          </p:cNvPr>
          <p:cNvSpPr>
            <a:spLocks/>
          </p:cNvSpPr>
          <p:nvPr/>
        </p:nvSpPr>
        <p:spPr bwMode="auto">
          <a:xfrm>
            <a:off x="3556000" y="1574800"/>
            <a:ext cx="8361679" cy="4478020"/>
          </a:xfrm>
          <a:prstGeom prst="roundRect">
            <a:avLst>
              <a:gd name="adj" fmla="val 3861"/>
            </a:avLst>
          </a:prstGeom>
          <a:solidFill>
            <a:schemeClr val="bg1">
              <a:alpha val="19000"/>
            </a:schemeClr>
          </a:solidFill>
          <a:ln w="12700" cap="rnd">
            <a:solidFill>
              <a:schemeClr val="bg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13" b="0" i="0" u="none" strike="noStrike" kern="1200" cap="none" spc="0" normalizeH="0" baseline="0" noProof="0" err="1">
              <a:ln>
                <a:noFill/>
              </a:ln>
              <a:solidFill>
                <a:srgbClr val="000000"/>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81B87F74-442D-5BB3-7035-566C0ADDB490}"/>
              </a:ext>
            </a:extLst>
          </p:cNvPr>
          <p:cNvGrpSpPr/>
          <p:nvPr/>
        </p:nvGrpSpPr>
        <p:grpSpPr>
          <a:xfrm>
            <a:off x="3761435" y="1887155"/>
            <a:ext cx="8156243" cy="950901"/>
            <a:chOff x="3761435" y="1777657"/>
            <a:chExt cx="8156243" cy="950901"/>
          </a:xfrm>
        </p:grpSpPr>
        <p:sp>
          <p:nvSpPr>
            <p:cNvPr id="5" name="Oval 4">
              <a:extLst>
                <a:ext uri="{FF2B5EF4-FFF2-40B4-BE49-F238E27FC236}">
                  <a16:creationId xmlns:a16="http://schemas.microsoft.com/office/drawing/2014/main" id="{9CEAF5C3-DAE8-EA27-E3F7-FD73A67F0199}"/>
                </a:ext>
              </a:extLst>
            </p:cNvPr>
            <p:cNvSpPr/>
            <p:nvPr/>
          </p:nvSpPr>
          <p:spPr bwMode="auto">
            <a:xfrm>
              <a:off x="3761435" y="1777657"/>
              <a:ext cx="591490" cy="591490"/>
            </a:xfrm>
            <a:prstGeom prst="ellipse">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800" b="0" i="0" u="none" strike="noStrike" kern="1200" cap="none" spc="0" normalizeH="0" baseline="0" noProof="0">
                  <a:ln>
                    <a:noFill/>
                  </a:ln>
                  <a:solidFill>
                    <a:srgbClr val="000000"/>
                  </a:solidFill>
                  <a:effectLst/>
                  <a:uLnTx/>
                  <a:uFillTx/>
                  <a:latin typeface="Segoe UI Semibold"/>
                  <a:ea typeface="+mn-ea"/>
                  <a:cs typeface="+mn-cs"/>
                </a:rPr>
                <a:t>1</a:t>
              </a:r>
            </a:p>
          </p:txBody>
        </p:sp>
        <p:sp>
          <p:nvSpPr>
            <p:cNvPr id="16" name="TextBox 15">
              <a:extLst>
                <a:ext uri="{FF2B5EF4-FFF2-40B4-BE49-F238E27FC236}">
                  <a16:creationId xmlns:a16="http://schemas.microsoft.com/office/drawing/2014/main" id="{B22B23CE-4C95-AE6F-C694-293DD2C35225}"/>
                </a:ext>
              </a:extLst>
            </p:cNvPr>
            <p:cNvSpPr txBox="1"/>
            <p:nvPr/>
          </p:nvSpPr>
          <p:spPr>
            <a:xfrm>
              <a:off x="4622799" y="1777657"/>
              <a:ext cx="7294879" cy="950901"/>
            </a:xfrm>
            <a:prstGeom prst="rect">
              <a:avLst/>
            </a:prstGeom>
            <a:noFill/>
            <a:ln>
              <a:noFill/>
            </a:ln>
          </p:spPr>
          <p:txBody>
            <a:bodyPr wrap="square" lIns="0" tIns="0" rIns="0" bIns="0" rtlCol="0" anchor="t">
              <a:spAutoFit/>
            </a:bodyPr>
            <a:lstStyle/>
            <a:p>
              <a:pPr marL="0" marR="0" lvl="0" indent="0" algn="l" defTabSz="914367" rtl="0" eaLnBrk="1" fontAlgn="auto" latinLnBrk="0" hangingPunct="1">
                <a:lnSpc>
                  <a:spcPct val="114000"/>
                </a:lnSpc>
                <a:spcBef>
                  <a:spcPts val="0"/>
                </a:spcBef>
                <a:spcAft>
                  <a:spcPts val="600"/>
                </a:spcAft>
                <a:buClrTx/>
                <a:buSzTx/>
                <a:buFontTx/>
                <a:buNone/>
                <a:tabLst/>
                <a:defRPr/>
              </a:pPr>
              <a:r>
                <a:rPr kumimoji="0" lang="fr-fr" sz="2300" b="0" i="0" u="none" strike="noStrike" kern="1200" cap="none" spc="0" normalizeH="0" baseline="0" noProof="0">
                  <a:ln>
                    <a:noFill/>
                  </a:ln>
                  <a:solidFill>
                    <a:srgbClr val="000000"/>
                  </a:solidFill>
                  <a:effectLst/>
                  <a:uLnTx/>
                  <a:uFillTx/>
                  <a:latin typeface="Segoe UI Semibold"/>
                  <a:ea typeface="+mn-ea"/>
                  <a:cs typeface="+mn-cs"/>
                </a:rPr>
                <a:t>Sécurisé par défaut</a:t>
              </a:r>
            </a:p>
            <a:p>
              <a:pPr marL="0" marR="0" lvl="0" indent="0" algn="l" defTabSz="914367" rtl="0" eaLnBrk="1" fontAlgn="auto" latinLnBrk="0" hangingPunct="1">
                <a:lnSpc>
                  <a:spcPct val="114000"/>
                </a:lnSpc>
                <a:spcBef>
                  <a:spcPts val="0"/>
                </a:spcBef>
                <a:spcAft>
                  <a:spcPts val="60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Établissez des stratégies qui définissent qui peut créer, intégrer et gérer les agents, et veillez à ce que les agents soient sécurisés dès leur création grâce à des modèles de stratégies.</a:t>
              </a:r>
            </a:p>
          </p:txBody>
        </p:sp>
      </p:grpSp>
      <p:grpSp>
        <p:nvGrpSpPr>
          <p:cNvPr id="11" name="Group 10">
            <a:extLst>
              <a:ext uri="{FF2B5EF4-FFF2-40B4-BE49-F238E27FC236}">
                <a16:creationId xmlns:a16="http://schemas.microsoft.com/office/drawing/2014/main" id="{01D4802B-1D46-347D-06CE-3C5BB0FE5138}"/>
              </a:ext>
            </a:extLst>
          </p:cNvPr>
          <p:cNvGrpSpPr/>
          <p:nvPr/>
        </p:nvGrpSpPr>
        <p:grpSpPr>
          <a:xfrm>
            <a:off x="3761435" y="3402927"/>
            <a:ext cx="8156244" cy="950901"/>
            <a:chOff x="3761435" y="3031491"/>
            <a:chExt cx="8156244" cy="950901"/>
          </a:xfrm>
        </p:grpSpPr>
        <p:sp>
          <p:nvSpPr>
            <p:cNvPr id="10" name="Oval 9">
              <a:extLst>
                <a:ext uri="{FF2B5EF4-FFF2-40B4-BE49-F238E27FC236}">
                  <a16:creationId xmlns:a16="http://schemas.microsoft.com/office/drawing/2014/main" id="{EA762B3C-BA57-9C77-E9CB-3E024D7CCC22}"/>
                </a:ext>
              </a:extLst>
            </p:cNvPr>
            <p:cNvSpPr/>
            <p:nvPr/>
          </p:nvSpPr>
          <p:spPr bwMode="auto">
            <a:xfrm>
              <a:off x="3761435" y="3031491"/>
              <a:ext cx="591490" cy="591490"/>
            </a:xfrm>
            <a:prstGeom prst="ellipse">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800" b="0" i="0" u="none" strike="noStrike" kern="1200" cap="none" spc="0" normalizeH="0" baseline="0" noProof="0">
                  <a:ln>
                    <a:noFill/>
                  </a:ln>
                  <a:solidFill>
                    <a:srgbClr val="000000"/>
                  </a:solidFill>
                  <a:effectLst/>
                  <a:uLnTx/>
                  <a:uFillTx/>
                  <a:latin typeface="Segoe UI Semibold"/>
                  <a:ea typeface="+mn-ea"/>
                  <a:cs typeface="+mn-cs"/>
                </a:rPr>
                <a:t>2</a:t>
              </a:r>
            </a:p>
          </p:txBody>
        </p:sp>
        <p:sp>
          <p:nvSpPr>
            <p:cNvPr id="17" name="TextBox 16">
              <a:extLst>
                <a:ext uri="{FF2B5EF4-FFF2-40B4-BE49-F238E27FC236}">
                  <a16:creationId xmlns:a16="http://schemas.microsoft.com/office/drawing/2014/main" id="{17E7D1BF-1550-5CC9-C28D-FED70E1B0B53}"/>
                </a:ext>
              </a:extLst>
            </p:cNvPr>
            <p:cNvSpPr txBox="1"/>
            <p:nvPr/>
          </p:nvSpPr>
          <p:spPr>
            <a:xfrm>
              <a:off x="4622800" y="3031491"/>
              <a:ext cx="7294879" cy="950901"/>
            </a:xfrm>
            <a:prstGeom prst="rect">
              <a:avLst/>
            </a:prstGeom>
            <a:noFill/>
            <a:ln>
              <a:noFill/>
            </a:ln>
          </p:spPr>
          <p:txBody>
            <a:bodyPr wrap="square" lIns="0" tIns="0" rIns="0" bIns="0" rtlCol="0" anchor="t">
              <a:spAutoFit/>
            </a:bodyPr>
            <a:lstStyle/>
            <a:p>
              <a:pPr marL="0" marR="0" lvl="0" indent="0" algn="l" defTabSz="914367" rtl="0" eaLnBrk="1" fontAlgn="auto" latinLnBrk="0" hangingPunct="1">
                <a:lnSpc>
                  <a:spcPct val="114000"/>
                </a:lnSpc>
                <a:spcBef>
                  <a:spcPts val="0"/>
                </a:spcBef>
                <a:spcAft>
                  <a:spcPts val="600"/>
                </a:spcAft>
                <a:buClrTx/>
                <a:buSzTx/>
                <a:buFontTx/>
                <a:buNone/>
                <a:tabLst/>
                <a:defRPr/>
              </a:pPr>
              <a:r>
                <a:rPr kumimoji="0" lang="fr-fr" sz="2300" b="0" i="0" u="none" strike="noStrike" kern="1200" cap="none" spc="0" normalizeH="0" baseline="0" noProof="0">
                  <a:ln>
                    <a:noFill/>
                  </a:ln>
                  <a:solidFill>
                    <a:srgbClr val="000000"/>
                  </a:solidFill>
                  <a:effectLst/>
                  <a:uLnTx/>
                  <a:uFillTx/>
                  <a:latin typeface="Segoe UI Semibold"/>
                  <a:ea typeface="+mn-ea"/>
                  <a:cs typeface="+mn-cs"/>
                </a:rPr>
                <a:t>Règles de sécurité définies par le service informatique</a:t>
              </a:r>
            </a:p>
            <a:p>
              <a:pPr marL="0" marR="0" lvl="0" indent="0" algn="l" defTabSz="914367" rtl="0" eaLnBrk="1" fontAlgn="auto" latinLnBrk="0" hangingPunct="1">
                <a:lnSpc>
                  <a:spcPct val="114000"/>
                </a:lnSpc>
                <a:spcBef>
                  <a:spcPts val="0"/>
                </a:spcBef>
                <a:spcAft>
                  <a:spcPts val="60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ppliquez le principe du moindre privilège en ne donnant aux agents que les droits d’accès aux applications et aux ressources dont ils ont besoin pour accomplir leurs tâches.</a:t>
              </a:r>
            </a:p>
          </p:txBody>
        </p:sp>
      </p:grpSp>
      <p:grpSp>
        <p:nvGrpSpPr>
          <p:cNvPr id="8" name="Group 7">
            <a:extLst>
              <a:ext uri="{FF2B5EF4-FFF2-40B4-BE49-F238E27FC236}">
                <a16:creationId xmlns:a16="http://schemas.microsoft.com/office/drawing/2014/main" id="{95A42B5A-AD84-B7CB-FB31-F8D4A81E9828}"/>
              </a:ext>
            </a:extLst>
          </p:cNvPr>
          <p:cNvGrpSpPr/>
          <p:nvPr/>
        </p:nvGrpSpPr>
        <p:grpSpPr>
          <a:xfrm>
            <a:off x="3761435" y="4850990"/>
            <a:ext cx="7959078" cy="968407"/>
            <a:chOff x="3761435" y="4850990"/>
            <a:chExt cx="7959078" cy="968407"/>
          </a:xfrm>
        </p:grpSpPr>
        <p:sp>
          <p:nvSpPr>
            <p:cNvPr id="12" name="Oval 11">
              <a:extLst>
                <a:ext uri="{FF2B5EF4-FFF2-40B4-BE49-F238E27FC236}">
                  <a16:creationId xmlns:a16="http://schemas.microsoft.com/office/drawing/2014/main" id="{5AE5A736-73FA-96DA-8AFC-D67A6B6CDE24}"/>
                </a:ext>
              </a:extLst>
            </p:cNvPr>
            <p:cNvSpPr/>
            <p:nvPr/>
          </p:nvSpPr>
          <p:spPr bwMode="auto">
            <a:xfrm>
              <a:off x="3761435" y="4850990"/>
              <a:ext cx="591490" cy="591490"/>
            </a:xfrm>
            <a:prstGeom prst="ellipse">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800" b="0" i="0" u="none" strike="noStrike" kern="1200" cap="none" spc="0" normalizeH="0" baseline="0" noProof="0">
                  <a:ln>
                    <a:noFill/>
                  </a:ln>
                  <a:solidFill>
                    <a:srgbClr val="000000"/>
                  </a:solidFill>
                  <a:effectLst/>
                  <a:uLnTx/>
                  <a:uFillTx/>
                  <a:latin typeface="Segoe UI Semibold"/>
                  <a:ea typeface="+mn-ea"/>
                  <a:cs typeface="+mn-cs"/>
                </a:rPr>
                <a:t>3</a:t>
              </a:r>
            </a:p>
          </p:txBody>
        </p:sp>
        <p:sp>
          <p:nvSpPr>
            <p:cNvPr id="18" name="TextBox 17">
              <a:extLst>
                <a:ext uri="{FF2B5EF4-FFF2-40B4-BE49-F238E27FC236}">
                  <a16:creationId xmlns:a16="http://schemas.microsoft.com/office/drawing/2014/main" id="{8C3919DD-33D6-5D6B-60EE-20C7FA072AB5}"/>
                </a:ext>
              </a:extLst>
            </p:cNvPr>
            <p:cNvSpPr txBox="1"/>
            <p:nvPr/>
          </p:nvSpPr>
          <p:spPr>
            <a:xfrm>
              <a:off x="4622800" y="4850990"/>
              <a:ext cx="7097713" cy="968407"/>
            </a:xfrm>
            <a:prstGeom prst="rect">
              <a:avLst/>
            </a:prstGeom>
            <a:noFill/>
            <a:ln>
              <a:noFill/>
            </a:ln>
          </p:spPr>
          <p:txBody>
            <a:bodyPr wrap="square" lIns="0" tIns="0" rIns="0" bIns="0" rtlCol="0" anchor="t">
              <a:spAutoFit/>
            </a:bodyPr>
            <a:lstStyle/>
            <a:p>
              <a:pPr marL="0" marR="0" lvl="0" indent="0" algn="l" defTabSz="914367" rtl="0" eaLnBrk="1" fontAlgn="auto" latinLnBrk="0" hangingPunct="1">
                <a:lnSpc>
                  <a:spcPct val="114000"/>
                </a:lnSpc>
                <a:spcBef>
                  <a:spcPts val="0"/>
                </a:spcBef>
                <a:spcAft>
                  <a:spcPts val="600"/>
                </a:spcAft>
                <a:buClrTx/>
                <a:buSzTx/>
                <a:buFontTx/>
                <a:buNone/>
                <a:tabLst/>
                <a:defRPr/>
              </a:pPr>
              <a:r>
                <a:rPr kumimoji="0" lang="fr-fr" sz="2300" b="0" i="0" u="none" strike="noStrike" kern="1200" cap="none" spc="0" normalizeH="0" baseline="0" noProof="0">
                  <a:ln>
                    <a:noFill/>
                  </a:ln>
                  <a:solidFill>
                    <a:srgbClr val="000000"/>
                  </a:solidFill>
                  <a:effectLst/>
                  <a:uLnTx/>
                  <a:uFillTx/>
                  <a:latin typeface="Segoe UI Semibold"/>
                  <a:ea typeface="+mn-ea"/>
                  <a:cs typeface="+mn-cs"/>
                </a:rPr>
                <a:t>Visibilité</a:t>
              </a:r>
            </a:p>
            <a:p>
              <a:pPr marL="0" marR="0" lvl="0" indent="0" algn="l" defTabSz="914367" rtl="0" eaLnBrk="1" fontAlgn="auto" latinLnBrk="0" hangingPunct="1">
                <a:lnSpc>
                  <a:spcPct val="114000"/>
                </a:lnSpc>
                <a:spcBef>
                  <a:spcPts val="0"/>
                </a:spcBef>
                <a:spcAft>
                  <a:spcPts val="60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uivez les performances, la rapidité et la qualité des agents pour évaluer le retour </a:t>
              </a:r>
              <a:br>
                <a:rPr kumimoji="0" lang="fr-fr"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fr-fr"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ur investissement et prendre des décisions de déploiement éclairées. </a:t>
              </a:r>
            </a:p>
          </p:txBody>
        </p:sp>
      </p:grpSp>
      <p:sp>
        <p:nvSpPr>
          <p:cNvPr id="2" name="Title 49">
            <a:extLst>
              <a:ext uri="{FF2B5EF4-FFF2-40B4-BE49-F238E27FC236}">
                <a16:creationId xmlns:a16="http://schemas.microsoft.com/office/drawing/2014/main" id="{2B8B46A1-52CB-86E6-30FE-6EC7BBE3784C}"/>
              </a:ext>
            </a:extLst>
          </p:cNvPr>
          <p:cNvSpPr txBox="1">
            <a:spLocks/>
          </p:cNvSpPr>
          <p:nvPr/>
        </p:nvSpPr>
        <p:spPr>
          <a:xfrm>
            <a:off x="585216" y="457200"/>
            <a:ext cx="1101725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fr-fr"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Centre d’administration Microsoft 365</a:t>
            </a:r>
          </a:p>
        </p:txBody>
      </p:sp>
      <p:grpSp>
        <p:nvGrpSpPr>
          <p:cNvPr id="3" name="Group 2">
            <a:extLst>
              <a:ext uri="{FF2B5EF4-FFF2-40B4-BE49-F238E27FC236}">
                <a16:creationId xmlns:a16="http://schemas.microsoft.com/office/drawing/2014/main" id="{9C6F6203-ECB5-478D-F0E2-C74996DDA658}"/>
              </a:ext>
            </a:extLst>
          </p:cNvPr>
          <p:cNvGrpSpPr/>
          <p:nvPr/>
        </p:nvGrpSpPr>
        <p:grpSpPr>
          <a:xfrm>
            <a:off x="512064" y="1574800"/>
            <a:ext cx="2826221" cy="4478020"/>
            <a:chOff x="512064" y="1574800"/>
            <a:chExt cx="2826221" cy="4478020"/>
          </a:xfrm>
        </p:grpSpPr>
        <p:sp>
          <p:nvSpPr>
            <p:cNvPr id="25" name="Rectangle: Rounded Corners 24">
              <a:extLst>
                <a:ext uri="{FF2B5EF4-FFF2-40B4-BE49-F238E27FC236}">
                  <a16:creationId xmlns:a16="http://schemas.microsoft.com/office/drawing/2014/main" id="{D2B6A96D-5975-073E-57E3-5FFD66EECC01}"/>
                </a:ext>
                <a:ext uri="{C183D7F6-B498-43B3-948B-1728B52AA6E4}">
                  <adec:decorative xmlns:adec="http://schemas.microsoft.com/office/drawing/2017/decorative" val="1"/>
                </a:ext>
              </a:extLst>
            </p:cNvPr>
            <p:cNvSpPr/>
            <p:nvPr/>
          </p:nvSpPr>
          <p:spPr bwMode="auto">
            <a:xfrm>
              <a:off x="512064" y="1574800"/>
              <a:ext cx="2826221" cy="4478020"/>
            </a:xfrm>
            <a:prstGeom prst="roundRect">
              <a:avLst>
                <a:gd name="adj" fmla="val 7216"/>
              </a:avLst>
            </a:prstGeom>
            <a:solidFill>
              <a:schemeClr val="bg1"/>
            </a:solidFill>
          </p:spPr>
          <p:txBody>
            <a:bodyPr wrap="square" lIns="91440" tIns="0" rIns="91440" bIns="0" rtlCol="0" anchor="ctr" anchorCtr="0">
              <a:noAutofit/>
            </a:body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endParaRPr kumimoji="0" lang="en-US" sz="2200" b="1" i="0" u="none" strike="noStrike" kern="1200" cap="none" spc="0" normalizeH="0" baseline="0" noProof="0" err="1">
                <a:ln w="3175">
                  <a:noFill/>
                </a:ln>
                <a:solidFill>
                  <a:srgbClr val="000000"/>
                </a:solidFill>
                <a:effectLst/>
                <a:uLnTx/>
                <a:uFillTx/>
                <a:latin typeface="Segoe UI Semibold"/>
                <a:ea typeface="+mn-ea"/>
                <a:cs typeface="Segoe Sans Display Semibold" pitchFamily="2" charset="0"/>
              </a:endParaRPr>
            </a:p>
          </p:txBody>
        </p:sp>
        <p:sp>
          <p:nvSpPr>
            <p:cNvPr id="27" name="Oval 26">
              <a:extLst>
                <a:ext uri="{FF2B5EF4-FFF2-40B4-BE49-F238E27FC236}">
                  <a16:creationId xmlns:a16="http://schemas.microsoft.com/office/drawing/2014/main" id="{4349BEC2-C864-B7C6-D38E-2F9CAF926172}"/>
                </a:ext>
                <a:ext uri="{C183D7F6-B498-43B3-948B-1728B52AA6E4}">
                  <adec:decorative xmlns:adec="http://schemas.microsoft.com/office/drawing/2017/decorative" val="1"/>
                </a:ext>
              </a:extLst>
            </p:cNvPr>
            <p:cNvSpPr/>
            <p:nvPr/>
          </p:nvSpPr>
          <p:spPr bwMode="auto">
            <a:xfrm>
              <a:off x="1320401" y="2365829"/>
              <a:ext cx="1209548" cy="1209548"/>
            </a:xfrm>
            <a:prstGeom prst="ellipse">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1190" tIns="208950" rIns="261190" bIns="208950" numCol="1" spcCol="0" rtlCol="0" fromWordArt="0" anchor="t" anchorCtr="0" forceAA="0" compatLnSpc="1">
              <a:prstTxWarp prst="textNoShape">
                <a:avLst/>
              </a:prstTxWarp>
              <a:noAutofit/>
            </a:bodyPr>
            <a:lstStyle/>
            <a:p>
              <a:pPr marL="0" marR="0" lvl="0" indent="0" algn="l" defTabSz="1330972" rtl="0" eaLnBrk="1" fontAlgn="base" latinLnBrk="0" hangingPunct="1">
                <a:lnSpc>
                  <a:spcPct val="100000"/>
                </a:lnSpc>
                <a:spcBef>
                  <a:spcPct val="0"/>
                </a:spcBef>
                <a:spcAft>
                  <a:spcPct val="0"/>
                </a:spcAft>
                <a:buClrTx/>
                <a:buSzTx/>
                <a:buFontTx/>
                <a:buNone/>
                <a:tabLst/>
                <a:defRPr/>
              </a:pPr>
              <a:endParaRPr kumimoji="0" lang="en-US" sz="2799" b="0" i="0" u="none" strike="noStrike" kern="1200" cap="none" spc="0" normalizeH="0" baseline="0" noProof="0">
                <a:ln>
                  <a:noFill/>
                </a:ln>
                <a:solidFill>
                  <a:srgbClr val="000000"/>
                </a:solidFill>
                <a:effectLst/>
                <a:uLnTx/>
                <a:uFillTx/>
                <a:latin typeface="Segoe Sans Text Semibold" pitchFamily="2" charset="0"/>
                <a:ea typeface="+mn-ea"/>
                <a:cs typeface="Segoe Sans Text Semibold" pitchFamily="2" charset="0"/>
              </a:endParaRPr>
            </a:p>
          </p:txBody>
        </p:sp>
        <p:sp>
          <p:nvSpPr>
            <p:cNvPr id="26" name="TextBox 25">
              <a:extLst>
                <a:ext uri="{FF2B5EF4-FFF2-40B4-BE49-F238E27FC236}">
                  <a16:creationId xmlns:a16="http://schemas.microsoft.com/office/drawing/2014/main" id="{C9DABE29-30D5-33EA-3475-35826B53B133}"/>
                </a:ext>
              </a:extLst>
            </p:cNvPr>
            <p:cNvSpPr txBox="1"/>
            <p:nvPr/>
          </p:nvSpPr>
          <p:spPr>
            <a:xfrm>
              <a:off x="735708" y="3938400"/>
              <a:ext cx="2378934"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2800" b="0" i="0" u="none" strike="noStrike" kern="1200" cap="none" spc="0" normalizeH="0" baseline="0" noProof="0">
                  <a:ln>
                    <a:noFill/>
                  </a:ln>
                  <a:solidFill>
                    <a:srgbClr val="000000"/>
                  </a:solidFill>
                  <a:effectLst/>
                  <a:uLnTx/>
                  <a:uFillTx/>
                  <a:latin typeface="Segoe UI Semibold"/>
                  <a:ea typeface="+mn-ea"/>
                  <a:cs typeface="+mn-cs"/>
                </a:rPr>
                <a:t>Sécurisé dès la conception</a:t>
              </a:r>
            </a:p>
          </p:txBody>
        </p:sp>
        <p:pic>
          <p:nvPicPr>
            <p:cNvPr id="7" name="Graphic 6" descr="Cadenas avec remplissage uni">
              <a:extLst>
                <a:ext uri="{FF2B5EF4-FFF2-40B4-BE49-F238E27FC236}">
                  <a16:creationId xmlns:a16="http://schemas.microsoft.com/office/drawing/2014/main" id="{4C0F7502-0FC3-A5C7-B034-98D3778AB89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454326" y="2500952"/>
              <a:ext cx="914400" cy="914400"/>
            </a:xfrm>
            <a:prstGeom prst="rect">
              <a:avLst/>
            </a:prstGeom>
          </p:spPr>
        </p:pic>
      </p:grpSp>
    </p:spTree>
    <p:extLst>
      <p:ext uri="{BB962C8B-B14F-4D97-AF65-F5344CB8AC3E}">
        <p14:creationId xmlns:p14="http://schemas.microsoft.com/office/powerpoint/2010/main" val="29280339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22" presetClass="entr" presetSubtype="8" fill="hold" nodeType="with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wipe(left)">
                                      <p:cBhvr>
                                        <p:cTn id="14" dur="500"/>
                                        <p:tgtEl>
                                          <p:spTgt spid="13"/>
                                        </p:tgtEl>
                                      </p:cBhvr>
                                    </p:animEffect>
                                  </p:childTnLst>
                                </p:cTn>
                              </p:par>
                            </p:childTnLst>
                          </p:cTn>
                        </p:par>
                        <p:par>
                          <p:cTn id="15" fill="hold">
                            <p:stCondLst>
                              <p:cond delay="1000"/>
                            </p:stCondLst>
                            <p:childTnLst>
                              <p:par>
                                <p:cTn id="16" presetID="22" presetClass="entr" presetSubtype="8" fill="hold" nodeType="after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wipe(left)">
                                      <p:cBhvr>
                                        <p:cTn id="18" dur="500"/>
                                        <p:tgtEl>
                                          <p:spTgt spid="11"/>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wipe(left)">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gradFill>
          <a:gsLst>
            <a:gs pos="78000">
              <a:srgbClr val="ACE0D8"/>
            </a:gs>
            <a:gs pos="18000">
              <a:srgbClr val="C5B4E3"/>
            </a:gs>
          </a:gsLst>
          <a:lin ang="1800000" scaled="0"/>
        </a:gradFill>
        <a:effectLst/>
      </p:bgPr>
    </p:bg>
    <p:spTree>
      <p:nvGrpSpPr>
        <p:cNvPr id="1" name="">
          <a:extLst>
            <a:ext uri="{FF2B5EF4-FFF2-40B4-BE49-F238E27FC236}">
              <a16:creationId xmlns:a16="http://schemas.microsoft.com/office/drawing/2014/main" id="{7ADB798A-B362-12F3-62C0-772CADFB0EDD}"/>
            </a:ext>
          </a:extLst>
        </p:cNvPr>
        <p:cNvGrpSpPr/>
        <p:nvPr/>
      </p:nvGrpSpPr>
      <p:grpSpPr>
        <a:xfrm>
          <a:off x="0" y="0"/>
          <a:ext cx="0" cy="0"/>
          <a:chOff x="0" y="0"/>
          <a:chExt cx="0" cy="0"/>
        </a:xfrm>
      </p:grpSpPr>
      <p:sp>
        <p:nvSpPr>
          <p:cNvPr id="55" name="CS box - replacement">
            <a:extLst>
              <a:ext uri="{FF2B5EF4-FFF2-40B4-BE49-F238E27FC236}">
                <a16:creationId xmlns:a16="http://schemas.microsoft.com/office/drawing/2014/main" id="{F82A16CE-EE72-C6FC-C76B-7A8946543E6B}"/>
              </a:ext>
              <a:ext uri="{C183D7F6-B498-43B3-948B-1728B52AA6E4}">
                <adec:decorative xmlns:adec="http://schemas.microsoft.com/office/drawing/2017/decorative" val="1"/>
              </a:ext>
            </a:extLst>
          </p:cNvPr>
          <p:cNvSpPr>
            <a:spLocks/>
          </p:cNvSpPr>
          <p:nvPr/>
        </p:nvSpPr>
        <p:spPr bwMode="auto">
          <a:xfrm>
            <a:off x="582612" y="1435100"/>
            <a:ext cx="11026776" cy="4927600"/>
          </a:xfrm>
          <a:prstGeom prst="roundRect">
            <a:avLst>
              <a:gd name="adj" fmla="val 4072"/>
            </a:avLst>
          </a:prstGeom>
          <a:solidFill>
            <a:schemeClr val="bg1">
              <a:alpha val="19000"/>
            </a:schemeClr>
          </a:solidFill>
          <a:ln w="19050" cap="rnd">
            <a:solidFill>
              <a:schemeClr val="bg1"/>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61257" tIns="209006" rIns="261257" bIns="209006" numCol="1" spcCol="0" rtlCol="0" fromWordArt="0" anchor="t" anchorCtr="0" forceAA="0" compatLnSpc="1">
            <a:prstTxWarp prst="textNoShape">
              <a:avLst/>
            </a:prstTxWarp>
            <a:noAutofit/>
          </a:bodyPr>
          <a:lstStyle/>
          <a:p>
            <a:pPr marL="0" marR="0" lvl="0" indent="0" algn="l" defTabSz="1332133" rtl="0" eaLnBrk="1" fontAlgn="base" latinLnBrk="0" hangingPunct="1">
              <a:lnSpc>
                <a:spcPct val="100000"/>
              </a:lnSpc>
              <a:spcBef>
                <a:spcPct val="0"/>
              </a:spcBef>
              <a:spcAft>
                <a:spcPct val="0"/>
              </a:spcAft>
              <a:buClrTx/>
              <a:buSzTx/>
              <a:buFontTx/>
              <a:buNone/>
              <a:tabLst/>
              <a:defRPr/>
            </a:pPr>
            <a:endParaRPr kumimoji="0" lang="en-US" sz="2857" b="0" i="0" u="none" strike="noStrike" kern="1200" cap="none" spc="0" normalizeH="0" baseline="0" noProof="0">
              <a:ln>
                <a:noFill/>
              </a:ln>
              <a:noFill/>
              <a:effectLst/>
              <a:uLnTx/>
              <a:uFillTx/>
              <a:latin typeface="Segoe UI Variable Display Semib" pitchFamily="2" charset="0"/>
              <a:ea typeface="+mn-ea"/>
              <a:cs typeface="Segoe UI" pitchFamily="34" charset="0"/>
            </a:endParaRPr>
          </a:p>
        </p:txBody>
      </p:sp>
      <p:sp>
        <p:nvSpPr>
          <p:cNvPr id="56" name="Title 55">
            <a:extLst>
              <a:ext uri="{FF2B5EF4-FFF2-40B4-BE49-F238E27FC236}">
                <a16:creationId xmlns:a16="http://schemas.microsoft.com/office/drawing/2014/main" id="{9D8E8010-5A80-D047-23E4-DCD4BA55A609}"/>
              </a:ext>
            </a:extLst>
          </p:cNvPr>
          <p:cNvSpPr>
            <a:spLocks noGrp="1"/>
          </p:cNvSpPr>
          <p:nvPr>
            <p:ph type="title" idx="4294967295"/>
          </p:nvPr>
        </p:nvSpPr>
        <p:spPr>
          <a:xfrm>
            <a:off x="585216" y="215154"/>
            <a:ext cx="11017250" cy="557784"/>
          </a:xfrm>
        </p:spPr>
        <p:txBody>
          <a:bodyPr/>
          <a:lstStyle/>
          <a:p>
            <a:r>
              <a:rPr lang="fr-fr">
                <a:ea typeface="+mj-ea"/>
                <a:cs typeface="+mj-cs"/>
              </a:rPr>
              <a:t>Permettre à vos équipes de sécurité de gérer les risques liés aux agents</a:t>
            </a:r>
          </a:p>
        </p:txBody>
      </p:sp>
      <p:grpSp>
        <p:nvGrpSpPr>
          <p:cNvPr id="4" name="Group 3">
            <a:extLst>
              <a:ext uri="{FF2B5EF4-FFF2-40B4-BE49-F238E27FC236}">
                <a16:creationId xmlns:a16="http://schemas.microsoft.com/office/drawing/2014/main" id="{3D2CD66E-E027-1179-B7D5-261F433DBE07}"/>
              </a:ext>
            </a:extLst>
          </p:cNvPr>
          <p:cNvGrpSpPr/>
          <p:nvPr/>
        </p:nvGrpSpPr>
        <p:grpSpPr>
          <a:xfrm>
            <a:off x="814181" y="1656687"/>
            <a:ext cx="3434466" cy="4484427"/>
            <a:chOff x="814181" y="1656687"/>
            <a:chExt cx="3434466" cy="4484427"/>
          </a:xfrm>
        </p:grpSpPr>
        <p:sp>
          <p:nvSpPr>
            <p:cNvPr id="44" name="Rectangle: Rounded Corners 43">
              <a:extLst>
                <a:ext uri="{FF2B5EF4-FFF2-40B4-BE49-F238E27FC236}">
                  <a16:creationId xmlns:a16="http://schemas.microsoft.com/office/drawing/2014/main" id="{C06F445C-A30D-1374-93B1-E3BA942F72A5}"/>
                </a:ext>
                <a:ext uri="{C183D7F6-B498-43B3-948B-1728B52AA6E4}">
                  <adec:decorative xmlns:adec="http://schemas.microsoft.com/office/drawing/2017/decorative" val="1"/>
                </a:ext>
              </a:extLst>
            </p:cNvPr>
            <p:cNvSpPr>
              <a:spLocks/>
            </p:cNvSpPr>
            <p:nvPr/>
          </p:nvSpPr>
          <p:spPr>
            <a:xfrm>
              <a:off x="814181" y="1656687"/>
              <a:ext cx="3434466" cy="4484427"/>
            </a:xfrm>
            <a:prstGeom prst="roundRect">
              <a:avLst>
                <a:gd name="adj" fmla="val 4200"/>
              </a:avLst>
            </a:prstGeom>
            <a:solidFill>
              <a:schemeClr val="bg1"/>
            </a:solidFill>
            <a:ln w="12700">
              <a:noFill/>
              <a:headEnd type="none" w="med" len="med"/>
              <a:tailEnd type="none" w="med" len="med"/>
            </a:ln>
            <a:effectLst>
              <a:outerShdw blurRad="1651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 name="Rounded Rectangle 2">
              <a:extLst>
                <a:ext uri="{FF2B5EF4-FFF2-40B4-BE49-F238E27FC236}">
                  <a16:creationId xmlns:a16="http://schemas.microsoft.com/office/drawing/2014/main" id="{26FAFE0B-5353-5994-1A5D-EA3DE17055E9}"/>
                </a:ext>
              </a:extLst>
            </p:cNvPr>
            <p:cNvSpPr/>
            <p:nvPr/>
          </p:nvSpPr>
          <p:spPr bwMode="auto">
            <a:xfrm>
              <a:off x="1274114" y="4675941"/>
              <a:ext cx="2514600" cy="830997"/>
            </a:xfrm>
            <a:prstGeom prst="rect">
              <a:avLst/>
            </a:prstGeom>
            <a:no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21425"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2A446F"/>
                  </a:solidFill>
                  <a:effectLst/>
                  <a:uLnTx/>
                  <a:uFillTx/>
                  <a:latin typeface="Segoe UI Semibold"/>
                  <a:ea typeface="+mn-ea"/>
                  <a:cs typeface="+mn-cs"/>
                </a:rPr>
                <a:t>Empêcher le partage excessif de données sensibles et assurer la conformité des données</a:t>
              </a:r>
            </a:p>
          </p:txBody>
        </p:sp>
        <p:cxnSp>
          <p:nvCxnSpPr>
            <p:cNvPr id="14" name="Straight Connector 13">
              <a:extLst>
                <a:ext uri="{FF2B5EF4-FFF2-40B4-BE49-F238E27FC236}">
                  <a16:creationId xmlns:a16="http://schemas.microsoft.com/office/drawing/2014/main" id="{9AAD9CF5-4928-A1AE-D7C7-C88322B040DB}"/>
                </a:ext>
                <a:ext uri="{C183D7F6-B498-43B3-948B-1728B52AA6E4}">
                  <adec:decorative xmlns:adec="http://schemas.microsoft.com/office/drawing/2017/decorative" val="1"/>
                </a:ext>
              </a:extLst>
            </p:cNvPr>
            <p:cNvCxnSpPr>
              <a:cxnSpLocks/>
            </p:cNvCxnSpPr>
            <p:nvPr/>
          </p:nvCxnSpPr>
          <p:spPr>
            <a:xfrm>
              <a:off x="1676449" y="4107858"/>
              <a:ext cx="1709928" cy="0"/>
            </a:xfrm>
            <a:prstGeom prst="line">
              <a:avLst/>
            </a:prstGeom>
            <a:noFill/>
            <a:ln w="3175">
              <a:solidFill>
                <a:schemeClr val="tx1">
                  <a:alpha val="30000"/>
                </a:schemeClr>
              </a:solidFill>
              <a:headEnd type="none" w="med" len="med"/>
              <a:tailEnd type="none" w="med" len="med"/>
            </a:ln>
            <a:effectLst>
              <a:outerShdw blurRad="1651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cxnSp>
        <p:pic>
          <p:nvPicPr>
            <p:cNvPr id="13" name="Picture 14" descr="Microsoft Purview">
              <a:extLst>
                <a:ext uri="{FF2B5EF4-FFF2-40B4-BE49-F238E27FC236}">
                  <a16:creationId xmlns:a16="http://schemas.microsoft.com/office/drawing/2014/main" id="{1EEDAF74-D677-E4E9-543A-7E67594A8A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4993" y="2151602"/>
              <a:ext cx="1072842" cy="1056700"/>
            </a:xfrm>
            <a:prstGeom prst="rect">
              <a:avLst/>
            </a:prstGeom>
            <a:noFill/>
            <a:extLst>
              <a:ext uri="{909E8E84-426E-40DD-AFC4-6F175D3DCCD1}">
                <a14:hiddenFill xmlns:a14="http://schemas.microsoft.com/office/drawing/2010/main">
                  <a:solidFill>
                    <a:srgbClr val="FFFFFF"/>
                  </a:solidFill>
                </a14:hiddenFill>
              </a:ext>
            </a:extLst>
          </p:spPr>
        </p:pic>
        <p:sp>
          <p:nvSpPr>
            <p:cNvPr id="3" name="Rounded Rectangle 2">
              <a:extLst>
                <a:ext uri="{FF2B5EF4-FFF2-40B4-BE49-F238E27FC236}">
                  <a16:creationId xmlns:a16="http://schemas.microsoft.com/office/drawing/2014/main" id="{C48B358B-B311-41F0-848F-F83D65DF4CBD}"/>
                </a:ext>
              </a:extLst>
            </p:cNvPr>
            <p:cNvSpPr/>
            <p:nvPr/>
          </p:nvSpPr>
          <p:spPr bwMode="auto">
            <a:xfrm>
              <a:off x="1678474" y="3487316"/>
              <a:ext cx="1705879" cy="430887"/>
            </a:xfrm>
            <a:prstGeom prst="rect">
              <a:avLst/>
            </a:prstGeom>
            <a:no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21425"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2A446F"/>
                  </a:solidFill>
                  <a:effectLst/>
                  <a:uLnTx/>
                  <a:uFillTx/>
                  <a:latin typeface="Segoe UI"/>
                  <a:ea typeface="+mn-ea"/>
                  <a:cs typeface="+mn-cs"/>
                </a:rPr>
                <a:t>Purview</a:t>
              </a:r>
            </a:p>
          </p:txBody>
        </p:sp>
      </p:grpSp>
      <p:grpSp>
        <p:nvGrpSpPr>
          <p:cNvPr id="8" name="Group 7">
            <a:extLst>
              <a:ext uri="{FF2B5EF4-FFF2-40B4-BE49-F238E27FC236}">
                <a16:creationId xmlns:a16="http://schemas.microsoft.com/office/drawing/2014/main" id="{759B6532-F762-4022-3405-F7071C4E397C}"/>
              </a:ext>
            </a:extLst>
          </p:cNvPr>
          <p:cNvGrpSpPr/>
          <p:nvPr/>
        </p:nvGrpSpPr>
        <p:grpSpPr>
          <a:xfrm>
            <a:off x="4375746" y="1656687"/>
            <a:ext cx="3434466" cy="4484427"/>
            <a:chOff x="4375746" y="1656687"/>
            <a:chExt cx="3434466" cy="4484427"/>
          </a:xfrm>
        </p:grpSpPr>
        <p:sp>
          <p:nvSpPr>
            <p:cNvPr id="45" name="Rectangle: Rounded Corners 44">
              <a:extLst>
                <a:ext uri="{FF2B5EF4-FFF2-40B4-BE49-F238E27FC236}">
                  <a16:creationId xmlns:a16="http://schemas.microsoft.com/office/drawing/2014/main" id="{3220B06A-9576-B13E-DAA1-4E3D5E308442}"/>
                </a:ext>
                <a:ext uri="{C183D7F6-B498-43B3-948B-1728B52AA6E4}">
                  <adec:decorative xmlns:adec="http://schemas.microsoft.com/office/drawing/2017/decorative" val="1"/>
                </a:ext>
              </a:extLst>
            </p:cNvPr>
            <p:cNvSpPr>
              <a:spLocks/>
            </p:cNvSpPr>
            <p:nvPr/>
          </p:nvSpPr>
          <p:spPr>
            <a:xfrm>
              <a:off x="4375746" y="1656687"/>
              <a:ext cx="3434466" cy="4484427"/>
            </a:xfrm>
            <a:prstGeom prst="roundRect">
              <a:avLst>
                <a:gd name="adj" fmla="val 4200"/>
              </a:avLst>
            </a:prstGeom>
            <a:solidFill>
              <a:schemeClr val="bg1">
                <a:alpha val="50000"/>
              </a:schemeClr>
            </a:solidFill>
            <a:ln w="12700">
              <a:noFill/>
              <a:headEnd type="none" w="med" len="med"/>
              <a:tailEnd type="none" w="med" len="med"/>
            </a:ln>
            <a:effectLst>
              <a:outerShdw blurRad="1651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15" name="Straight Connector 14">
              <a:extLst>
                <a:ext uri="{FF2B5EF4-FFF2-40B4-BE49-F238E27FC236}">
                  <a16:creationId xmlns:a16="http://schemas.microsoft.com/office/drawing/2014/main" id="{D8BB1936-8217-94EF-E2FB-61CF27DC53E5}"/>
                </a:ext>
                <a:ext uri="{C183D7F6-B498-43B3-948B-1728B52AA6E4}">
                  <adec:decorative xmlns:adec="http://schemas.microsoft.com/office/drawing/2017/decorative" val="1"/>
                </a:ext>
              </a:extLst>
            </p:cNvPr>
            <p:cNvCxnSpPr>
              <a:cxnSpLocks/>
            </p:cNvCxnSpPr>
            <p:nvPr/>
          </p:nvCxnSpPr>
          <p:spPr>
            <a:xfrm>
              <a:off x="5238016" y="4107858"/>
              <a:ext cx="1709928" cy="0"/>
            </a:xfrm>
            <a:prstGeom prst="line">
              <a:avLst/>
            </a:prstGeom>
            <a:noFill/>
            <a:ln w="3175">
              <a:solidFill>
                <a:schemeClr val="tx1">
                  <a:alpha val="30000"/>
                </a:schemeClr>
              </a:solidFill>
              <a:headEnd type="none" w="med" len="med"/>
              <a:tailEnd type="none" w="med" len="med"/>
            </a:ln>
            <a:effectLst>
              <a:outerShdw blurRad="1651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cxnSp>
        <p:sp>
          <p:nvSpPr>
            <p:cNvPr id="11" name="Rounded Rectangle 2">
              <a:extLst>
                <a:ext uri="{FF2B5EF4-FFF2-40B4-BE49-F238E27FC236}">
                  <a16:creationId xmlns:a16="http://schemas.microsoft.com/office/drawing/2014/main" id="{16587E93-A971-9688-6879-ECFF3E62FAAF}"/>
                </a:ext>
              </a:extLst>
            </p:cNvPr>
            <p:cNvSpPr/>
            <p:nvPr/>
          </p:nvSpPr>
          <p:spPr bwMode="auto">
            <a:xfrm>
              <a:off x="4834346" y="4523541"/>
              <a:ext cx="2517268" cy="830997"/>
            </a:xfrm>
            <a:prstGeom prst="rect">
              <a:avLst/>
            </a:prstGeom>
            <a:no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21425" rtl="0" eaLnBrk="1" fontAlgn="auto" latinLnBrk="0" hangingPunct="1">
                <a:lnSpc>
                  <a:spcPct val="100000"/>
                </a:lnSpc>
                <a:spcBef>
                  <a:spcPts val="155"/>
                </a:spcBef>
                <a:spcAft>
                  <a:spcPts val="0"/>
                </a:spcAft>
                <a:buClrTx/>
                <a:buSzTx/>
                <a:buFontTx/>
                <a:buNone/>
                <a:tabLst/>
                <a:defRPr/>
              </a:pPr>
              <a:r>
                <a:rPr kumimoji="0" lang="fr-fr" sz="1800" b="0" i="0" u="none" strike="noStrike" kern="1200" cap="none" spc="0" normalizeH="0" baseline="0" noProof="0">
                  <a:ln>
                    <a:noFill/>
                  </a:ln>
                  <a:solidFill>
                    <a:srgbClr val="2A446F">
                      <a:alpha val="50000"/>
                    </a:srgbClr>
                  </a:solidFill>
                  <a:effectLst/>
                  <a:uLnTx/>
                  <a:uFillTx/>
                  <a:latin typeface="Segoe UI Semibold"/>
                  <a:ea typeface="+mn-ea"/>
                  <a:cs typeface="+mn-cs"/>
                </a:rPr>
                <a:t>Se défendre contre les menaces émergentes liées à l’IA et les vulnérabilités</a:t>
              </a:r>
            </a:p>
          </p:txBody>
        </p:sp>
        <p:pic>
          <p:nvPicPr>
            <p:cNvPr id="24" name="Picture 23" descr="Microsoft Defender">
              <a:extLst>
                <a:ext uri="{FF2B5EF4-FFF2-40B4-BE49-F238E27FC236}">
                  <a16:creationId xmlns:a16="http://schemas.microsoft.com/office/drawing/2014/main" id="{E2A5981E-57C1-AA6A-153B-5AE643E1DE2F}"/>
                </a:ext>
              </a:extLst>
            </p:cNvPr>
            <p:cNvPicPr>
              <a:picLocks noChangeAspect="1"/>
            </p:cNvPicPr>
            <p:nvPr/>
          </p:nvPicPr>
          <p:blipFill>
            <a:blip r:embed="rId4">
              <a:alphaModFix amt="50000"/>
            </a:blip>
            <a:stretch>
              <a:fillRect/>
            </a:stretch>
          </p:blipFill>
          <p:spPr>
            <a:xfrm>
              <a:off x="5579607" y="2198968"/>
              <a:ext cx="1026744" cy="1026744"/>
            </a:xfrm>
            <a:prstGeom prst="rect">
              <a:avLst/>
            </a:prstGeom>
          </p:spPr>
        </p:pic>
        <p:sp>
          <p:nvSpPr>
            <p:cNvPr id="5" name="Rounded Rectangle 2">
              <a:extLst>
                <a:ext uri="{FF2B5EF4-FFF2-40B4-BE49-F238E27FC236}">
                  <a16:creationId xmlns:a16="http://schemas.microsoft.com/office/drawing/2014/main" id="{6106A9E3-E4DF-86CC-0107-246B156221CE}"/>
                </a:ext>
              </a:extLst>
            </p:cNvPr>
            <p:cNvSpPr/>
            <p:nvPr/>
          </p:nvSpPr>
          <p:spPr bwMode="auto">
            <a:xfrm>
              <a:off x="5369084" y="3487316"/>
              <a:ext cx="1447792" cy="246221"/>
            </a:xfrm>
            <a:prstGeom prst="rect">
              <a:avLst/>
            </a:prstGeom>
            <a:no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721425"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2A446F">
                      <a:alpha val="50000"/>
                    </a:srgbClr>
                  </a:solidFill>
                  <a:effectLst/>
                  <a:uLnTx/>
                  <a:uFillTx/>
                  <a:latin typeface="Segoe UI"/>
                  <a:ea typeface="+mn-ea"/>
                  <a:cs typeface="+mn-cs"/>
                </a:rPr>
                <a:t>Defender</a:t>
              </a:r>
            </a:p>
          </p:txBody>
        </p:sp>
      </p:grpSp>
      <p:grpSp>
        <p:nvGrpSpPr>
          <p:cNvPr id="10" name="Group 9">
            <a:extLst>
              <a:ext uri="{FF2B5EF4-FFF2-40B4-BE49-F238E27FC236}">
                <a16:creationId xmlns:a16="http://schemas.microsoft.com/office/drawing/2014/main" id="{23F07C7D-DD47-F25C-19D5-2388A0AF0B8E}"/>
              </a:ext>
            </a:extLst>
          </p:cNvPr>
          <p:cNvGrpSpPr/>
          <p:nvPr/>
        </p:nvGrpSpPr>
        <p:grpSpPr>
          <a:xfrm>
            <a:off x="7937311" y="1656687"/>
            <a:ext cx="3434466" cy="4484427"/>
            <a:chOff x="7937311" y="1656687"/>
            <a:chExt cx="3434466" cy="4484427"/>
          </a:xfrm>
        </p:grpSpPr>
        <p:sp>
          <p:nvSpPr>
            <p:cNvPr id="34" name="Rectangle: Rounded Corners 42">
              <a:extLst>
                <a:ext uri="{FF2B5EF4-FFF2-40B4-BE49-F238E27FC236}">
                  <a16:creationId xmlns:a16="http://schemas.microsoft.com/office/drawing/2014/main" id="{8B8E6A5F-1213-2CD3-FF88-B9EB024C8829}"/>
                </a:ext>
                <a:ext uri="{C183D7F6-B498-43B3-948B-1728B52AA6E4}">
                  <adec:decorative xmlns:adec="http://schemas.microsoft.com/office/drawing/2017/decorative" val="1"/>
                </a:ext>
              </a:extLst>
            </p:cNvPr>
            <p:cNvSpPr>
              <a:spLocks/>
            </p:cNvSpPr>
            <p:nvPr/>
          </p:nvSpPr>
          <p:spPr>
            <a:xfrm>
              <a:off x="7937311" y="1656687"/>
              <a:ext cx="3434466" cy="4484427"/>
            </a:xfrm>
            <a:prstGeom prst="roundRect">
              <a:avLst>
                <a:gd name="adj" fmla="val 4200"/>
              </a:avLst>
            </a:prstGeom>
            <a:solidFill>
              <a:schemeClr val="bg1">
                <a:alpha val="50000"/>
              </a:schemeClr>
            </a:solidFill>
            <a:ln w="12700">
              <a:noFill/>
              <a:headEnd type="none" w="med" len="med"/>
              <a:tailEnd type="none" w="med" len="med"/>
            </a:ln>
            <a:effectLst>
              <a:outerShdw blurRad="1651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5" name="Rounded Rectangle 2">
              <a:extLst>
                <a:ext uri="{FF2B5EF4-FFF2-40B4-BE49-F238E27FC236}">
                  <a16:creationId xmlns:a16="http://schemas.microsoft.com/office/drawing/2014/main" id="{CC2E3845-A648-6324-99C3-BDF12F8A4078}"/>
                </a:ext>
              </a:extLst>
            </p:cNvPr>
            <p:cNvSpPr/>
            <p:nvPr/>
          </p:nvSpPr>
          <p:spPr bwMode="auto">
            <a:xfrm>
              <a:off x="8397244" y="4640081"/>
              <a:ext cx="2514600" cy="830997"/>
            </a:xfrm>
            <a:prstGeom prst="rect">
              <a:avLst/>
            </a:prstGeom>
            <a:no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21425"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2A446F">
                      <a:alpha val="50000"/>
                    </a:srgbClr>
                  </a:solidFill>
                  <a:effectLst/>
                  <a:uLnTx/>
                  <a:uFillTx/>
                  <a:latin typeface="Segoe UI Semibold"/>
                  <a:ea typeface="+mn-ea"/>
                  <a:cs typeface="+mn-cs"/>
                </a:rPr>
                <a:t>Gérer la prolifération des agents, contrôler les autorisations et protéger l’accès aux ressources</a:t>
              </a:r>
            </a:p>
          </p:txBody>
        </p:sp>
        <p:cxnSp>
          <p:nvCxnSpPr>
            <p:cNvPr id="37" name="Straight Connector 36">
              <a:extLst>
                <a:ext uri="{FF2B5EF4-FFF2-40B4-BE49-F238E27FC236}">
                  <a16:creationId xmlns:a16="http://schemas.microsoft.com/office/drawing/2014/main" id="{D6C968A9-1CF5-E447-257E-73E2D491146C}"/>
                </a:ext>
                <a:ext uri="{C183D7F6-B498-43B3-948B-1728B52AA6E4}">
                  <adec:decorative xmlns:adec="http://schemas.microsoft.com/office/drawing/2017/decorative" val="1"/>
                </a:ext>
              </a:extLst>
            </p:cNvPr>
            <p:cNvCxnSpPr>
              <a:cxnSpLocks/>
            </p:cNvCxnSpPr>
            <p:nvPr/>
          </p:nvCxnSpPr>
          <p:spPr>
            <a:xfrm>
              <a:off x="8799580" y="4107858"/>
              <a:ext cx="1709928" cy="0"/>
            </a:xfrm>
            <a:prstGeom prst="line">
              <a:avLst/>
            </a:prstGeom>
            <a:noFill/>
            <a:ln w="3175">
              <a:solidFill>
                <a:schemeClr val="tx1">
                  <a:alpha val="30000"/>
                </a:schemeClr>
              </a:solidFill>
              <a:headEnd type="none" w="med" len="med"/>
              <a:tailEnd type="none" w="med" len="med"/>
            </a:ln>
            <a:effectLst>
              <a:outerShdw blurRad="1651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cxnSp>
        <p:pic>
          <p:nvPicPr>
            <p:cNvPr id="36" name="Picture 35" descr="Microsoft Entra">
              <a:extLst>
                <a:ext uri="{FF2B5EF4-FFF2-40B4-BE49-F238E27FC236}">
                  <a16:creationId xmlns:a16="http://schemas.microsoft.com/office/drawing/2014/main" id="{D66429EA-C76E-DE21-7FF2-94CE59C3CF5E}"/>
                </a:ext>
              </a:extLst>
            </p:cNvPr>
            <p:cNvPicPr>
              <a:picLocks noChangeAspect="1"/>
            </p:cNvPicPr>
            <p:nvPr/>
          </p:nvPicPr>
          <p:blipFill>
            <a:blip r:embed="rId5">
              <a:alphaModFix amt="50000"/>
              <a:extLst>
                <a:ext uri="{28A0092B-C50C-407E-A947-70E740481C1C}">
                  <a14:useLocalDpi xmlns:a14="http://schemas.microsoft.com/office/drawing/2010/main" val="0"/>
                </a:ext>
              </a:extLst>
            </a:blip>
            <a:srcRect l="36667" t="22099" r="36667" b="25491"/>
            <a:stretch>
              <a:fillRect/>
            </a:stretch>
          </p:blipFill>
          <p:spPr>
            <a:xfrm>
              <a:off x="9102364" y="2073870"/>
              <a:ext cx="1104360" cy="1134432"/>
            </a:xfrm>
            <a:prstGeom prst="rect">
              <a:avLst/>
            </a:prstGeom>
          </p:spPr>
        </p:pic>
        <p:sp>
          <p:nvSpPr>
            <p:cNvPr id="6" name="Rounded Rectangle 2">
              <a:extLst>
                <a:ext uri="{FF2B5EF4-FFF2-40B4-BE49-F238E27FC236}">
                  <a16:creationId xmlns:a16="http://schemas.microsoft.com/office/drawing/2014/main" id="{298B5805-A465-DCCC-CC7B-824406BC9FC3}"/>
                </a:ext>
              </a:extLst>
            </p:cNvPr>
            <p:cNvSpPr/>
            <p:nvPr/>
          </p:nvSpPr>
          <p:spPr bwMode="auto">
            <a:xfrm>
              <a:off x="8801604" y="3487316"/>
              <a:ext cx="1705879" cy="430887"/>
            </a:xfrm>
            <a:prstGeom prst="rect">
              <a:avLst/>
            </a:prstGeom>
            <a:no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21425"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2A446F">
                      <a:alpha val="50000"/>
                    </a:srgbClr>
                  </a:solidFill>
                  <a:effectLst/>
                  <a:uLnTx/>
                  <a:uFillTx/>
                  <a:latin typeface="Segoe UI"/>
                  <a:ea typeface="+mn-ea"/>
                  <a:cs typeface="+mn-cs"/>
                </a:rPr>
                <a:t>Entra</a:t>
              </a:r>
            </a:p>
          </p:txBody>
        </p:sp>
      </p:grpSp>
    </p:spTree>
    <p:extLst>
      <p:ext uri="{BB962C8B-B14F-4D97-AF65-F5344CB8AC3E}">
        <p14:creationId xmlns:p14="http://schemas.microsoft.com/office/powerpoint/2010/main" val="37889069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p:cTn id="7" dur="500" fill="hold"/>
                                        <p:tgtEl>
                                          <p:spTgt spid="55"/>
                                        </p:tgtEl>
                                        <p:attrNameLst>
                                          <p:attrName>ppt_w</p:attrName>
                                        </p:attrNameLst>
                                      </p:cBhvr>
                                      <p:tavLst>
                                        <p:tav tm="0">
                                          <p:val>
                                            <p:fltVal val="0"/>
                                          </p:val>
                                        </p:tav>
                                        <p:tav tm="100000">
                                          <p:val>
                                            <p:strVal val="#ppt_w"/>
                                          </p:val>
                                        </p:tav>
                                      </p:tavLst>
                                    </p:anim>
                                    <p:anim calcmode="lin" valueType="num">
                                      <p:cBhvr>
                                        <p:cTn id="8" dur="500" fill="hold"/>
                                        <p:tgtEl>
                                          <p:spTgt spid="55"/>
                                        </p:tgtEl>
                                        <p:attrNameLst>
                                          <p:attrName>ppt_h</p:attrName>
                                        </p:attrNameLst>
                                      </p:cBhvr>
                                      <p:tavLst>
                                        <p:tav tm="0">
                                          <p:val>
                                            <p:strVal val="#ppt_h"/>
                                          </p:val>
                                        </p:tav>
                                        <p:tav tm="100000">
                                          <p:val>
                                            <p:strVal val="#ppt_h"/>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gradFill>
          <a:gsLst>
            <a:gs pos="91000">
              <a:srgbClr val="ACE0D8"/>
            </a:gs>
            <a:gs pos="26000">
              <a:srgbClr val="C5B4E3"/>
            </a:gs>
          </a:gsLst>
          <a:lin ang="1800000" scaled="0"/>
        </a:gradFill>
        <a:effectLst/>
      </p:bgPr>
    </p:bg>
    <p:spTree>
      <p:nvGrpSpPr>
        <p:cNvPr id="1" name="">
          <a:extLst>
            <a:ext uri="{FF2B5EF4-FFF2-40B4-BE49-F238E27FC236}">
              <a16:creationId xmlns:a16="http://schemas.microsoft.com/office/drawing/2014/main" id="{A772F3BF-1548-A269-2292-E0820184FF00}"/>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1CA8A316-F542-084F-EAE8-4950F5209FE7}"/>
              </a:ext>
              <a:ext uri="{C183D7F6-B498-43B3-948B-1728B52AA6E4}">
                <adec:decorative xmlns:adec="http://schemas.microsoft.com/office/drawing/2017/decorative" val="1"/>
              </a:ext>
            </a:extLst>
          </p:cNvPr>
          <p:cNvSpPr>
            <a:spLocks/>
          </p:cNvSpPr>
          <p:nvPr/>
        </p:nvSpPr>
        <p:spPr bwMode="auto">
          <a:xfrm>
            <a:off x="3556000" y="1574800"/>
            <a:ext cx="8361679" cy="4478020"/>
          </a:xfrm>
          <a:prstGeom prst="roundRect">
            <a:avLst>
              <a:gd name="adj" fmla="val 3861"/>
            </a:avLst>
          </a:prstGeom>
          <a:solidFill>
            <a:schemeClr val="bg1">
              <a:alpha val="19000"/>
            </a:schemeClr>
          </a:solidFill>
          <a:ln w="12700" cap="rnd">
            <a:solidFill>
              <a:schemeClr val="bg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13" b="1" i="0" u="none" strike="noStrike" kern="1200" cap="none" spc="0" normalizeH="0" baseline="0" noProof="0" err="1">
              <a:ln>
                <a:noFill/>
              </a:ln>
              <a:solidFill>
                <a:srgbClr val="000000"/>
              </a:solidFill>
              <a:effectLst/>
              <a:uLnTx/>
              <a:uFillTx/>
              <a:latin typeface="Segoe UI Semibold" panose="020B0502040204020203" pitchFamily="34" charset="0"/>
              <a:ea typeface="+mn-ea"/>
              <a:cs typeface="Segoe UI Semibold" panose="020B0502040204020203" pitchFamily="34" charset="0"/>
            </a:endParaRPr>
          </a:p>
        </p:txBody>
      </p:sp>
      <p:grpSp>
        <p:nvGrpSpPr>
          <p:cNvPr id="30" name="Group 29">
            <a:extLst>
              <a:ext uri="{FF2B5EF4-FFF2-40B4-BE49-F238E27FC236}">
                <a16:creationId xmlns:a16="http://schemas.microsoft.com/office/drawing/2014/main" id="{D68F900C-F8BF-D175-C3BA-5B5E55962DF4}"/>
              </a:ext>
            </a:extLst>
          </p:cNvPr>
          <p:cNvGrpSpPr/>
          <p:nvPr/>
        </p:nvGrpSpPr>
        <p:grpSpPr>
          <a:xfrm>
            <a:off x="3761435" y="1880919"/>
            <a:ext cx="7959077" cy="738664"/>
            <a:chOff x="3761435" y="1704070"/>
            <a:chExt cx="7959077" cy="738664"/>
          </a:xfrm>
        </p:grpSpPr>
        <p:sp>
          <p:nvSpPr>
            <p:cNvPr id="5" name="Oval 4">
              <a:extLst>
                <a:ext uri="{FF2B5EF4-FFF2-40B4-BE49-F238E27FC236}">
                  <a16:creationId xmlns:a16="http://schemas.microsoft.com/office/drawing/2014/main" id="{CCE44866-D00C-A52B-2A45-BAEC80DC4820}"/>
                </a:ext>
              </a:extLst>
            </p:cNvPr>
            <p:cNvSpPr/>
            <p:nvPr/>
          </p:nvSpPr>
          <p:spPr bwMode="auto">
            <a:xfrm>
              <a:off x="3761435" y="1777657"/>
              <a:ext cx="591490" cy="591490"/>
            </a:xfrm>
            <a:prstGeom prst="ellipse">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8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1</a:t>
              </a:r>
            </a:p>
          </p:txBody>
        </p:sp>
        <p:sp>
          <p:nvSpPr>
            <p:cNvPr id="16" name="TextBox 15">
              <a:extLst>
                <a:ext uri="{FF2B5EF4-FFF2-40B4-BE49-F238E27FC236}">
                  <a16:creationId xmlns:a16="http://schemas.microsoft.com/office/drawing/2014/main" id="{B6E96D40-4373-EB69-608D-0AB698CE450F}"/>
                </a:ext>
              </a:extLst>
            </p:cNvPr>
            <p:cNvSpPr txBox="1"/>
            <p:nvPr/>
          </p:nvSpPr>
          <p:spPr>
            <a:xfrm>
              <a:off x="4622799" y="1704070"/>
              <a:ext cx="7097713" cy="738664"/>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a:ln>
                    <a:noFill/>
                  </a:ln>
                  <a:solidFill>
                    <a:srgbClr val="000000"/>
                  </a:solidFill>
                  <a:effectLst/>
                  <a:uLnTx/>
                  <a:uFillTx/>
                  <a:latin typeface="Segoe UI Semibold"/>
                  <a:ea typeface="+mn-ea"/>
                  <a:cs typeface="+mn-cs"/>
                </a:rPr>
                <a:t>Visibilité complète et approfondie sur les interactions avec l’IA.</a:t>
              </a:r>
            </a:p>
          </p:txBody>
        </p:sp>
      </p:grpSp>
      <p:grpSp>
        <p:nvGrpSpPr>
          <p:cNvPr id="29" name="Group 28">
            <a:extLst>
              <a:ext uri="{FF2B5EF4-FFF2-40B4-BE49-F238E27FC236}">
                <a16:creationId xmlns:a16="http://schemas.microsoft.com/office/drawing/2014/main" id="{3B903605-0B64-C0B6-38B0-E9E65027E7FE}"/>
              </a:ext>
            </a:extLst>
          </p:cNvPr>
          <p:cNvGrpSpPr/>
          <p:nvPr/>
        </p:nvGrpSpPr>
        <p:grpSpPr>
          <a:xfrm>
            <a:off x="3761435" y="2937711"/>
            <a:ext cx="7959078" cy="738664"/>
            <a:chOff x="3761435" y="2574274"/>
            <a:chExt cx="7959078" cy="738664"/>
          </a:xfrm>
        </p:grpSpPr>
        <p:sp>
          <p:nvSpPr>
            <p:cNvPr id="10" name="Oval 9">
              <a:extLst>
                <a:ext uri="{FF2B5EF4-FFF2-40B4-BE49-F238E27FC236}">
                  <a16:creationId xmlns:a16="http://schemas.microsoft.com/office/drawing/2014/main" id="{F25A1D77-B345-9424-A1AB-3B74442AB6E9}"/>
                </a:ext>
              </a:extLst>
            </p:cNvPr>
            <p:cNvSpPr/>
            <p:nvPr/>
          </p:nvSpPr>
          <p:spPr bwMode="auto">
            <a:xfrm>
              <a:off x="3761435" y="2647861"/>
              <a:ext cx="591490" cy="591490"/>
            </a:xfrm>
            <a:prstGeom prst="ellipse">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8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2</a:t>
              </a:r>
            </a:p>
          </p:txBody>
        </p:sp>
        <p:sp>
          <p:nvSpPr>
            <p:cNvPr id="17" name="TextBox 16">
              <a:extLst>
                <a:ext uri="{FF2B5EF4-FFF2-40B4-BE49-F238E27FC236}">
                  <a16:creationId xmlns:a16="http://schemas.microsoft.com/office/drawing/2014/main" id="{978B09B3-32C9-C801-B7DC-E0D57A2D58EE}"/>
                </a:ext>
              </a:extLst>
            </p:cNvPr>
            <p:cNvSpPr txBox="1"/>
            <p:nvPr/>
          </p:nvSpPr>
          <p:spPr>
            <a:xfrm>
              <a:off x="4622800" y="2574274"/>
              <a:ext cx="7097713" cy="738664"/>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a:ln>
                    <a:noFill/>
                  </a:ln>
                  <a:solidFill>
                    <a:srgbClr val="000000"/>
                  </a:solidFill>
                  <a:effectLst/>
                  <a:uLnTx/>
                  <a:uFillTx/>
                  <a:latin typeface="Segoe UI Semibold"/>
                  <a:ea typeface="+mn-ea"/>
                  <a:cs typeface="+mn-cs"/>
                </a:rPr>
                <a:t>Analyses approfondies de l’activité des agents </a:t>
              </a:r>
              <a:br>
                <a:rPr kumimoji="0" lang="fr-fr" sz="2400" b="0" i="0" u="none" strike="noStrike" kern="1200" cap="none" spc="0" normalizeH="0" baseline="0" noProof="0">
                  <a:ln>
                    <a:noFill/>
                  </a:ln>
                  <a:solidFill>
                    <a:srgbClr val="000000"/>
                  </a:solidFill>
                  <a:effectLst/>
                  <a:uLnTx/>
                  <a:uFillTx/>
                  <a:latin typeface="Segoe UI Semibold"/>
                  <a:ea typeface="+mn-ea"/>
                  <a:cs typeface="+mn-cs"/>
                </a:rPr>
              </a:br>
              <a:r>
                <a:rPr kumimoji="0" lang="fr-fr" sz="2400" b="0" i="0" u="none" strike="noStrike" kern="1200" cap="none" spc="0" normalizeH="0" baseline="0" noProof="0">
                  <a:ln>
                    <a:noFill/>
                  </a:ln>
                  <a:solidFill>
                    <a:srgbClr val="000000"/>
                  </a:solidFill>
                  <a:effectLst/>
                  <a:uLnTx/>
                  <a:uFillTx/>
                  <a:latin typeface="Segoe UI Semibold"/>
                  <a:ea typeface="+mn-ea"/>
                  <a:cs typeface="+mn-cs"/>
                </a:rPr>
                <a:t>et des risques potentiels. </a:t>
              </a:r>
            </a:p>
          </p:txBody>
        </p:sp>
      </p:grpSp>
      <p:grpSp>
        <p:nvGrpSpPr>
          <p:cNvPr id="28" name="Group 27">
            <a:extLst>
              <a:ext uri="{FF2B5EF4-FFF2-40B4-BE49-F238E27FC236}">
                <a16:creationId xmlns:a16="http://schemas.microsoft.com/office/drawing/2014/main" id="{40E7F2C7-0617-E08B-7696-CB75A729D4A2}"/>
              </a:ext>
            </a:extLst>
          </p:cNvPr>
          <p:cNvGrpSpPr/>
          <p:nvPr/>
        </p:nvGrpSpPr>
        <p:grpSpPr>
          <a:xfrm>
            <a:off x="3761435" y="3920916"/>
            <a:ext cx="7959078" cy="738664"/>
            <a:chOff x="3761435" y="3444478"/>
            <a:chExt cx="7959078" cy="738664"/>
          </a:xfrm>
        </p:grpSpPr>
        <p:sp>
          <p:nvSpPr>
            <p:cNvPr id="12" name="Oval 11">
              <a:extLst>
                <a:ext uri="{FF2B5EF4-FFF2-40B4-BE49-F238E27FC236}">
                  <a16:creationId xmlns:a16="http://schemas.microsoft.com/office/drawing/2014/main" id="{9EB282F6-4D2F-881E-FAEC-EA8D10F34B64}"/>
                </a:ext>
              </a:extLst>
            </p:cNvPr>
            <p:cNvSpPr/>
            <p:nvPr/>
          </p:nvSpPr>
          <p:spPr bwMode="auto">
            <a:xfrm>
              <a:off x="3761435" y="3518065"/>
              <a:ext cx="591490" cy="591490"/>
            </a:xfrm>
            <a:prstGeom prst="ellipse">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8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3</a:t>
              </a:r>
            </a:p>
          </p:txBody>
        </p:sp>
        <p:sp>
          <p:nvSpPr>
            <p:cNvPr id="18" name="TextBox 17">
              <a:extLst>
                <a:ext uri="{FF2B5EF4-FFF2-40B4-BE49-F238E27FC236}">
                  <a16:creationId xmlns:a16="http://schemas.microsoft.com/office/drawing/2014/main" id="{979B95C6-C6BB-FDD8-4228-33CAEFDA1E94}"/>
                </a:ext>
              </a:extLst>
            </p:cNvPr>
            <p:cNvSpPr txBox="1"/>
            <p:nvPr/>
          </p:nvSpPr>
          <p:spPr>
            <a:xfrm>
              <a:off x="4622800" y="3444478"/>
              <a:ext cx="7097713" cy="738664"/>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a:ln>
                    <a:noFill/>
                  </a:ln>
                  <a:solidFill>
                    <a:srgbClr val="000000"/>
                  </a:solidFill>
                  <a:effectLst/>
                  <a:uLnTx/>
                  <a:uFillTx/>
                  <a:latin typeface="Segoe UI Semibold"/>
                  <a:ea typeface="+mn-ea"/>
                  <a:cs typeface="+mn-cs"/>
                </a:rPr>
                <a:t>Informations cohérentes sur la prolifération </a:t>
              </a:r>
              <a:br>
                <a:rPr kumimoji="0" lang="fr-fr" sz="2400" b="0" i="0" u="none" strike="noStrike" kern="1200" cap="none" spc="0" normalizeH="0" baseline="0" noProof="0">
                  <a:ln>
                    <a:noFill/>
                  </a:ln>
                  <a:solidFill>
                    <a:srgbClr val="000000"/>
                  </a:solidFill>
                  <a:effectLst/>
                  <a:uLnTx/>
                  <a:uFillTx/>
                  <a:latin typeface="Segoe UI Semibold"/>
                  <a:ea typeface="+mn-ea"/>
                  <a:cs typeface="+mn-cs"/>
                </a:rPr>
              </a:br>
              <a:r>
                <a:rPr kumimoji="0" lang="fr-fr" sz="2400" b="0" i="0" u="none" strike="noStrike" kern="1200" cap="none" spc="0" normalizeH="0" baseline="0" noProof="0">
                  <a:ln>
                    <a:noFill/>
                  </a:ln>
                  <a:solidFill>
                    <a:srgbClr val="000000"/>
                  </a:solidFill>
                  <a:effectLst/>
                  <a:uLnTx/>
                  <a:uFillTx/>
                  <a:latin typeface="Segoe UI Semibold"/>
                  <a:ea typeface="+mn-ea"/>
                  <a:cs typeface="+mn-cs"/>
                </a:rPr>
                <a:t>des données et le partage excessif.</a:t>
              </a:r>
            </a:p>
          </p:txBody>
        </p:sp>
      </p:grpSp>
      <p:grpSp>
        <p:nvGrpSpPr>
          <p:cNvPr id="13" name="Group 12">
            <a:extLst>
              <a:ext uri="{FF2B5EF4-FFF2-40B4-BE49-F238E27FC236}">
                <a16:creationId xmlns:a16="http://schemas.microsoft.com/office/drawing/2014/main" id="{A4B059C8-3789-5F6E-530A-4017847B6018}"/>
              </a:ext>
            </a:extLst>
          </p:cNvPr>
          <p:cNvGrpSpPr/>
          <p:nvPr/>
        </p:nvGrpSpPr>
        <p:grpSpPr>
          <a:xfrm>
            <a:off x="3761435" y="4977709"/>
            <a:ext cx="7252308" cy="738664"/>
            <a:chOff x="3761435" y="4314682"/>
            <a:chExt cx="7252308" cy="738664"/>
          </a:xfrm>
        </p:grpSpPr>
        <p:sp>
          <p:nvSpPr>
            <p:cNvPr id="14" name="Oval 13">
              <a:extLst>
                <a:ext uri="{FF2B5EF4-FFF2-40B4-BE49-F238E27FC236}">
                  <a16:creationId xmlns:a16="http://schemas.microsoft.com/office/drawing/2014/main" id="{320770BE-EDD4-5859-B90E-A66433553E7B}"/>
                </a:ext>
              </a:extLst>
            </p:cNvPr>
            <p:cNvSpPr/>
            <p:nvPr/>
          </p:nvSpPr>
          <p:spPr bwMode="auto">
            <a:xfrm>
              <a:off x="3761435" y="4388269"/>
              <a:ext cx="591490" cy="591490"/>
            </a:xfrm>
            <a:prstGeom prst="ellipse">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8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4</a:t>
              </a:r>
            </a:p>
          </p:txBody>
        </p:sp>
        <p:sp>
          <p:nvSpPr>
            <p:cNvPr id="19" name="TextBox 18">
              <a:extLst>
                <a:ext uri="{FF2B5EF4-FFF2-40B4-BE49-F238E27FC236}">
                  <a16:creationId xmlns:a16="http://schemas.microsoft.com/office/drawing/2014/main" id="{F0F17051-1AB2-B21C-5C6A-881B5670045B}"/>
                </a:ext>
              </a:extLst>
            </p:cNvPr>
            <p:cNvSpPr txBox="1"/>
            <p:nvPr/>
          </p:nvSpPr>
          <p:spPr>
            <a:xfrm>
              <a:off x="4622800" y="4314682"/>
              <a:ext cx="6390943" cy="738664"/>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a:ln>
                    <a:noFill/>
                  </a:ln>
                  <a:solidFill>
                    <a:srgbClr val="000000"/>
                  </a:solidFill>
                  <a:effectLst/>
                  <a:uLnTx/>
                  <a:uFillTx/>
                  <a:latin typeface="Segoe UI Semibold"/>
                  <a:ea typeface="+mn-ea"/>
                  <a:cs typeface="+mn-cs"/>
                </a:rPr>
                <a:t>Stratégies rapides à configurer pour protéger les données sensibles.</a:t>
              </a:r>
            </a:p>
          </p:txBody>
        </p:sp>
      </p:grpSp>
      <p:sp>
        <p:nvSpPr>
          <p:cNvPr id="3" name="Title 49">
            <a:extLst>
              <a:ext uri="{FF2B5EF4-FFF2-40B4-BE49-F238E27FC236}">
                <a16:creationId xmlns:a16="http://schemas.microsoft.com/office/drawing/2014/main" id="{11273185-372C-32D8-C7F1-4F856772748B}"/>
              </a:ext>
            </a:extLst>
          </p:cNvPr>
          <p:cNvSpPr txBox="1">
            <a:spLocks/>
          </p:cNvSpPr>
          <p:nvPr/>
        </p:nvSpPr>
        <p:spPr>
          <a:xfrm>
            <a:off x="585216" y="457200"/>
            <a:ext cx="1101725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fr-fr"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Renforcer l’IA grâce à une gouvernance responsable des données</a:t>
            </a:r>
          </a:p>
        </p:txBody>
      </p:sp>
      <p:grpSp>
        <p:nvGrpSpPr>
          <p:cNvPr id="7" name="Group 6">
            <a:extLst>
              <a:ext uri="{FF2B5EF4-FFF2-40B4-BE49-F238E27FC236}">
                <a16:creationId xmlns:a16="http://schemas.microsoft.com/office/drawing/2014/main" id="{A2F61963-E6A0-1754-A235-346B6649048E}"/>
              </a:ext>
            </a:extLst>
          </p:cNvPr>
          <p:cNvGrpSpPr/>
          <p:nvPr/>
        </p:nvGrpSpPr>
        <p:grpSpPr>
          <a:xfrm>
            <a:off x="512064" y="1574800"/>
            <a:ext cx="2826221" cy="4478020"/>
            <a:chOff x="512064" y="1574800"/>
            <a:chExt cx="2826221" cy="4478020"/>
          </a:xfrm>
        </p:grpSpPr>
        <p:sp>
          <p:nvSpPr>
            <p:cNvPr id="25" name="Rectangle: Rounded Corners 24">
              <a:extLst>
                <a:ext uri="{FF2B5EF4-FFF2-40B4-BE49-F238E27FC236}">
                  <a16:creationId xmlns:a16="http://schemas.microsoft.com/office/drawing/2014/main" id="{348E0C0A-0422-E124-9BAE-0CB1E1D7B1BE}"/>
                </a:ext>
                <a:ext uri="{C183D7F6-B498-43B3-948B-1728B52AA6E4}">
                  <adec:decorative xmlns:adec="http://schemas.microsoft.com/office/drawing/2017/decorative" val="1"/>
                </a:ext>
              </a:extLst>
            </p:cNvPr>
            <p:cNvSpPr/>
            <p:nvPr/>
          </p:nvSpPr>
          <p:spPr bwMode="auto">
            <a:xfrm>
              <a:off x="512064" y="1574800"/>
              <a:ext cx="2826221" cy="4478020"/>
            </a:xfrm>
            <a:prstGeom prst="roundRect">
              <a:avLst>
                <a:gd name="adj" fmla="val 7216"/>
              </a:avLst>
            </a:prstGeom>
            <a:solidFill>
              <a:schemeClr val="bg1"/>
            </a:solidFill>
          </p:spPr>
          <p:txBody>
            <a:bodyPr wrap="square" lIns="91440" tIns="0" rIns="91440" bIns="0" rtlCol="0" anchor="ctr" anchorCtr="0">
              <a:noAutofit/>
            </a:body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endParaRPr kumimoji="0" lang="en-US" sz="2200" b="1" i="0" u="none" strike="noStrike" kern="1200" cap="none" spc="0" normalizeH="0" baseline="0" noProof="0" err="1">
                <a:ln w="3175">
                  <a:noFill/>
                </a:ln>
                <a:solidFill>
                  <a:srgbClr val="000000"/>
                </a:solidFill>
                <a:effectLst/>
                <a:uLnTx/>
                <a:uFillTx/>
                <a:latin typeface="Segoe UI Semibold"/>
                <a:ea typeface="+mn-ea"/>
                <a:cs typeface="Segoe Sans Display Semibold" pitchFamily="2" charset="0"/>
              </a:endParaRPr>
            </a:p>
          </p:txBody>
        </p:sp>
        <p:grpSp>
          <p:nvGrpSpPr>
            <p:cNvPr id="6" name="Group 5">
              <a:extLst>
                <a:ext uri="{FF2B5EF4-FFF2-40B4-BE49-F238E27FC236}">
                  <a16:creationId xmlns:a16="http://schemas.microsoft.com/office/drawing/2014/main" id="{5202DB7D-BFBE-A838-9968-C6237B62D640}"/>
                </a:ext>
              </a:extLst>
            </p:cNvPr>
            <p:cNvGrpSpPr/>
            <p:nvPr/>
          </p:nvGrpSpPr>
          <p:grpSpPr>
            <a:xfrm>
              <a:off x="735708" y="2365829"/>
              <a:ext cx="2378934" cy="2957566"/>
              <a:chOff x="735708" y="2365829"/>
              <a:chExt cx="2378934" cy="2957566"/>
            </a:xfrm>
          </p:grpSpPr>
          <p:sp>
            <p:nvSpPr>
              <p:cNvPr id="27" name="Oval 26">
                <a:extLst>
                  <a:ext uri="{FF2B5EF4-FFF2-40B4-BE49-F238E27FC236}">
                    <a16:creationId xmlns:a16="http://schemas.microsoft.com/office/drawing/2014/main" id="{401FC472-E53B-3F04-B2D1-2B08B373CDFD}"/>
                  </a:ext>
                  <a:ext uri="{C183D7F6-B498-43B3-948B-1728B52AA6E4}">
                    <adec:decorative xmlns:adec="http://schemas.microsoft.com/office/drawing/2017/decorative" val="1"/>
                  </a:ext>
                </a:extLst>
              </p:cNvPr>
              <p:cNvSpPr/>
              <p:nvPr/>
            </p:nvSpPr>
            <p:spPr bwMode="auto">
              <a:xfrm>
                <a:off x="1320401" y="2365829"/>
                <a:ext cx="1209548" cy="1209548"/>
              </a:xfrm>
              <a:prstGeom prst="ellipse">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1190" tIns="208950" rIns="261190" bIns="208950" numCol="1" spcCol="0" rtlCol="0" fromWordArt="0" anchor="t" anchorCtr="0" forceAA="0" compatLnSpc="1">
                <a:prstTxWarp prst="textNoShape">
                  <a:avLst/>
                </a:prstTxWarp>
                <a:noAutofit/>
              </a:bodyPr>
              <a:lstStyle/>
              <a:p>
                <a:pPr marL="0" marR="0" lvl="0" indent="0" algn="l" defTabSz="1330972" rtl="0" eaLnBrk="1" fontAlgn="base" latinLnBrk="0" hangingPunct="1">
                  <a:lnSpc>
                    <a:spcPct val="100000"/>
                  </a:lnSpc>
                  <a:spcBef>
                    <a:spcPct val="0"/>
                  </a:spcBef>
                  <a:spcAft>
                    <a:spcPct val="0"/>
                  </a:spcAft>
                  <a:buClrTx/>
                  <a:buSzTx/>
                  <a:buFontTx/>
                  <a:buNone/>
                  <a:tabLst/>
                  <a:defRPr/>
                </a:pPr>
                <a:endParaRPr kumimoji="0" lang="en-US" sz="2799" b="0" i="0" u="none" strike="noStrike" kern="1200" cap="none" spc="0" normalizeH="0" baseline="0" noProof="0">
                  <a:ln>
                    <a:noFill/>
                  </a:ln>
                  <a:solidFill>
                    <a:srgbClr val="000000"/>
                  </a:solidFill>
                  <a:effectLst/>
                  <a:uLnTx/>
                  <a:uFillTx/>
                  <a:latin typeface="Segoe Sans Text Semibold" pitchFamily="2" charset="0"/>
                  <a:ea typeface="+mn-ea"/>
                  <a:cs typeface="Segoe Sans Text Semibold" pitchFamily="2" charset="0"/>
                </a:endParaRPr>
              </a:p>
            </p:txBody>
          </p:sp>
          <p:sp>
            <p:nvSpPr>
              <p:cNvPr id="26" name="TextBox 25">
                <a:extLst>
                  <a:ext uri="{FF2B5EF4-FFF2-40B4-BE49-F238E27FC236}">
                    <a16:creationId xmlns:a16="http://schemas.microsoft.com/office/drawing/2014/main" id="{1297923C-3529-5B64-504D-2B7078F44E2D}"/>
                  </a:ext>
                </a:extLst>
              </p:cNvPr>
              <p:cNvSpPr txBox="1"/>
              <p:nvPr/>
            </p:nvSpPr>
            <p:spPr>
              <a:xfrm>
                <a:off x="735708" y="3938400"/>
                <a:ext cx="2378934" cy="138499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2800" b="0" i="0" u="none" strike="noStrike" kern="1200" cap="none" spc="0" normalizeH="0" baseline="0" noProof="0">
                    <a:ln>
                      <a:noFill/>
                    </a:ln>
                    <a:solidFill>
                      <a:srgbClr val="000000"/>
                    </a:solidFill>
                    <a:effectLst/>
                    <a:uLnTx/>
                    <a:uFillTx/>
                    <a:latin typeface="Segoe UI Semibold"/>
                    <a:ea typeface="+mn-ea"/>
                    <a:cs typeface="+mn-cs"/>
                  </a:rPr>
                  <a:t>Protéger les données de l’entreprise</a:t>
                </a:r>
              </a:p>
            </p:txBody>
          </p:sp>
          <p:pic>
            <p:nvPicPr>
              <p:cNvPr id="32" name="Graphic 31" descr="Avertissement avec remplissage uni">
                <a:extLst>
                  <a:ext uri="{FF2B5EF4-FFF2-40B4-BE49-F238E27FC236}">
                    <a16:creationId xmlns:a16="http://schemas.microsoft.com/office/drawing/2014/main" id="{E95C5140-0564-0214-D419-9419DCE3DFEE}"/>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531291" y="2508504"/>
                <a:ext cx="787769" cy="787769"/>
              </a:xfrm>
              <a:prstGeom prst="rect">
                <a:avLst/>
              </a:prstGeom>
            </p:spPr>
          </p:pic>
        </p:grpSp>
      </p:grpSp>
    </p:spTree>
    <p:extLst>
      <p:ext uri="{BB962C8B-B14F-4D97-AF65-F5344CB8AC3E}">
        <p14:creationId xmlns:p14="http://schemas.microsoft.com/office/powerpoint/2010/main" val="39188238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22" presetClass="entr" presetSubtype="8" fill="hold" nodeType="withEffect">
                                  <p:stCondLst>
                                    <p:cond delay="0"/>
                                  </p:stCondLst>
                                  <p:childTnLst>
                                    <p:set>
                                      <p:cBhvr>
                                        <p:cTn id="13" dur="1" fill="hold">
                                          <p:stCondLst>
                                            <p:cond delay="0"/>
                                          </p:stCondLst>
                                        </p:cTn>
                                        <p:tgtEl>
                                          <p:spTgt spid="30"/>
                                        </p:tgtEl>
                                        <p:attrNameLst>
                                          <p:attrName>style.visibility</p:attrName>
                                        </p:attrNameLst>
                                      </p:cBhvr>
                                      <p:to>
                                        <p:strVal val="visible"/>
                                      </p:to>
                                    </p:set>
                                    <p:animEffect transition="in" filter="wipe(left)">
                                      <p:cBhvr>
                                        <p:cTn id="14" dur="500"/>
                                        <p:tgtEl>
                                          <p:spTgt spid="30"/>
                                        </p:tgtEl>
                                      </p:cBhvr>
                                    </p:animEffect>
                                  </p:childTnLst>
                                </p:cTn>
                              </p:par>
                            </p:childTnLst>
                          </p:cTn>
                        </p:par>
                        <p:par>
                          <p:cTn id="15" fill="hold">
                            <p:stCondLst>
                              <p:cond delay="1000"/>
                            </p:stCondLst>
                            <p:childTnLst>
                              <p:par>
                                <p:cTn id="16" presetID="22" presetClass="entr" presetSubtype="8" fill="hold" nodeType="after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wipe(left)">
                                      <p:cBhvr>
                                        <p:cTn id="18" dur="500"/>
                                        <p:tgtEl>
                                          <p:spTgt spid="29"/>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wipe(left)">
                                      <p:cBhvr>
                                        <p:cTn id="22" dur="500"/>
                                        <p:tgtEl>
                                          <p:spTgt spid="28"/>
                                        </p:tgtEl>
                                      </p:cBhvr>
                                    </p:animEffect>
                                  </p:childTnLst>
                                </p:cTn>
                              </p:par>
                            </p:childTnLst>
                          </p:cTn>
                        </p:par>
                        <p:par>
                          <p:cTn id="23" fill="hold">
                            <p:stCondLst>
                              <p:cond delay="2000"/>
                            </p:stCondLst>
                            <p:childTnLst>
                              <p:par>
                                <p:cTn id="24" presetID="22" presetClass="entr" presetSubtype="8" fill="hold" nodeType="after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wipe(left)">
                                      <p:cBhvr>
                                        <p:cTn id="26"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gradFill>
          <a:gsLst>
            <a:gs pos="74000">
              <a:srgbClr val="ACE0D8"/>
            </a:gs>
            <a:gs pos="18000">
              <a:srgbClr val="C5B4E3"/>
            </a:gs>
          </a:gsLst>
          <a:lin ang="1800000" scaled="0"/>
        </a:gradFill>
        <a:effectLst/>
      </p:bgPr>
    </p:bg>
    <p:spTree>
      <p:nvGrpSpPr>
        <p:cNvPr id="1" name="">
          <a:extLst>
            <a:ext uri="{FF2B5EF4-FFF2-40B4-BE49-F238E27FC236}">
              <a16:creationId xmlns:a16="http://schemas.microsoft.com/office/drawing/2014/main" id="{28CF8B01-6819-6EFA-3E7F-85A925D1EC8F}"/>
            </a:ext>
          </a:extLst>
        </p:cNvPr>
        <p:cNvGrpSpPr/>
        <p:nvPr/>
      </p:nvGrpSpPr>
      <p:grpSpPr>
        <a:xfrm>
          <a:off x="0" y="0"/>
          <a:ext cx="0" cy="0"/>
          <a:chOff x="0" y="0"/>
          <a:chExt cx="0" cy="0"/>
        </a:xfrm>
      </p:grpSpPr>
      <p:sp>
        <p:nvSpPr>
          <p:cNvPr id="55" name="CS box - replacement">
            <a:extLst>
              <a:ext uri="{FF2B5EF4-FFF2-40B4-BE49-F238E27FC236}">
                <a16:creationId xmlns:a16="http://schemas.microsoft.com/office/drawing/2014/main" id="{1F45D057-D64E-2A46-CE31-3DAA2FAEE369}"/>
              </a:ext>
              <a:ext uri="{C183D7F6-B498-43B3-948B-1728B52AA6E4}">
                <adec:decorative xmlns:adec="http://schemas.microsoft.com/office/drawing/2017/decorative" val="1"/>
              </a:ext>
            </a:extLst>
          </p:cNvPr>
          <p:cNvSpPr>
            <a:spLocks/>
          </p:cNvSpPr>
          <p:nvPr/>
        </p:nvSpPr>
        <p:spPr bwMode="auto">
          <a:xfrm>
            <a:off x="582612" y="1435100"/>
            <a:ext cx="11026776" cy="4927600"/>
          </a:xfrm>
          <a:prstGeom prst="roundRect">
            <a:avLst>
              <a:gd name="adj" fmla="val 4072"/>
            </a:avLst>
          </a:prstGeom>
          <a:solidFill>
            <a:schemeClr val="bg1">
              <a:alpha val="19000"/>
            </a:schemeClr>
          </a:solidFill>
          <a:ln w="19050" cap="rnd">
            <a:solidFill>
              <a:schemeClr val="bg1"/>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61257" tIns="209006" rIns="261257" bIns="209006" numCol="1" spcCol="0" rtlCol="0" fromWordArt="0" anchor="t" anchorCtr="0" forceAA="0" compatLnSpc="1">
            <a:prstTxWarp prst="textNoShape">
              <a:avLst/>
            </a:prstTxWarp>
            <a:noAutofit/>
          </a:bodyPr>
          <a:lstStyle/>
          <a:p>
            <a:pPr marL="0" marR="0" lvl="0" indent="0" algn="l" defTabSz="1332133" rtl="0" eaLnBrk="1" fontAlgn="base" latinLnBrk="0" hangingPunct="1">
              <a:lnSpc>
                <a:spcPct val="100000"/>
              </a:lnSpc>
              <a:spcBef>
                <a:spcPct val="0"/>
              </a:spcBef>
              <a:spcAft>
                <a:spcPct val="0"/>
              </a:spcAft>
              <a:buClrTx/>
              <a:buSzTx/>
              <a:buFontTx/>
              <a:buNone/>
              <a:tabLst/>
              <a:defRPr/>
            </a:pPr>
            <a:endParaRPr kumimoji="0" lang="en-US" sz="2857" b="0" i="0" u="none" strike="noStrike" kern="1200" cap="none" spc="0" normalizeH="0" baseline="0" noProof="0">
              <a:ln>
                <a:noFill/>
              </a:ln>
              <a:noFill/>
              <a:effectLst/>
              <a:uLnTx/>
              <a:uFillTx/>
              <a:latin typeface="Segoe UI Variable Display Semib" pitchFamily="2" charset="0"/>
              <a:ea typeface="+mn-ea"/>
              <a:cs typeface="Segoe UI" pitchFamily="34" charset="0"/>
            </a:endParaRPr>
          </a:p>
        </p:txBody>
      </p:sp>
      <p:sp>
        <p:nvSpPr>
          <p:cNvPr id="56" name="Title 55">
            <a:extLst>
              <a:ext uri="{FF2B5EF4-FFF2-40B4-BE49-F238E27FC236}">
                <a16:creationId xmlns:a16="http://schemas.microsoft.com/office/drawing/2014/main" id="{D74565CC-7D11-0E0F-5EA2-D241153CA2A1}"/>
              </a:ext>
            </a:extLst>
          </p:cNvPr>
          <p:cNvSpPr>
            <a:spLocks noGrp="1"/>
          </p:cNvSpPr>
          <p:nvPr>
            <p:ph type="title" idx="4294967295"/>
          </p:nvPr>
        </p:nvSpPr>
        <p:spPr>
          <a:xfrm>
            <a:off x="585216" y="206190"/>
            <a:ext cx="11017250" cy="557784"/>
          </a:xfrm>
        </p:spPr>
        <p:txBody>
          <a:bodyPr/>
          <a:lstStyle/>
          <a:p>
            <a:r>
              <a:rPr lang="fr-fr">
                <a:ea typeface="+mj-ea"/>
                <a:cs typeface="+mj-cs"/>
              </a:rPr>
              <a:t>Permettre à vos équipes de sécurité de gérer les risques liés aux agents</a:t>
            </a:r>
          </a:p>
        </p:txBody>
      </p:sp>
      <p:grpSp>
        <p:nvGrpSpPr>
          <p:cNvPr id="3" name="Group 2">
            <a:extLst>
              <a:ext uri="{FF2B5EF4-FFF2-40B4-BE49-F238E27FC236}">
                <a16:creationId xmlns:a16="http://schemas.microsoft.com/office/drawing/2014/main" id="{3FA90AAA-2FD3-CD66-C752-6C8E68A0FDAD}"/>
              </a:ext>
            </a:extLst>
          </p:cNvPr>
          <p:cNvGrpSpPr/>
          <p:nvPr/>
        </p:nvGrpSpPr>
        <p:grpSpPr>
          <a:xfrm>
            <a:off x="814181" y="1656687"/>
            <a:ext cx="3434466" cy="4484427"/>
            <a:chOff x="814181" y="1656687"/>
            <a:chExt cx="3434466" cy="4484427"/>
          </a:xfrm>
        </p:grpSpPr>
        <p:sp>
          <p:nvSpPr>
            <p:cNvPr id="44" name="Rectangle: Rounded Corners 43">
              <a:extLst>
                <a:ext uri="{FF2B5EF4-FFF2-40B4-BE49-F238E27FC236}">
                  <a16:creationId xmlns:a16="http://schemas.microsoft.com/office/drawing/2014/main" id="{54B83DF8-7922-DFEF-9693-6589D8FBCFE5}"/>
                </a:ext>
                <a:ext uri="{C183D7F6-B498-43B3-948B-1728B52AA6E4}">
                  <adec:decorative xmlns:adec="http://schemas.microsoft.com/office/drawing/2017/decorative" val="1"/>
                </a:ext>
              </a:extLst>
            </p:cNvPr>
            <p:cNvSpPr>
              <a:spLocks/>
            </p:cNvSpPr>
            <p:nvPr/>
          </p:nvSpPr>
          <p:spPr>
            <a:xfrm>
              <a:off x="814181" y="1656687"/>
              <a:ext cx="3434466" cy="4484427"/>
            </a:xfrm>
            <a:prstGeom prst="roundRect">
              <a:avLst>
                <a:gd name="adj" fmla="val 4200"/>
              </a:avLst>
            </a:prstGeom>
            <a:solidFill>
              <a:schemeClr val="bg1">
                <a:alpha val="50000"/>
              </a:schemeClr>
            </a:solidFill>
            <a:ln w="12700">
              <a:noFill/>
              <a:headEnd type="none" w="med" len="med"/>
              <a:tailEnd type="none" w="med" len="med"/>
            </a:ln>
            <a:effectLst>
              <a:outerShdw blurRad="1651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 name="Rounded Rectangle 2">
              <a:extLst>
                <a:ext uri="{FF2B5EF4-FFF2-40B4-BE49-F238E27FC236}">
                  <a16:creationId xmlns:a16="http://schemas.microsoft.com/office/drawing/2014/main" id="{0D08440B-B142-5FA8-48F3-63D701C839A3}"/>
                </a:ext>
              </a:extLst>
            </p:cNvPr>
            <p:cNvSpPr/>
            <p:nvPr/>
          </p:nvSpPr>
          <p:spPr bwMode="auto">
            <a:xfrm>
              <a:off x="1274114" y="4237577"/>
              <a:ext cx="2514600" cy="1384995"/>
            </a:xfrm>
            <a:prstGeom prst="rect">
              <a:avLst/>
            </a:prstGeom>
            <a:no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21425"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2A446F">
                      <a:alpha val="50000"/>
                    </a:srgbClr>
                  </a:solidFill>
                  <a:effectLst/>
                  <a:uLnTx/>
                  <a:uFillTx/>
                  <a:latin typeface="Segoe UI Semibold"/>
                  <a:ea typeface="+mn-ea"/>
                  <a:cs typeface="+mn-cs"/>
                </a:rPr>
                <a:t>Empêcher le partage excessif de données sensibles et assurer </a:t>
              </a:r>
              <a:br>
                <a:rPr kumimoji="0" lang="fr-fr" sz="1800" b="0" i="0" u="none" strike="noStrike" kern="1200" cap="none" spc="0" normalizeH="0" baseline="0" noProof="0">
                  <a:ln>
                    <a:noFill/>
                  </a:ln>
                  <a:solidFill>
                    <a:srgbClr val="2A446F">
                      <a:alpha val="50000"/>
                    </a:srgbClr>
                  </a:solidFill>
                  <a:effectLst/>
                  <a:uLnTx/>
                  <a:uFillTx/>
                  <a:latin typeface="Segoe UI Semibold"/>
                  <a:ea typeface="+mn-ea"/>
                  <a:cs typeface="+mn-cs"/>
                </a:rPr>
              </a:br>
              <a:r>
                <a:rPr kumimoji="0" lang="fr-fr" sz="1800" b="0" i="0" u="none" strike="noStrike" kern="1200" cap="none" spc="0" normalizeH="0" baseline="0" noProof="0">
                  <a:ln>
                    <a:noFill/>
                  </a:ln>
                  <a:solidFill>
                    <a:srgbClr val="2A446F">
                      <a:alpha val="50000"/>
                    </a:srgbClr>
                  </a:solidFill>
                  <a:effectLst/>
                  <a:uLnTx/>
                  <a:uFillTx/>
                  <a:latin typeface="Segoe UI Semibold"/>
                  <a:ea typeface="+mn-ea"/>
                  <a:cs typeface="+mn-cs"/>
                </a:rPr>
                <a:t>la conformité des données</a:t>
              </a:r>
            </a:p>
          </p:txBody>
        </p:sp>
        <p:cxnSp>
          <p:nvCxnSpPr>
            <p:cNvPr id="14" name="Straight Connector 13">
              <a:extLst>
                <a:ext uri="{FF2B5EF4-FFF2-40B4-BE49-F238E27FC236}">
                  <a16:creationId xmlns:a16="http://schemas.microsoft.com/office/drawing/2014/main" id="{44418EA2-0DAA-41E0-E5A8-7F7D2DBC8B9B}"/>
                </a:ext>
                <a:ext uri="{C183D7F6-B498-43B3-948B-1728B52AA6E4}">
                  <adec:decorative xmlns:adec="http://schemas.microsoft.com/office/drawing/2017/decorative" val="1"/>
                </a:ext>
              </a:extLst>
            </p:cNvPr>
            <p:cNvCxnSpPr>
              <a:cxnSpLocks/>
            </p:cNvCxnSpPr>
            <p:nvPr/>
          </p:nvCxnSpPr>
          <p:spPr>
            <a:xfrm>
              <a:off x="1676449" y="4107858"/>
              <a:ext cx="1709928" cy="0"/>
            </a:xfrm>
            <a:prstGeom prst="line">
              <a:avLst/>
            </a:prstGeom>
            <a:noFill/>
            <a:ln w="3175">
              <a:solidFill>
                <a:schemeClr val="tx1">
                  <a:alpha val="30000"/>
                </a:schemeClr>
              </a:solidFill>
              <a:headEnd type="none" w="med" len="med"/>
              <a:tailEnd type="none" w="med" len="med"/>
            </a:ln>
            <a:effectLst>
              <a:outerShdw blurRad="1651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cxnSp>
        <p:pic>
          <p:nvPicPr>
            <p:cNvPr id="13" name="Picture 14" descr="Microsoft Purview">
              <a:extLst>
                <a:ext uri="{FF2B5EF4-FFF2-40B4-BE49-F238E27FC236}">
                  <a16:creationId xmlns:a16="http://schemas.microsoft.com/office/drawing/2014/main" id="{CDDCEE54-36ED-1160-BE03-8CC1E222C15A}"/>
                </a:ext>
              </a:extLst>
            </p:cNvPr>
            <p:cNvPicPr>
              <a:picLocks noChangeAspect="1" noChangeArrowheads="1"/>
            </p:cNvPicPr>
            <p:nvPr/>
          </p:nvPicPr>
          <p:blipFill>
            <a:blip r:embed="rId3">
              <a:alphaModFix amt="50000"/>
              <a:extLst>
                <a:ext uri="{28A0092B-C50C-407E-A947-70E740481C1C}">
                  <a14:useLocalDpi xmlns:a14="http://schemas.microsoft.com/office/drawing/2010/main" val="0"/>
                </a:ext>
              </a:extLst>
            </a:blip>
            <a:srcRect/>
            <a:stretch>
              <a:fillRect/>
            </a:stretch>
          </p:blipFill>
          <p:spPr bwMode="auto">
            <a:xfrm>
              <a:off x="1994993" y="2151602"/>
              <a:ext cx="1072842" cy="1056700"/>
            </a:xfrm>
            <a:prstGeom prst="rect">
              <a:avLst/>
            </a:prstGeom>
            <a:noFill/>
            <a:extLst>
              <a:ext uri="{909E8E84-426E-40DD-AFC4-6F175D3DCCD1}">
                <a14:hiddenFill xmlns:a14="http://schemas.microsoft.com/office/drawing/2010/main">
                  <a:solidFill>
                    <a:srgbClr val="FFFFFF"/>
                  </a:solidFill>
                </a14:hiddenFill>
              </a:ext>
            </a:extLst>
          </p:spPr>
        </p:pic>
        <p:sp>
          <p:nvSpPr>
            <p:cNvPr id="21" name="Rounded Rectangle 2">
              <a:extLst>
                <a:ext uri="{FF2B5EF4-FFF2-40B4-BE49-F238E27FC236}">
                  <a16:creationId xmlns:a16="http://schemas.microsoft.com/office/drawing/2014/main" id="{15B56B64-864A-7D95-6A54-A7247B2088AF}"/>
                </a:ext>
              </a:extLst>
            </p:cNvPr>
            <p:cNvSpPr/>
            <p:nvPr/>
          </p:nvSpPr>
          <p:spPr bwMode="auto">
            <a:xfrm>
              <a:off x="1678474" y="3487316"/>
              <a:ext cx="1705879" cy="430887"/>
            </a:xfrm>
            <a:prstGeom prst="rect">
              <a:avLst/>
            </a:prstGeom>
            <a:no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21425"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2A446F">
                      <a:alpha val="50000"/>
                    </a:srgbClr>
                  </a:solidFill>
                  <a:effectLst/>
                  <a:uLnTx/>
                  <a:uFillTx/>
                  <a:latin typeface="Segoe UI"/>
                  <a:ea typeface="+mn-ea"/>
                  <a:cs typeface="+mn-cs"/>
                </a:rPr>
                <a:t>Purview</a:t>
              </a:r>
            </a:p>
          </p:txBody>
        </p:sp>
      </p:grpSp>
      <p:grpSp>
        <p:nvGrpSpPr>
          <p:cNvPr id="4" name="Group 3">
            <a:extLst>
              <a:ext uri="{FF2B5EF4-FFF2-40B4-BE49-F238E27FC236}">
                <a16:creationId xmlns:a16="http://schemas.microsoft.com/office/drawing/2014/main" id="{5FB533CC-099B-06BD-626C-C40F1D2F2E94}"/>
              </a:ext>
            </a:extLst>
          </p:cNvPr>
          <p:cNvGrpSpPr/>
          <p:nvPr/>
        </p:nvGrpSpPr>
        <p:grpSpPr>
          <a:xfrm>
            <a:off x="4375746" y="1656687"/>
            <a:ext cx="3434466" cy="4484427"/>
            <a:chOff x="4375746" y="1656687"/>
            <a:chExt cx="3434466" cy="4484427"/>
          </a:xfrm>
        </p:grpSpPr>
        <p:sp>
          <p:nvSpPr>
            <p:cNvPr id="45" name="Rectangle: Rounded Corners 44">
              <a:extLst>
                <a:ext uri="{FF2B5EF4-FFF2-40B4-BE49-F238E27FC236}">
                  <a16:creationId xmlns:a16="http://schemas.microsoft.com/office/drawing/2014/main" id="{47E95BD8-DDC3-00B9-13F4-F498EFCD563A}"/>
                </a:ext>
                <a:ext uri="{C183D7F6-B498-43B3-948B-1728B52AA6E4}">
                  <adec:decorative xmlns:adec="http://schemas.microsoft.com/office/drawing/2017/decorative" val="1"/>
                </a:ext>
              </a:extLst>
            </p:cNvPr>
            <p:cNvSpPr>
              <a:spLocks/>
            </p:cNvSpPr>
            <p:nvPr/>
          </p:nvSpPr>
          <p:spPr>
            <a:xfrm>
              <a:off x="4375746" y="1656687"/>
              <a:ext cx="3434466" cy="4484427"/>
            </a:xfrm>
            <a:prstGeom prst="roundRect">
              <a:avLst>
                <a:gd name="adj" fmla="val 4200"/>
              </a:avLst>
            </a:prstGeom>
            <a:solidFill>
              <a:schemeClr val="bg1"/>
            </a:solidFill>
            <a:ln w="12700">
              <a:noFill/>
              <a:headEnd type="none" w="med" len="med"/>
              <a:tailEnd type="none" w="med" len="med"/>
            </a:ln>
            <a:effectLst>
              <a:outerShdw blurRad="1651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15" name="Straight Connector 14">
              <a:extLst>
                <a:ext uri="{FF2B5EF4-FFF2-40B4-BE49-F238E27FC236}">
                  <a16:creationId xmlns:a16="http://schemas.microsoft.com/office/drawing/2014/main" id="{DC9DD72C-44FD-AA5F-8393-050B9A608A75}"/>
                </a:ext>
                <a:ext uri="{C183D7F6-B498-43B3-948B-1728B52AA6E4}">
                  <adec:decorative xmlns:adec="http://schemas.microsoft.com/office/drawing/2017/decorative" val="1"/>
                </a:ext>
              </a:extLst>
            </p:cNvPr>
            <p:cNvCxnSpPr>
              <a:cxnSpLocks/>
            </p:cNvCxnSpPr>
            <p:nvPr/>
          </p:nvCxnSpPr>
          <p:spPr>
            <a:xfrm>
              <a:off x="5238016" y="4107858"/>
              <a:ext cx="1709928" cy="0"/>
            </a:xfrm>
            <a:prstGeom prst="line">
              <a:avLst/>
            </a:prstGeom>
            <a:noFill/>
            <a:ln w="3175">
              <a:solidFill>
                <a:schemeClr val="tx1">
                  <a:alpha val="30000"/>
                </a:schemeClr>
              </a:solidFill>
              <a:headEnd type="none" w="med" len="med"/>
              <a:tailEnd type="none" w="med" len="med"/>
            </a:ln>
            <a:effectLst>
              <a:outerShdw blurRad="1651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cxnSp>
        <p:sp>
          <p:nvSpPr>
            <p:cNvPr id="11" name="Rounded Rectangle 2">
              <a:extLst>
                <a:ext uri="{FF2B5EF4-FFF2-40B4-BE49-F238E27FC236}">
                  <a16:creationId xmlns:a16="http://schemas.microsoft.com/office/drawing/2014/main" id="{ED8DF87D-2A1D-2B21-6876-3D5932A202C8}"/>
                </a:ext>
              </a:extLst>
            </p:cNvPr>
            <p:cNvSpPr/>
            <p:nvPr/>
          </p:nvSpPr>
          <p:spPr bwMode="auto">
            <a:xfrm>
              <a:off x="4834346" y="4389069"/>
              <a:ext cx="2517268" cy="830997"/>
            </a:xfrm>
            <a:prstGeom prst="rect">
              <a:avLst/>
            </a:prstGeom>
            <a:no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21425" rtl="0" eaLnBrk="1" fontAlgn="auto" latinLnBrk="0" hangingPunct="1">
                <a:lnSpc>
                  <a:spcPct val="100000"/>
                </a:lnSpc>
                <a:spcBef>
                  <a:spcPts val="155"/>
                </a:spcBef>
                <a:spcAft>
                  <a:spcPts val="0"/>
                </a:spcAft>
                <a:buClrTx/>
                <a:buSzTx/>
                <a:buFontTx/>
                <a:buNone/>
                <a:tabLst/>
                <a:defRPr/>
              </a:pPr>
              <a:r>
                <a:rPr kumimoji="0" lang="fr-fr" sz="1800" b="0" i="0" u="none" strike="noStrike" kern="1200" cap="none" spc="0" normalizeH="0" baseline="0" noProof="0">
                  <a:ln>
                    <a:noFill/>
                  </a:ln>
                  <a:solidFill>
                    <a:srgbClr val="2A446F"/>
                  </a:solidFill>
                  <a:effectLst/>
                  <a:uLnTx/>
                  <a:uFillTx/>
                  <a:latin typeface="Segoe UI Semibold"/>
                  <a:ea typeface="+mn-ea"/>
                  <a:cs typeface="+mn-cs"/>
                </a:rPr>
                <a:t>Se défendre contre les menaces émergentes liées à l’IA et les vulnérabilités</a:t>
              </a:r>
            </a:p>
          </p:txBody>
        </p:sp>
        <p:sp>
          <p:nvSpPr>
            <p:cNvPr id="22" name="Rounded Rectangle 2">
              <a:extLst>
                <a:ext uri="{FF2B5EF4-FFF2-40B4-BE49-F238E27FC236}">
                  <a16:creationId xmlns:a16="http://schemas.microsoft.com/office/drawing/2014/main" id="{63EF2C96-37AB-48BB-5C66-8E9245CDD99E}"/>
                </a:ext>
              </a:extLst>
            </p:cNvPr>
            <p:cNvSpPr/>
            <p:nvPr/>
          </p:nvSpPr>
          <p:spPr bwMode="auto">
            <a:xfrm>
              <a:off x="5369084" y="3487316"/>
              <a:ext cx="1447792" cy="246221"/>
            </a:xfrm>
            <a:prstGeom prst="rect">
              <a:avLst/>
            </a:prstGeom>
            <a:no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721425"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2A446F"/>
                  </a:solidFill>
                  <a:effectLst/>
                  <a:uLnTx/>
                  <a:uFillTx/>
                  <a:latin typeface="Segoe UI"/>
                  <a:ea typeface="+mn-ea"/>
                  <a:cs typeface="+mn-cs"/>
                </a:rPr>
                <a:t>Defender</a:t>
              </a:r>
            </a:p>
          </p:txBody>
        </p:sp>
        <p:pic>
          <p:nvPicPr>
            <p:cNvPr id="24" name="Picture 23" descr="Microsoft Defender">
              <a:extLst>
                <a:ext uri="{FF2B5EF4-FFF2-40B4-BE49-F238E27FC236}">
                  <a16:creationId xmlns:a16="http://schemas.microsoft.com/office/drawing/2014/main" id="{A756FE2A-5A24-75D5-EC5A-C60FFA0510C7}"/>
                </a:ext>
              </a:extLst>
            </p:cNvPr>
            <p:cNvPicPr>
              <a:picLocks noChangeAspect="1"/>
            </p:cNvPicPr>
            <p:nvPr/>
          </p:nvPicPr>
          <p:blipFill>
            <a:blip r:embed="rId4"/>
            <a:stretch>
              <a:fillRect/>
            </a:stretch>
          </p:blipFill>
          <p:spPr>
            <a:xfrm>
              <a:off x="5579607" y="2198968"/>
              <a:ext cx="1026744" cy="1026744"/>
            </a:xfrm>
            <a:prstGeom prst="rect">
              <a:avLst/>
            </a:prstGeom>
          </p:spPr>
        </p:pic>
      </p:grpSp>
      <p:grpSp>
        <p:nvGrpSpPr>
          <p:cNvPr id="5" name="Group 4">
            <a:extLst>
              <a:ext uri="{FF2B5EF4-FFF2-40B4-BE49-F238E27FC236}">
                <a16:creationId xmlns:a16="http://schemas.microsoft.com/office/drawing/2014/main" id="{1F4A635F-06C9-8A3C-1592-0F4BDA611CB1}"/>
              </a:ext>
            </a:extLst>
          </p:cNvPr>
          <p:cNvGrpSpPr/>
          <p:nvPr/>
        </p:nvGrpSpPr>
        <p:grpSpPr>
          <a:xfrm>
            <a:off x="7937311" y="1656687"/>
            <a:ext cx="3434466" cy="4484427"/>
            <a:chOff x="7937311" y="1656687"/>
            <a:chExt cx="3434466" cy="4484427"/>
          </a:xfrm>
        </p:grpSpPr>
        <p:sp>
          <p:nvSpPr>
            <p:cNvPr id="34" name="Rectangle: Rounded Corners 42">
              <a:extLst>
                <a:ext uri="{FF2B5EF4-FFF2-40B4-BE49-F238E27FC236}">
                  <a16:creationId xmlns:a16="http://schemas.microsoft.com/office/drawing/2014/main" id="{D0A22D96-85EC-0070-B350-7887E692D004}"/>
                </a:ext>
                <a:ext uri="{C183D7F6-B498-43B3-948B-1728B52AA6E4}">
                  <adec:decorative xmlns:adec="http://schemas.microsoft.com/office/drawing/2017/decorative" val="1"/>
                </a:ext>
              </a:extLst>
            </p:cNvPr>
            <p:cNvSpPr>
              <a:spLocks/>
            </p:cNvSpPr>
            <p:nvPr/>
          </p:nvSpPr>
          <p:spPr>
            <a:xfrm>
              <a:off x="7937311" y="1656687"/>
              <a:ext cx="3434466" cy="4484427"/>
            </a:xfrm>
            <a:prstGeom prst="roundRect">
              <a:avLst>
                <a:gd name="adj" fmla="val 4200"/>
              </a:avLst>
            </a:prstGeom>
            <a:solidFill>
              <a:schemeClr val="bg1">
                <a:alpha val="50000"/>
              </a:schemeClr>
            </a:solidFill>
            <a:ln w="12700">
              <a:noFill/>
              <a:headEnd type="none" w="med" len="med"/>
              <a:tailEnd type="none" w="med" len="med"/>
            </a:ln>
            <a:effectLst>
              <a:outerShdw blurRad="1651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5" name="Rounded Rectangle 2">
              <a:extLst>
                <a:ext uri="{FF2B5EF4-FFF2-40B4-BE49-F238E27FC236}">
                  <a16:creationId xmlns:a16="http://schemas.microsoft.com/office/drawing/2014/main" id="{49505900-87A9-8E8E-503C-F00D0673977C}"/>
                </a:ext>
              </a:extLst>
            </p:cNvPr>
            <p:cNvSpPr/>
            <p:nvPr/>
          </p:nvSpPr>
          <p:spPr bwMode="auto">
            <a:xfrm>
              <a:off x="8397244" y="4514576"/>
              <a:ext cx="2514600" cy="830997"/>
            </a:xfrm>
            <a:prstGeom prst="rect">
              <a:avLst/>
            </a:prstGeom>
            <a:no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21425"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2A446F">
                      <a:alpha val="50000"/>
                    </a:srgbClr>
                  </a:solidFill>
                  <a:effectLst/>
                  <a:uLnTx/>
                  <a:uFillTx/>
                  <a:latin typeface="Segoe UI Semibold"/>
                  <a:ea typeface="+mn-ea"/>
                  <a:cs typeface="+mn-cs"/>
                </a:rPr>
                <a:t>Gérer la prolifération des agents, contrôler les autorisations et protéger l’accès aux ressources</a:t>
              </a:r>
            </a:p>
          </p:txBody>
        </p:sp>
        <p:cxnSp>
          <p:nvCxnSpPr>
            <p:cNvPr id="37" name="Straight Connector 36">
              <a:extLst>
                <a:ext uri="{FF2B5EF4-FFF2-40B4-BE49-F238E27FC236}">
                  <a16:creationId xmlns:a16="http://schemas.microsoft.com/office/drawing/2014/main" id="{238406AC-A30F-C90A-22C4-6EAA76B2F015}"/>
                </a:ext>
                <a:ext uri="{C183D7F6-B498-43B3-948B-1728B52AA6E4}">
                  <adec:decorative xmlns:adec="http://schemas.microsoft.com/office/drawing/2017/decorative" val="1"/>
                </a:ext>
              </a:extLst>
            </p:cNvPr>
            <p:cNvCxnSpPr>
              <a:cxnSpLocks/>
            </p:cNvCxnSpPr>
            <p:nvPr/>
          </p:nvCxnSpPr>
          <p:spPr>
            <a:xfrm>
              <a:off x="8799580" y="4107858"/>
              <a:ext cx="1709928" cy="0"/>
            </a:xfrm>
            <a:prstGeom prst="line">
              <a:avLst/>
            </a:prstGeom>
            <a:noFill/>
            <a:ln w="3175">
              <a:solidFill>
                <a:schemeClr val="tx1">
                  <a:alpha val="30000"/>
                </a:schemeClr>
              </a:solidFill>
              <a:headEnd type="none" w="med" len="med"/>
              <a:tailEnd type="none" w="med" len="med"/>
            </a:ln>
            <a:effectLst>
              <a:outerShdw blurRad="1651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cxnSp>
        <p:pic>
          <p:nvPicPr>
            <p:cNvPr id="36" name="Picture 35" descr="Microsoft Entra">
              <a:extLst>
                <a:ext uri="{FF2B5EF4-FFF2-40B4-BE49-F238E27FC236}">
                  <a16:creationId xmlns:a16="http://schemas.microsoft.com/office/drawing/2014/main" id="{96785B19-C8FD-D831-433D-497D3811D80D}"/>
                </a:ext>
              </a:extLst>
            </p:cNvPr>
            <p:cNvPicPr>
              <a:picLocks noChangeAspect="1"/>
            </p:cNvPicPr>
            <p:nvPr/>
          </p:nvPicPr>
          <p:blipFill>
            <a:blip r:embed="rId5">
              <a:alphaModFix amt="50000"/>
              <a:extLst>
                <a:ext uri="{28A0092B-C50C-407E-A947-70E740481C1C}">
                  <a14:useLocalDpi xmlns:a14="http://schemas.microsoft.com/office/drawing/2010/main" val="0"/>
                </a:ext>
              </a:extLst>
            </a:blip>
            <a:srcRect l="36667" t="22099" r="36667" b="25491"/>
            <a:stretch>
              <a:fillRect/>
            </a:stretch>
          </p:blipFill>
          <p:spPr>
            <a:xfrm>
              <a:off x="9102364" y="2073870"/>
              <a:ext cx="1104360" cy="1134432"/>
            </a:xfrm>
            <a:prstGeom prst="rect">
              <a:avLst/>
            </a:prstGeom>
          </p:spPr>
        </p:pic>
        <p:sp>
          <p:nvSpPr>
            <p:cNvPr id="38" name="Rounded Rectangle 2">
              <a:extLst>
                <a:ext uri="{FF2B5EF4-FFF2-40B4-BE49-F238E27FC236}">
                  <a16:creationId xmlns:a16="http://schemas.microsoft.com/office/drawing/2014/main" id="{702F2707-8F5E-CC25-7A01-681E145A5CE1}"/>
                </a:ext>
              </a:extLst>
            </p:cNvPr>
            <p:cNvSpPr/>
            <p:nvPr/>
          </p:nvSpPr>
          <p:spPr bwMode="auto">
            <a:xfrm>
              <a:off x="8801604" y="3487316"/>
              <a:ext cx="1705879" cy="430887"/>
            </a:xfrm>
            <a:prstGeom prst="rect">
              <a:avLst/>
            </a:prstGeom>
            <a:no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21425"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2A446F">
                      <a:alpha val="50000"/>
                    </a:srgbClr>
                  </a:solidFill>
                  <a:effectLst/>
                  <a:uLnTx/>
                  <a:uFillTx/>
                  <a:latin typeface="Segoe UI"/>
                  <a:ea typeface="+mn-ea"/>
                  <a:cs typeface="+mn-cs"/>
                </a:rPr>
                <a:t>Entra</a:t>
              </a:r>
            </a:p>
          </p:txBody>
        </p:sp>
      </p:grpSp>
    </p:spTree>
    <p:extLst>
      <p:ext uri="{BB962C8B-B14F-4D97-AF65-F5344CB8AC3E}">
        <p14:creationId xmlns:p14="http://schemas.microsoft.com/office/powerpoint/2010/main" val="8862311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p:cTn id="7" dur="500" fill="hold"/>
                                        <p:tgtEl>
                                          <p:spTgt spid="55"/>
                                        </p:tgtEl>
                                        <p:attrNameLst>
                                          <p:attrName>ppt_w</p:attrName>
                                        </p:attrNameLst>
                                      </p:cBhvr>
                                      <p:tavLst>
                                        <p:tav tm="0">
                                          <p:val>
                                            <p:fltVal val="0"/>
                                          </p:val>
                                        </p:tav>
                                        <p:tav tm="100000">
                                          <p:val>
                                            <p:strVal val="#ppt_w"/>
                                          </p:val>
                                        </p:tav>
                                      </p:tavLst>
                                    </p:anim>
                                    <p:anim calcmode="lin" valueType="num">
                                      <p:cBhvr>
                                        <p:cTn id="8" dur="500" fill="hold"/>
                                        <p:tgtEl>
                                          <p:spTgt spid="55"/>
                                        </p:tgtEl>
                                        <p:attrNameLst>
                                          <p:attrName>ppt_h</p:attrName>
                                        </p:attrNameLst>
                                      </p:cBhvr>
                                      <p:tavLst>
                                        <p:tav tm="0">
                                          <p:val>
                                            <p:strVal val="#ppt_h"/>
                                          </p:val>
                                        </p:tav>
                                        <p:tav tm="100000">
                                          <p:val>
                                            <p:strVal val="#ppt_h"/>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bg>
      <p:bgPr>
        <a:gradFill>
          <a:gsLst>
            <a:gs pos="74000">
              <a:srgbClr val="B9DCD2"/>
            </a:gs>
            <a:gs pos="18000">
              <a:srgbClr val="C5B4E3"/>
            </a:gs>
          </a:gsLst>
          <a:lin ang="1800000" scaled="0"/>
        </a:gradFill>
        <a:effectLst/>
      </p:bgPr>
    </p:bg>
    <p:spTree>
      <p:nvGrpSpPr>
        <p:cNvPr id="1" name="">
          <a:extLst>
            <a:ext uri="{FF2B5EF4-FFF2-40B4-BE49-F238E27FC236}">
              <a16:creationId xmlns:a16="http://schemas.microsoft.com/office/drawing/2014/main" id="{EACB288D-32AE-F9AD-C7F0-084CFFAD6160}"/>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4438F0A2-449B-A59E-66EA-3EBB54C1DFAA}"/>
              </a:ext>
              <a:ext uri="{C183D7F6-B498-43B3-948B-1728B52AA6E4}">
                <adec:decorative xmlns:adec="http://schemas.microsoft.com/office/drawing/2017/decorative" val="1"/>
              </a:ext>
            </a:extLst>
          </p:cNvPr>
          <p:cNvSpPr>
            <a:spLocks/>
          </p:cNvSpPr>
          <p:nvPr/>
        </p:nvSpPr>
        <p:spPr bwMode="auto">
          <a:xfrm>
            <a:off x="3556000" y="1922780"/>
            <a:ext cx="8361679" cy="4478020"/>
          </a:xfrm>
          <a:prstGeom prst="roundRect">
            <a:avLst>
              <a:gd name="adj" fmla="val 3861"/>
            </a:avLst>
          </a:prstGeom>
          <a:solidFill>
            <a:schemeClr val="bg1">
              <a:alpha val="19000"/>
            </a:schemeClr>
          </a:solidFill>
          <a:ln w="12700" cap="rnd">
            <a:solidFill>
              <a:schemeClr val="bg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13" b="0" i="0" u="none" strike="noStrike" kern="1200" cap="none" spc="0" normalizeH="0" baseline="0" noProof="0" err="1">
              <a:ln>
                <a:noFill/>
              </a:ln>
              <a:solidFill>
                <a:srgbClr val="000000"/>
              </a:solidFill>
              <a:effectLst/>
              <a:uLnTx/>
              <a:uFillTx/>
              <a:latin typeface="Segoe UI"/>
              <a:ea typeface="+mn-ea"/>
              <a:cs typeface="+mn-cs"/>
            </a:endParaRPr>
          </a:p>
        </p:txBody>
      </p:sp>
      <p:sp>
        <p:nvSpPr>
          <p:cNvPr id="50" name="Title 49">
            <a:extLst>
              <a:ext uri="{FF2B5EF4-FFF2-40B4-BE49-F238E27FC236}">
                <a16:creationId xmlns:a16="http://schemas.microsoft.com/office/drawing/2014/main" id="{CF701F99-E756-3755-C3C5-37FDD1E85427}"/>
              </a:ext>
            </a:extLst>
          </p:cNvPr>
          <p:cNvSpPr>
            <a:spLocks noGrp="1"/>
          </p:cNvSpPr>
          <p:nvPr>
            <p:ph type="title" idx="4294967295"/>
          </p:nvPr>
        </p:nvSpPr>
        <p:spPr>
          <a:xfrm>
            <a:off x="585216" y="457200"/>
            <a:ext cx="11017250" cy="1107996"/>
          </a:xfrm>
        </p:spPr>
        <p:txBody>
          <a:bodyPr/>
          <a:lstStyle/>
          <a:p>
            <a:r>
              <a:rPr lang="fr-fr">
                <a:ea typeface="+mj-ea"/>
                <a:cs typeface="+mj-cs"/>
              </a:rPr>
              <a:t>Protégez les services d’IA agentique, du développement à l’exécution, grâce à Defender</a:t>
            </a:r>
          </a:p>
        </p:txBody>
      </p:sp>
      <p:grpSp>
        <p:nvGrpSpPr>
          <p:cNvPr id="6" name="Group 5">
            <a:extLst>
              <a:ext uri="{FF2B5EF4-FFF2-40B4-BE49-F238E27FC236}">
                <a16:creationId xmlns:a16="http://schemas.microsoft.com/office/drawing/2014/main" id="{535B68D0-20A8-A085-4D48-2A4EA14D5617}"/>
              </a:ext>
            </a:extLst>
          </p:cNvPr>
          <p:cNvGrpSpPr/>
          <p:nvPr/>
        </p:nvGrpSpPr>
        <p:grpSpPr>
          <a:xfrm>
            <a:off x="3761435" y="2071233"/>
            <a:ext cx="7959077" cy="591490"/>
            <a:chOff x="3761435" y="2071233"/>
            <a:chExt cx="7959077" cy="591490"/>
          </a:xfrm>
        </p:grpSpPr>
        <p:sp>
          <p:nvSpPr>
            <p:cNvPr id="5" name="Oval 4">
              <a:extLst>
                <a:ext uri="{FF2B5EF4-FFF2-40B4-BE49-F238E27FC236}">
                  <a16:creationId xmlns:a16="http://schemas.microsoft.com/office/drawing/2014/main" id="{CA9B12B2-D038-B895-F57C-485586810F1C}"/>
                </a:ext>
              </a:extLst>
            </p:cNvPr>
            <p:cNvSpPr/>
            <p:nvPr/>
          </p:nvSpPr>
          <p:spPr bwMode="auto">
            <a:xfrm>
              <a:off x="3761435" y="2071233"/>
              <a:ext cx="591490" cy="591490"/>
            </a:xfrm>
            <a:prstGeom prst="ellipse">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400" b="0" i="0" u="none" strike="noStrike" kern="1200" cap="none" spc="0" normalizeH="0" baseline="0" noProof="0">
                  <a:ln>
                    <a:noFill/>
                  </a:ln>
                  <a:solidFill>
                    <a:srgbClr val="000000"/>
                  </a:solidFill>
                  <a:effectLst/>
                  <a:uLnTx/>
                  <a:uFillTx/>
                  <a:latin typeface="Segoe UI Semibold"/>
                  <a:ea typeface="+mn-ea"/>
                  <a:cs typeface="+mn-cs"/>
                </a:rPr>
                <a:t>1</a:t>
              </a:r>
            </a:p>
          </p:txBody>
        </p:sp>
        <p:sp>
          <p:nvSpPr>
            <p:cNvPr id="16" name="TextBox 15">
              <a:extLst>
                <a:ext uri="{FF2B5EF4-FFF2-40B4-BE49-F238E27FC236}">
                  <a16:creationId xmlns:a16="http://schemas.microsoft.com/office/drawing/2014/main" id="{96FD9FED-B354-579A-6514-46924FD448FF}"/>
                </a:ext>
              </a:extLst>
            </p:cNvPr>
            <p:cNvSpPr txBox="1"/>
            <p:nvPr/>
          </p:nvSpPr>
          <p:spPr>
            <a:xfrm>
              <a:off x="4622799" y="2228478"/>
              <a:ext cx="7097713"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1765" b="0" i="0" u="none" strike="noStrike" kern="1200" cap="none" spc="0" normalizeH="0" baseline="0" noProof="0">
                  <a:ln>
                    <a:noFill/>
                  </a:ln>
                  <a:solidFill>
                    <a:srgbClr val="000000"/>
                  </a:solidFill>
                  <a:effectLst/>
                  <a:uLnTx/>
                  <a:uFillTx/>
                  <a:latin typeface="Segoe UI Semibold"/>
                  <a:ea typeface="+mn-ea"/>
                  <a:cs typeface="+mn-cs"/>
                </a:rPr>
                <a:t>Bénéficiez d’une visibilité complète sur vos ressources d’IA </a:t>
              </a:r>
            </a:p>
          </p:txBody>
        </p:sp>
      </p:grpSp>
      <p:grpSp>
        <p:nvGrpSpPr>
          <p:cNvPr id="7" name="Group 6">
            <a:extLst>
              <a:ext uri="{FF2B5EF4-FFF2-40B4-BE49-F238E27FC236}">
                <a16:creationId xmlns:a16="http://schemas.microsoft.com/office/drawing/2014/main" id="{F77C58B2-F61A-563B-7CBF-B3F6840AE1B5}"/>
              </a:ext>
            </a:extLst>
          </p:cNvPr>
          <p:cNvGrpSpPr/>
          <p:nvPr/>
        </p:nvGrpSpPr>
        <p:grpSpPr>
          <a:xfrm>
            <a:off x="3761435" y="2792135"/>
            <a:ext cx="7110164" cy="591490"/>
            <a:chOff x="3761435" y="2792135"/>
            <a:chExt cx="7110164" cy="591490"/>
          </a:xfrm>
        </p:grpSpPr>
        <p:sp>
          <p:nvSpPr>
            <p:cNvPr id="10" name="Oval 9">
              <a:extLst>
                <a:ext uri="{FF2B5EF4-FFF2-40B4-BE49-F238E27FC236}">
                  <a16:creationId xmlns:a16="http://schemas.microsoft.com/office/drawing/2014/main" id="{E1BCC33C-8FA8-5D49-8CF1-442DE6030FDC}"/>
                </a:ext>
              </a:extLst>
            </p:cNvPr>
            <p:cNvSpPr/>
            <p:nvPr/>
          </p:nvSpPr>
          <p:spPr bwMode="auto">
            <a:xfrm>
              <a:off x="3761435" y="2792135"/>
              <a:ext cx="591490" cy="591490"/>
            </a:xfrm>
            <a:prstGeom prst="ellipse">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400" b="0" i="0" u="none" strike="noStrike" kern="1200" cap="none" spc="0" normalizeH="0" baseline="0" noProof="0">
                  <a:ln>
                    <a:noFill/>
                  </a:ln>
                  <a:solidFill>
                    <a:srgbClr val="000000"/>
                  </a:solidFill>
                  <a:effectLst/>
                  <a:uLnTx/>
                  <a:uFillTx/>
                  <a:latin typeface="Segoe UI Semibold"/>
                  <a:ea typeface="+mn-ea"/>
                  <a:cs typeface="+mn-cs"/>
                </a:rPr>
                <a:t>2</a:t>
              </a:r>
            </a:p>
          </p:txBody>
        </p:sp>
        <p:sp>
          <p:nvSpPr>
            <p:cNvPr id="17" name="TextBox 16">
              <a:extLst>
                <a:ext uri="{FF2B5EF4-FFF2-40B4-BE49-F238E27FC236}">
                  <a16:creationId xmlns:a16="http://schemas.microsoft.com/office/drawing/2014/main" id="{453CDA3D-2D8E-5E6C-3EC7-F1920FBC9E68}"/>
                </a:ext>
              </a:extLst>
            </p:cNvPr>
            <p:cNvSpPr txBox="1"/>
            <p:nvPr/>
          </p:nvSpPr>
          <p:spPr>
            <a:xfrm>
              <a:off x="4622800" y="2949380"/>
              <a:ext cx="6248799"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1765" b="0" i="0" u="none" strike="noStrike" kern="1200" cap="none" spc="0" normalizeH="0" baseline="0" noProof="0">
                  <a:ln>
                    <a:noFill/>
                  </a:ln>
                  <a:solidFill>
                    <a:srgbClr val="000000"/>
                  </a:solidFill>
                  <a:effectLst/>
                  <a:uLnTx/>
                  <a:uFillTx/>
                  <a:latin typeface="Segoe UI Semibold"/>
                  <a:ea typeface="+mn-ea"/>
                  <a:cs typeface="+mn-cs"/>
                </a:rPr>
                <a:t>Identifiez et corrigez les vulnérabilités de vos ressources d’IA </a:t>
              </a:r>
            </a:p>
          </p:txBody>
        </p:sp>
      </p:grpSp>
      <p:grpSp>
        <p:nvGrpSpPr>
          <p:cNvPr id="8" name="Group 7">
            <a:extLst>
              <a:ext uri="{FF2B5EF4-FFF2-40B4-BE49-F238E27FC236}">
                <a16:creationId xmlns:a16="http://schemas.microsoft.com/office/drawing/2014/main" id="{02915DD9-26F5-01DE-A32E-D1130FDBB61D}"/>
              </a:ext>
            </a:extLst>
          </p:cNvPr>
          <p:cNvGrpSpPr/>
          <p:nvPr/>
        </p:nvGrpSpPr>
        <p:grpSpPr>
          <a:xfrm>
            <a:off x="3761435" y="3513037"/>
            <a:ext cx="7959078" cy="591490"/>
            <a:chOff x="3761435" y="3513037"/>
            <a:chExt cx="7959078" cy="591490"/>
          </a:xfrm>
        </p:grpSpPr>
        <p:sp>
          <p:nvSpPr>
            <p:cNvPr id="12" name="Oval 11">
              <a:extLst>
                <a:ext uri="{FF2B5EF4-FFF2-40B4-BE49-F238E27FC236}">
                  <a16:creationId xmlns:a16="http://schemas.microsoft.com/office/drawing/2014/main" id="{B78A0E28-16DD-1DB9-273B-E80D44D1A8FC}"/>
                </a:ext>
              </a:extLst>
            </p:cNvPr>
            <p:cNvSpPr/>
            <p:nvPr/>
          </p:nvSpPr>
          <p:spPr bwMode="auto">
            <a:xfrm>
              <a:off x="3761435" y="3513037"/>
              <a:ext cx="591490" cy="591490"/>
            </a:xfrm>
            <a:prstGeom prst="ellipse">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400" b="0" i="0" u="none" strike="noStrike" kern="1200" cap="none" spc="0" normalizeH="0" baseline="0" noProof="0">
                  <a:ln>
                    <a:noFill/>
                  </a:ln>
                  <a:solidFill>
                    <a:srgbClr val="000000"/>
                  </a:solidFill>
                  <a:effectLst/>
                  <a:uLnTx/>
                  <a:uFillTx/>
                  <a:latin typeface="Segoe UI Semibold"/>
                  <a:ea typeface="+mn-ea"/>
                  <a:cs typeface="+mn-cs"/>
                </a:rPr>
                <a:t>3</a:t>
              </a:r>
            </a:p>
          </p:txBody>
        </p:sp>
        <p:sp>
          <p:nvSpPr>
            <p:cNvPr id="18" name="TextBox 17">
              <a:extLst>
                <a:ext uri="{FF2B5EF4-FFF2-40B4-BE49-F238E27FC236}">
                  <a16:creationId xmlns:a16="http://schemas.microsoft.com/office/drawing/2014/main" id="{EE1A8F05-F44D-23E6-B639-7493F3F810F3}"/>
                </a:ext>
              </a:extLst>
            </p:cNvPr>
            <p:cNvSpPr txBox="1"/>
            <p:nvPr/>
          </p:nvSpPr>
          <p:spPr>
            <a:xfrm>
              <a:off x="4622800" y="3670282"/>
              <a:ext cx="7097713"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1765" b="0" i="0" u="none" strike="noStrike" kern="1200" cap="none" spc="0" normalizeH="0" baseline="0" noProof="0">
                  <a:ln>
                    <a:noFill/>
                  </a:ln>
                  <a:solidFill>
                    <a:srgbClr val="000000"/>
                  </a:solidFill>
                  <a:effectLst/>
                  <a:uLnTx/>
                  <a:uFillTx/>
                  <a:latin typeface="Segoe UI Semibold"/>
                  <a:ea typeface="+mn-ea"/>
                  <a:cs typeface="+mn-cs"/>
                </a:rPr>
                <a:t>Réduisez les risques associés à vos ressources d’IA</a:t>
              </a:r>
            </a:p>
          </p:txBody>
        </p:sp>
      </p:grpSp>
      <p:grpSp>
        <p:nvGrpSpPr>
          <p:cNvPr id="11" name="Group 10">
            <a:extLst>
              <a:ext uri="{FF2B5EF4-FFF2-40B4-BE49-F238E27FC236}">
                <a16:creationId xmlns:a16="http://schemas.microsoft.com/office/drawing/2014/main" id="{938345A6-7482-537D-C9F9-1C60BFC2F69E}"/>
              </a:ext>
            </a:extLst>
          </p:cNvPr>
          <p:cNvGrpSpPr/>
          <p:nvPr/>
        </p:nvGrpSpPr>
        <p:grpSpPr>
          <a:xfrm>
            <a:off x="3761435" y="4214944"/>
            <a:ext cx="7959078" cy="591490"/>
            <a:chOff x="3761435" y="4214944"/>
            <a:chExt cx="7959078" cy="591490"/>
          </a:xfrm>
        </p:grpSpPr>
        <p:sp>
          <p:nvSpPr>
            <p:cNvPr id="14" name="Oval 13">
              <a:extLst>
                <a:ext uri="{FF2B5EF4-FFF2-40B4-BE49-F238E27FC236}">
                  <a16:creationId xmlns:a16="http://schemas.microsoft.com/office/drawing/2014/main" id="{FF43E8AC-705C-AF03-71C2-6226EA7929A8}"/>
                </a:ext>
              </a:extLst>
            </p:cNvPr>
            <p:cNvSpPr/>
            <p:nvPr/>
          </p:nvSpPr>
          <p:spPr bwMode="auto">
            <a:xfrm>
              <a:off x="3761435" y="4214944"/>
              <a:ext cx="591490" cy="591490"/>
            </a:xfrm>
            <a:prstGeom prst="ellipse">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400" b="0" i="0" u="none" strike="noStrike" kern="1200" cap="none" spc="0" normalizeH="0" baseline="0" noProof="0">
                  <a:ln>
                    <a:noFill/>
                  </a:ln>
                  <a:solidFill>
                    <a:srgbClr val="000000"/>
                  </a:solidFill>
                  <a:effectLst/>
                  <a:uLnTx/>
                  <a:uFillTx/>
                  <a:latin typeface="Segoe UI Semibold"/>
                  <a:ea typeface="+mn-ea"/>
                  <a:cs typeface="+mn-cs"/>
                </a:rPr>
                <a:t>4</a:t>
              </a:r>
            </a:p>
          </p:txBody>
        </p:sp>
        <p:sp>
          <p:nvSpPr>
            <p:cNvPr id="19" name="TextBox 18">
              <a:extLst>
                <a:ext uri="{FF2B5EF4-FFF2-40B4-BE49-F238E27FC236}">
                  <a16:creationId xmlns:a16="http://schemas.microsoft.com/office/drawing/2014/main" id="{16FE90E6-F307-8E36-533D-035140730729}"/>
                </a:ext>
              </a:extLst>
            </p:cNvPr>
            <p:cNvSpPr txBox="1"/>
            <p:nvPr/>
          </p:nvSpPr>
          <p:spPr>
            <a:xfrm>
              <a:off x="4622800" y="4372189"/>
              <a:ext cx="7097713"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1765" b="0" i="0" u="none" strike="noStrike" kern="1200" cap="none" spc="0" normalizeH="0" baseline="0" noProof="0">
                  <a:ln>
                    <a:noFill/>
                  </a:ln>
                  <a:solidFill>
                    <a:srgbClr val="000000"/>
                  </a:solidFill>
                  <a:effectLst/>
                  <a:uLnTx/>
                  <a:uFillTx/>
                  <a:latin typeface="Segoe UI Semibold"/>
                  <a:ea typeface="+mn-ea"/>
                  <a:cs typeface="+mn-cs"/>
                </a:rPr>
                <a:t>Surveillez en continu les activités de l’IA agentique </a:t>
              </a:r>
            </a:p>
          </p:txBody>
        </p:sp>
      </p:grpSp>
      <p:grpSp>
        <p:nvGrpSpPr>
          <p:cNvPr id="9" name="Group 8">
            <a:extLst>
              <a:ext uri="{FF2B5EF4-FFF2-40B4-BE49-F238E27FC236}">
                <a16:creationId xmlns:a16="http://schemas.microsoft.com/office/drawing/2014/main" id="{602EDA18-052D-E24B-4CC5-F5E087D10D72}"/>
              </a:ext>
            </a:extLst>
          </p:cNvPr>
          <p:cNvGrpSpPr/>
          <p:nvPr/>
        </p:nvGrpSpPr>
        <p:grpSpPr>
          <a:xfrm>
            <a:off x="3761435" y="4935846"/>
            <a:ext cx="7470672" cy="591490"/>
            <a:chOff x="3761435" y="4935846"/>
            <a:chExt cx="7470672" cy="591490"/>
          </a:xfrm>
        </p:grpSpPr>
        <p:sp>
          <p:nvSpPr>
            <p:cNvPr id="15" name="Oval 14">
              <a:extLst>
                <a:ext uri="{FF2B5EF4-FFF2-40B4-BE49-F238E27FC236}">
                  <a16:creationId xmlns:a16="http://schemas.microsoft.com/office/drawing/2014/main" id="{C9A79134-BB17-9A51-BF6E-440BF03FA2C5}"/>
                </a:ext>
              </a:extLst>
            </p:cNvPr>
            <p:cNvSpPr/>
            <p:nvPr/>
          </p:nvSpPr>
          <p:spPr bwMode="auto">
            <a:xfrm>
              <a:off x="3761435" y="4935846"/>
              <a:ext cx="591490" cy="591490"/>
            </a:xfrm>
            <a:prstGeom prst="ellipse">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400" b="0" i="0" u="none" strike="noStrike" kern="1200" cap="none" spc="0" normalizeH="0" baseline="0" noProof="0">
                  <a:ln>
                    <a:noFill/>
                  </a:ln>
                  <a:solidFill>
                    <a:srgbClr val="000000"/>
                  </a:solidFill>
                  <a:effectLst/>
                  <a:uLnTx/>
                  <a:uFillTx/>
                  <a:latin typeface="Segoe UI Semibold"/>
                  <a:ea typeface="+mn-ea"/>
                  <a:cs typeface="+mn-cs"/>
                </a:rPr>
                <a:t>5</a:t>
              </a:r>
            </a:p>
          </p:txBody>
        </p:sp>
        <p:sp>
          <p:nvSpPr>
            <p:cNvPr id="20" name="TextBox 19">
              <a:extLst>
                <a:ext uri="{FF2B5EF4-FFF2-40B4-BE49-F238E27FC236}">
                  <a16:creationId xmlns:a16="http://schemas.microsoft.com/office/drawing/2014/main" id="{A8942BF3-1FB7-F797-0CCF-201FD8BB7C34}"/>
                </a:ext>
              </a:extLst>
            </p:cNvPr>
            <p:cNvSpPr txBox="1"/>
            <p:nvPr/>
          </p:nvSpPr>
          <p:spPr>
            <a:xfrm>
              <a:off x="4622800" y="5093091"/>
              <a:ext cx="6609307"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1765" b="0" i="0" u="none" strike="noStrike" kern="1200" cap="none" spc="0" normalizeH="0" baseline="0" noProof="0">
                  <a:ln>
                    <a:noFill/>
                  </a:ln>
                  <a:solidFill>
                    <a:srgbClr val="000000"/>
                  </a:solidFill>
                  <a:effectLst/>
                  <a:uLnTx/>
                  <a:uFillTx/>
                  <a:latin typeface="Segoe UI Semibold"/>
                  <a:ea typeface="+mn-ea"/>
                  <a:cs typeface="+mn-cs"/>
                </a:rPr>
                <a:t>Détectez les attaques spécifiques aux ressources d’IA agentique et répondez-y</a:t>
              </a:r>
            </a:p>
          </p:txBody>
        </p:sp>
      </p:grpSp>
      <p:grpSp>
        <p:nvGrpSpPr>
          <p:cNvPr id="2" name="Group 1">
            <a:extLst>
              <a:ext uri="{FF2B5EF4-FFF2-40B4-BE49-F238E27FC236}">
                <a16:creationId xmlns:a16="http://schemas.microsoft.com/office/drawing/2014/main" id="{64FB6C16-9A89-5F5E-18DE-6FE0BA1B2E0B}"/>
              </a:ext>
            </a:extLst>
          </p:cNvPr>
          <p:cNvGrpSpPr/>
          <p:nvPr/>
        </p:nvGrpSpPr>
        <p:grpSpPr>
          <a:xfrm>
            <a:off x="512064" y="1922780"/>
            <a:ext cx="2826221" cy="4478020"/>
            <a:chOff x="512064" y="1922780"/>
            <a:chExt cx="2826221" cy="4478020"/>
          </a:xfrm>
        </p:grpSpPr>
        <p:sp>
          <p:nvSpPr>
            <p:cNvPr id="25" name="Rectangle: Rounded Corners 24">
              <a:extLst>
                <a:ext uri="{FF2B5EF4-FFF2-40B4-BE49-F238E27FC236}">
                  <a16:creationId xmlns:a16="http://schemas.microsoft.com/office/drawing/2014/main" id="{948BFBD9-9999-31E2-1261-677AB8579202}"/>
                </a:ext>
                <a:ext uri="{C183D7F6-B498-43B3-948B-1728B52AA6E4}">
                  <adec:decorative xmlns:adec="http://schemas.microsoft.com/office/drawing/2017/decorative" val="1"/>
                </a:ext>
              </a:extLst>
            </p:cNvPr>
            <p:cNvSpPr/>
            <p:nvPr/>
          </p:nvSpPr>
          <p:spPr bwMode="auto">
            <a:xfrm>
              <a:off x="512064" y="1922780"/>
              <a:ext cx="2826221" cy="4478020"/>
            </a:xfrm>
            <a:prstGeom prst="roundRect">
              <a:avLst>
                <a:gd name="adj" fmla="val 7216"/>
              </a:avLst>
            </a:prstGeom>
            <a:solidFill>
              <a:schemeClr val="bg1"/>
            </a:solidFill>
          </p:spPr>
          <p:txBody>
            <a:bodyPr wrap="square" lIns="91440" tIns="0" rIns="91440" bIns="0" rtlCol="0" anchor="ctr" anchorCtr="0">
              <a:noAutofit/>
            </a:body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endParaRPr kumimoji="0" lang="en-US" sz="2200" b="1" i="0" u="none" strike="noStrike" kern="1200" cap="none" spc="0" normalizeH="0" baseline="0" noProof="0" err="1">
                <a:ln w="3175">
                  <a:noFill/>
                </a:ln>
                <a:solidFill>
                  <a:srgbClr val="000000"/>
                </a:solidFill>
                <a:effectLst/>
                <a:uLnTx/>
                <a:uFillTx/>
                <a:latin typeface="Segoe UI Semibold"/>
                <a:ea typeface="+mn-ea"/>
                <a:cs typeface="Segoe Sans Display Semibold" pitchFamily="2" charset="0"/>
              </a:endParaRPr>
            </a:p>
          </p:txBody>
        </p:sp>
        <p:sp>
          <p:nvSpPr>
            <p:cNvPr id="27" name="Oval 26">
              <a:extLst>
                <a:ext uri="{FF2B5EF4-FFF2-40B4-BE49-F238E27FC236}">
                  <a16:creationId xmlns:a16="http://schemas.microsoft.com/office/drawing/2014/main" id="{E5D5B86D-EE27-4795-5585-D6620A77F8A6}"/>
                </a:ext>
                <a:ext uri="{C183D7F6-B498-43B3-948B-1728B52AA6E4}">
                  <adec:decorative xmlns:adec="http://schemas.microsoft.com/office/drawing/2017/decorative" val="1"/>
                </a:ext>
              </a:extLst>
            </p:cNvPr>
            <p:cNvSpPr/>
            <p:nvPr/>
          </p:nvSpPr>
          <p:spPr bwMode="auto">
            <a:xfrm>
              <a:off x="1320401" y="2713809"/>
              <a:ext cx="1209548" cy="1209548"/>
            </a:xfrm>
            <a:prstGeom prst="ellipse">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1190" tIns="208950" rIns="261190" bIns="208950" numCol="1" spcCol="0" rtlCol="0" fromWordArt="0" anchor="t" anchorCtr="0" forceAA="0" compatLnSpc="1">
              <a:prstTxWarp prst="textNoShape">
                <a:avLst/>
              </a:prstTxWarp>
              <a:noAutofit/>
            </a:bodyPr>
            <a:lstStyle/>
            <a:p>
              <a:pPr marL="0" marR="0" lvl="0" indent="0" algn="l" defTabSz="1330972" rtl="0" eaLnBrk="1" fontAlgn="base" latinLnBrk="0" hangingPunct="1">
                <a:lnSpc>
                  <a:spcPct val="100000"/>
                </a:lnSpc>
                <a:spcBef>
                  <a:spcPct val="0"/>
                </a:spcBef>
                <a:spcAft>
                  <a:spcPct val="0"/>
                </a:spcAft>
                <a:buClrTx/>
                <a:buSzTx/>
                <a:buFontTx/>
                <a:buNone/>
                <a:tabLst/>
                <a:defRPr/>
              </a:pPr>
              <a:endParaRPr kumimoji="0" lang="en-US" sz="2799" b="0" i="0" u="none" strike="noStrike" kern="1200" cap="none" spc="0" normalizeH="0" baseline="0" noProof="0">
                <a:ln>
                  <a:noFill/>
                </a:ln>
                <a:solidFill>
                  <a:srgbClr val="000000"/>
                </a:solidFill>
                <a:effectLst/>
                <a:uLnTx/>
                <a:uFillTx/>
                <a:latin typeface="Segoe Sans Text Semibold" pitchFamily="2" charset="0"/>
                <a:ea typeface="+mn-ea"/>
                <a:cs typeface="Segoe Sans Text Semibold" pitchFamily="2" charset="0"/>
              </a:endParaRPr>
            </a:p>
          </p:txBody>
        </p:sp>
        <p:sp>
          <p:nvSpPr>
            <p:cNvPr id="26" name="TextBox 25">
              <a:extLst>
                <a:ext uri="{FF2B5EF4-FFF2-40B4-BE49-F238E27FC236}">
                  <a16:creationId xmlns:a16="http://schemas.microsoft.com/office/drawing/2014/main" id="{90FAD516-ABE0-1117-C1B0-CB3FBAE6B720}"/>
                </a:ext>
              </a:extLst>
            </p:cNvPr>
            <p:cNvSpPr txBox="1"/>
            <p:nvPr/>
          </p:nvSpPr>
          <p:spPr>
            <a:xfrm>
              <a:off x="621076" y="4286380"/>
              <a:ext cx="2529426" cy="189282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2800" b="0" i="0" u="none" strike="noStrike" kern="1200" cap="none" spc="0" normalizeH="0" baseline="0" noProof="0">
                  <a:ln>
                    <a:noFill/>
                  </a:ln>
                  <a:solidFill>
                    <a:srgbClr val="000000"/>
                  </a:solidFill>
                  <a:effectLst/>
                  <a:uLnTx/>
                  <a:uFillTx/>
                  <a:latin typeface="Segoe UI Semibold"/>
                  <a:ea typeface="+mn-ea"/>
                  <a:cs typeface="+mn-cs"/>
                </a:rPr>
                <a:t>Démarrez en toute sécurité.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2800" b="0" i="0" u="none" strike="noStrike" kern="1200" cap="none" spc="0" normalizeH="0" baseline="0" noProof="0">
                  <a:ln>
                    <a:noFill/>
                  </a:ln>
                  <a:solidFill>
                    <a:srgbClr val="000000"/>
                  </a:solidFill>
                  <a:effectLst/>
                  <a:uLnTx/>
                  <a:uFillTx/>
                  <a:latin typeface="Segoe UI Semibold"/>
                  <a:ea typeface="+mn-ea"/>
                  <a:cs typeface="+mn-cs"/>
                </a:rPr>
                <a:t>Restez en sécurité.</a:t>
              </a:r>
            </a:p>
          </p:txBody>
        </p:sp>
        <p:pic>
          <p:nvPicPr>
            <p:cNvPr id="3" name="Graphic 2" descr="Icône d’un bouclier avec coche et remplissage uni">
              <a:extLst>
                <a:ext uri="{FF2B5EF4-FFF2-40B4-BE49-F238E27FC236}">
                  <a16:creationId xmlns:a16="http://schemas.microsoft.com/office/drawing/2014/main" id="{F8B78642-363A-BBC9-3ECA-037E51FEB16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1467974" y="2861383"/>
              <a:ext cx="914400" cy="914400"/>
            </a:xfrm>
            <a:prstGeom prst="rect">
              <a:avLst/>
            </a:prstGeom>
          </p:spPr>
        </p:pic>
      </p:grpSp>
      <p:grpSp>
        <p:nvGrpSpPr>
          <p:cNvPr id="13" name="Group 12">
            <a:extLst>
              <a:ext uri="{FF2B5EF4-FFF2-40B4-BE49-F238E27FC236}">
                <a16:creationId xmlns:a16="http://schemas.microsoft.com/office/drawing/2014/main" id="{C50550C1-926A-267D-8C40-3863D75807F5}"/>
              </a:ext>
            </a:extLst>
          </p:cNvPr>
          <p:cNvGrpSpPr/>
          <p:nvPr/>
        </p:nvGrpSpPr>
        <p:grpSpPr>
          <a:xfrm>
            <a:off x="3761435" y="5675743"/>
            <a:ext cx="7470672" cy="591490"/>
            <a:chOff x="3761435" y="5675743"/>
            <a:chExt cx="7470672" cy="591490"/>
          </a:xfrm>
        </p:grpSpPr>
        <p:sp>
          <p:nvSpPr>
            <p:cNvPr id="29" name="Oval 28">
              <a:extLst>
                <a:ext uri="{FF2B5EF4-FFF2-40B4-BE49-F238E27FC236}">
                  <a16:creationId xmlns:a16="http://schemas.microsoft.com/office/drawing/2014/main" id="{A11C7663-3538-A006-4522-5D42F5E61C8C}"/>
                </a:ext>
              </a:extLst>
            </p:cNvPr>
            <p:cNvSpPr/>
            <p:nvPr/>
          </p:nvSpPr>
          <p:spPr bwMode="auto">
            <a:xfrm>
              <a:off x="3761435" y="5675743"/>
              <a:ext cx="591490" cy="591490"/>
            </a:xfrm>
            <a:prstGeom prst="ellipse">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400" b="0" i="0" u="none" strike="noStrike" kern="1200" cap="none" spc="0" normalizeH="0" baseline="0" noProof="0">
                  <a:ln>
                    <a:noFill/>
                  </a:ln>
                  <a:solidFill>
                    <a:srgbClr val="000000"/>
                  </a:solidFill>
                  <a:effectLst/>
                  <a:uLnTx/>
                  <a:uFillTx/>
                  <a:latin typeface="Segoe UI Semibold"/>
                  <a:ea typeface="+mn-ea"/>
                  <a:cs typeface="+mn-cs"/>
                </a:rPr>
                <a:t>6</a:t>
              </a:r>
            </a:p>
          </p:txBody>
        </p:sp>
        <p:sp>
          <p:nvSpPr>
            <p:cNvPr id="30" name="TextBox 29">
              <a:extLst>
                <a:ext uri="{FF2B5EF4-FFF2-40B4-BE49-F238E27FC236}">
                  <a16:creationId xmlns:a16="http://schemas.microsoft.com/office/drawing/2014/main" id="{692EE06E-D4EF-6B70-82C3-9572238B20E4}"/>
                </a:ext>
              </a:extLst>
            </p:cNvPr>
            <p:cNvSpPr txBox="1"/>
            <p:nvPr/>
          </p:nvSpPr>
          <p:spPr>
            <a:xfrm>
              <a:off x="4622800" y="5694489"/>
              <a:ext cx="6609307" cy="55399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1765" b="0" i="0" u="none" strike="noStrike" kern="1200" cap="none" spc="0" normalizeH="0" baseline="0" noProof="0">
                  <a:ln>
                    <a:noFill/>
                  </a:ln>
                  <a:solidFill>
                    <a:srgbClr val="000000"/>
                  </a:solidFill>
                  <a:effectLst/>
                  <a:uLnTx/>
                  <a:uFillTx/>
                  <a:latin typeface="Segoe UI Semibold"/>
                  <a:ea typeface="+mn-ea"/>
                  <a:cs typeface="+mn-cs"/>
                </a:rPr>
                <a:t>Mettez en corrélation et contextualisez les signaux de menace afin de les transformer en incidents de sécurité complets</a:t>
              </a:r>
            </a:p>
          </p:txBody>
        </p:sp>
      </p:grpSp>
    </p:spTree>
    <p:extLst>
      <p:ext uri="{BB962C8B-B14F-4D97-AF65-F5344CB8AC3E}">
        <p14:creationId xmlns:p14="http://schemas.microsoft.com/office/powerpoint/2010/main" val="1704716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22" presetClass="entr" presetSubtype="8" fill="hold"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wipe(left)">
                                      <p:cBhvr>
                                        <p:cTn id="14" dur="500"/>
                                        <p:tgtEl>
                                          <p:spTgt spid="6"/>
                                        </p:tgtEl>
                                      </p:cBhvr>
                                    </p:animEffect>
                                  </p:childTnLst>
                                </p:cTn>
                              </p:par>
                            </p:childTnLst>
                          </p:cTn>
                        </p:par>
                        <p:par>
                          <p:cTn id="15" fill="hold">
                            <p:stCondLst>
                              <p:cond delay="1000"/>
                            </p:stCondLst>
                            <p:childTnLst>
                              <p:par>
                                <p:cTn id="16" presetID="22" presetClass="entr" presetSubtype="8" fill="hold" nodeType="after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wipe(left)">
                                      <p:cBhvr>
                                        <p:cTn id="18" dur="500"/>
                                        <p:tgtEl>
                                          <p:spTgt spid="7"/>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wipe(left)">
                                      <p:cBhvr>
                                        <p:cTn id="22" dur="500"/>
                                        <p:tgtEl>
                                          <p:spTgt spid="8"/>
                                        </p:tgtEl>
                                      </p:cBhvr>
                                    </p:animEffect>
                                  </p:childTnLst>
                                </p:cTn>
                              </p:par>
                            </p:childTnLst>
                          </p:cTn>
                        </p:par>
                        <p:par>
                          <p:cTn id="23" fill="hold">
                            <p:stCondLst>
                              <p:cond delay="2000"/>
                            </p:stCondLst>
                            <p:childTnLst>
                              <p:par>
                                <p:cTn id="24" presetID="22" presetClass="entr" presetSubtype="8" fill="hold"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left)">
                                      <p:cBhvr>
                                        <p:cTn id="26" dur="500"/>
                                        <p:tgtEl>
                                          <p:spTgt spid="11"/>
                                        </p:tgtEl>
                                      </p:cBhvr>
                                    </p:animEffect>
                                  </p:childTnLst>
                                </p:cTn>
                              </p:par>
                            </p:childTnLst>
                          </p:cTn>
                        </p:par>
                        <p:par>
                          <p:cTn id="27" fill="hold">
                            <p:stCondLst>
                              <p:cond delay="2500"/>
                            </p:stCondLst>
                            <p:childTnLst>
                              <p:par>
                                <p:cTn id="28" presetID="22" presetClass="entr" presetSubtype="8" fill="hold" nodeType="after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wipe(left)">
                                      <p:cBhvr>
                                        <p:cTn id="30" dur="500"/>
                                        <p:tgtEl>
                                          <p:spTgt spid="9"/>
                                        </p:tgtEl>
                                      </p:cBhvr>
                                    </p:animEffect>
                                  </p:childTnLst>
                                </p:cTn>
                              </p:par>
                            </p:childTnLst>
                          </p:cTn>
                        </p:par>
                        <p:par>
                          <p:cTn id="31" fill="hold">
                            <p:stCondLst>
                              <p:cond delay="3000"/>
                            </p:stCondLst>
                            <p:childTnLst>
                              <p:par>
                                <p:cTn id="32" presetID="22" presetClass="entr" presetSubtype="8" fill="hold" nodeType="after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wipe(left)">
                                      <p:cBhvr>
                                        <p:cTn id="34"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bg>
      <p:bgPr>
        <a:gradFill>
          <a:gsLst>
            <a:gs pos="74000">
              <a:srgbClr val="B9DCD2"/>
            </a:gs>
            <a:gs pos="18000">
              <a:srgbClr val="C5B4E3"/>
            </a:gs>
          </a:gsLst>
          <a:lin ang="1800000" scaled="0"/>
        </a:gradFill>
        <a:effectLst/>
      </p:bgPr>
    </p:bg>
    <p:spTree>
      <p:nvGrpSpPr>
        <p:cNvPr id="1" name="">
          <a:extLst>
            <a:ext uri="{FF2B5EF4-FFF2-40B4-BE49-F238E27FC236}">
              <a16:creationId xmlns:a16="http://schemas.microsoft.com/office/drawing/2014/main" id="{D9F30ACD-B82B-E710-F807-E9B5A5C3D82D}"/>
            </a:ext>
          </a:extLst>
        </p:cNvPr>
        <p:cNvGrpSpPr/>
        <p:nvPr/>
      </p:nvGrpSpPr>
      <p:grpSpPr>
        <a:xfrm>
          <a:off x="0" y="0"/>
          <a:ext cx="0" cy="0"/>
          <a:chOff x="0" y="0"/>
          <a:chExt cx="0" cy="0"/>
        </a:xfrm>
      </p:grpSpPr>
      <p:sp>
        <p:nvSpPr>
          <p:cNvPr id="55" name="CS box - replacement">
            <a:extLst>
              <a:ext uri="{FF2B5EF4-FFF2-40B4-BE49-F238E27FC236}">
                <a16:creationId xmlns:a16="http://schemas.microsoft.com/office/drawing/2014/main" id="{23AA7440-784A-E7D7-69B7-0EAE79B5D048}"/>
              </a:ext>
              <a:ext uri="{C183D7F6-B498-43B3-948B-1728B52AA6E4}">
                <adec:decorative xmlns:adec="http://schemas.microsoft.com/office/drawing/2017/decorative" val="1"/>
              </a:ext>
            </a:extLst>
          </p:cNvPr>
          <p:cNvSpPr>
            <a:spLocks/>
          </p:cNvSpPr>
          <p:nvPr/>
        </p:nvSpPr>
        <p:spPr bwMode="auto">
          <a:xfrm>
            <a:off x="582612" y="1435100"/>
            <a:ext cx="11026776" cy="4927600"/>
          </a:xfrm>
          <a:prstGeom prst="roundRect">
            <a:avLst>
              <a:gd name="adj" fmla="val 4072"/>
            </a:avLst>
          </a:prstGeom>
          <a:solidFill>
            <a:schemeClr val="bg1">
              <a:alpha val="19000"/>
            </a:schemeClr>
          </a:solidFill>
          <a:ln w="19050" cap="rnd">
            <a:solidFill>
              <a:schemeClr val="bg1"/>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61257" tIns="209006" rIns="261257" bIns="209006" numCol="1" spcCol="0" rtlCol="0" fromWordArt="0" anchor="t" anchorCtr="0" forceAA="0" compatLnSpc="1">
            <a:prstTxWarp prst="textNoShape">
              <a:avLst/>
            </a:prstTxWarp>
            <a:noAutofit/>
          </a:bodyPr>
          <a:lstStyle/>
          <a:p>
            <a:pPr marL="0" marR="0" lvl="0" indent="0" algn="l" defTabSz="1332133" rtl="0" eaLnBrk="1" fontAlgn="base" latinLnBrk="0" hangingPunct="1">
              <a:lnSpc>
                <a:spcPct val="100000"/>
              </a:lnSpc>
              <a:spcBef>
                <a:spcPct val="0"/>
              </a:spcBef>
              <a:spcAft>
                <a:spcPct val="0"/>
              </a:spcAft>
              <a:buClrTx/>
              <a:buSzTx/>
              <a:buFontTx/>
              <a:buNone/>
              <a:tabLst/>
              <a:defRPr/>
            </a:pPr>
            <a:endParaRPr kumimoji="0" lang="en-US" sz="2857" b="0" i="0" u="none" strike="noStrike" kern="1200" cap="none" spc="0" normalizeH="0" baseline="0" noProof="0">
              <a:ln>
                <a:noFill/>
              </a:ln>
              <a:noFill/>
              <a:effectLst/>
              <a:uLnTx/>
              <a:uFillTx/>
              <a:latin typeface="Segoe UI Variable Display Semib" pitchFamily="2" charset="0"/>
              <a:ea typeface="+mn-ea"/>
              <a:cs typeface="Segoe UI" pitchFamily="34" charset="0"/>
            </a:endParaRPr>
          </a:p>
        </p:txBody>
      </p:sp>
      <p:sp>
        <p:nvSpPr>
          <p:cNvPr id="56" name="Title 55">
            <a:extLst>
              <a:ext uri="{FF2B5EF4-FFF2-40B4-BE49-F238E27FC236}">
                <a16:creationId xmlns:a16="http://schemas.microsoft.com/office/drawing/2014/main" id="{6F907DA4-2104-77A0-0ADB-F87591DF93B4}"/>
              </a:ext>
            </a:extLst>
          </p:cNvPr>
          <p:cNvSpPr>
            <a:spLocks noGrp="1"/>
          </p:cNvSpPr>
          <p:nvPr>
            <p:ph type="title" idx="4294967295"/>
          </p:nvPr>
        </p:nvSpPr>
        <p:spPr>
          <a:xfrm>
            <a:off x="585216" y="233082"/>
            <a:ext cx="11017250" cy="557784"/>
          </a:xfrm>
        </p:spPr>
        <p:txBody>
          <a:bodyPr/>
          <a:lstStyle/>
          <a:p>
            <a:r>
              <a:rPr lang="fr-fr">
                <a:ea typeface="+mj-ea"/>
                <a:cs typeface="+mj-cs"/>
              </a:rPr>
              <a:t>Permettre à vos équipes de sécurité de gérer les risques liés aux agents</a:t>
            </a:r>
          </a:p>
        </p:txBody>
      </p:sp>
      <p:grpSp>
        <p:nvGrpSpPr>
          <p:cNvPr id="3" name="Group 2">
            <a:extLst>
              <a:ext uri="{FF2B5EF4-FFF2-40B4-BE49-F238E27FC236}">
                <a16:creationId xmlns:a16="http://schemas.microsoft.com/office/drawing/2014/main" id="{F6BFB9A7-AE13-055D-9484-BB9B73A6D4A5}"/>
              </a:ext>
            </a:extLst>
          </p:cNvPr>
          <p:cNvGrpSpPr/>
          <p:nvPr/>
        </p:nvGrpSpPr>
        <p:grpSpPr>
          <a:xfrm>
            <a:off x="814181" y="1656687"/>
            <a:ext cx="3434466" cy="4484427"/>
            <a:chOff x="814181" y="1656687"/>
            <a:chExt cx="3434466" cy="4484427"/>
          </a:xfrm>
        </p:grpSpPr>
        <p:sp>
          <p:nvSpPr>
            <p:cNvPr id="44" name="Rectangle: Rounded Corners 43">
              <a:extLst>
                <a:ext uri="{FF2B5EF4-FFF2-40B4-BE49-F238E27FC236}">
                  <a16:creationId xmlns:a16="http://schemas.microsoft.com/office/drawing/2014/main" id="{DD1B9FFF-75F7-E4E4-FC93-111209DBF029}"/>
                </a:ext>
                <a:ext uri="{C183D7F6-B498-43B3-948B-1728B52AA6E4}">
                  <adec:decorative xmlns:adec="http://schemas.microsoft.com/office/drawing/2017/decorative" val="1"/>
                </a:ext>
              </a:extLst>
            </p:cNvPr>
            <p:cNvSpPr>
              <a:spLocks/>
            </p:cNvSpPr>
            <p:nvPr/>
          </p:nvSpPr>
          <p:spPr>
            <a:xfrm>
              <a:off x="814181" y="1656687"/>
              <a:ext cx="3434466" cy="4484427"/>
            </a:xfrm>
            <a:prstGeom prst="roundRect">
              <a:avLst>
                <a:gd name="adj" fmla="val 4200"/>
              </a:avLst>
            </a:prstGeom>
            <a:solidFill>
              <a:schemeClr val="bg1">
                <a:alpha val="50000"/>
              </a:schemeClr>
            </a:solidFill>
            <a:ln w="12700">
              <a:noFill/>
              <a:headEnd type="none" w="med" len="med"/>
              <a:tailEnd type="none" w="med" len="med"/>
            </a:ln>
            <a:effectLst>
              <a:outerShdw blurRad="1651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 name="Rounded Rectangle 2">
              <a:extLst>
                <a:ext uri="{FF2B5EF4-FFF2-40B4-BE49-F238E27FC236}">
                  <a16:creationId xmlns:a16="http://schemas.microsoft.com/office/drawing/2014/main" id="{3F82D32C-377A-0737-431A-AA5F7F175786}"/>
                </a:ext>
              </a:extLst>
            </p:cNvPr>
            <p:cNvSpPr/>
            <p:nvPr/>
          </p:nvSpPr>
          <p:spPr bwMode="auto">
            <a:xfrm>
              <a:off x="1274114" y="4237577"/>
              <a:ext cx="2514600" cy="1384995"/>
            </a:xfrm>
            <a:prstGeom prst="rect">
              <a:avLst/>
            </a:prstGeom>
            <a:no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21425"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2A446F">
                      <a:alpha val="50000"/>
                    </a:srgbClr>
                  </a:solidFill>
                  <a:effectLst/>
                  <a:uLnTx/>
                  <a:uFillTx/>
                  <a:latin typeface="Segoe UI Semibold"/>
                  <a:ea typeface="+mn-ea"/>
                  <a:cs typeface="+mn-cs"/>
                </a:rPr>
                <a:t>Empêcher le partage excessif de données sensibles et assurer </a:t>
              </a:r>
              <a:br>
                <a:rPr kumimoji="0" lang="fr-fr" sz="1800" b="0" i="0" u="none" strike="noStrike" kern="1200" cap="none" spc="0" normalizeH="0" baseline="0" noProof="0">
                  <a:ln>
                    <a:noFill/>
                  </a:ln>
                  <a:solidFill>
                    <a:srgbClr val="2A446F">
                      <a:alpha val="50000"/>
                    </a:srgbClr>
                  </a:solidFill>
                  <a:effectLst/>
                  <a:uLnTx/>
                  <a:uFillTx/>
                  <a:latin typeface="Segoe UI Semibold"/>
                  <a:ea typeface="+mn-ea"/>
                  <a:cs typeface="+mn-cs"/>
                </a:rPr>
              </a:br>
              <a:r>
                <a:rPr kumimoji="0" lang="fr-fr" sz="1800" b="0" i="0" u="none" strike="noStrike" kern="1200" cap="none" spc="0" normalizeH="0" baseline="0" noProof="0">
                  <a:ln>
                    <a:noFill/>
                  </a:ln>
                  <a:solidFill>
                    <a:srgbClr val="2A446F">
                      <a:alpha val="50000"/>
                    </a:srgbClr>
                  </a:solidFill>
                  <a:effectLst/>
                  <a:uLnTx/>
                  <a:uFillTx/>
                  <a:latin typeface="Segoe UI Semibold"/>
                  <a:ea typeface="+mn-ea"/>
                  <a:cs typeface="+mn-cs"/>
                </a:rPr>
                <a:t>la conformité des données</a:t>
              </a:r>
            </a:p>
          </p:txBody>
        </p:sp>
        <p:cxnSp>
          <p:nvCxnSpPr>
            <p:cNvPr id="14" name="Straight Connector 13">
              <a:extLst>
                <a:ext uri="{FF2B5EF4-FFF2-40B4-BE49-F238E27FC236}">
                  <a16:creationId xmlns:a16="http://schemas.microsoft.com/office/drawing/2014/main" id="{D1420912-BB2A-ACCF-AA89-93B6F46A9128}"/>
                </a:ext>
                <a:ext uri="{C183D7F6-B498-43B3-948B-1728B52AA6E4}">
                  <adec:decorative xmlns:adec="http://schemas.microsoft.com/office/drawing/2017/decorative" val="1"/>
                </a:ext>
              </a:extLst>
            </p:cNvPr>
            <p:cNvCxnSpPr>
              <a:cxnSpLocks/>
            </p:cNvCxnSpPr>
            <p:nvPr/>
          </p:nvCxnSpPr>
          <p:spPr>
            <a:xfrm>
              <a:off x="1676449" y="4107858"/>
              <a:ext cx="1709928" cy="0"/>
            </a:xfrm>
            <a:prstGeom prst="line">
              <a:avLst/>
            </a:prstGeom>
            <a:noFill/>
            <a:ln w="3175">
              <a:solidFill>
                <a:schemeClr val="tx1">
                  <a:alpha val="30000"/>
                </a:schemeClr>
              </a:solidFill>
              <a:headEnd type="none" w="med" len="med"/>
              <a:tailEnd type="none" w="med" len="med"/>
            </a:ln>
            <a:effectLst>
              <a:outerShdw blurRad="1651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cxnSp>
        <p:pic>
          <p:nvPicPr>
            <p:cNvPr id="13" name="Picture 14" descr="Microsoft Purview">
              <a:extLst>
                <a:ext uri="{FF2B5EF4-FFF2-40B4-BE49-F238E27FC236}">
                  <a16:creationId xmlns:a16="http://schemas.microsoft.com/office/drawing/2014/main" id="{ECB6D84C-9DA5-EBF6-1C5C-C1EBE1DE376B}"/>
                </a:ext>
              </a:extLst>
            </p:cNvPr>
            <p:cNvPicPr>
              <a:picLocks noChangeAspect="1" noChangeArrowheads="1"/>
            </p:cNvPicPr>
            <p:nvPr/>
          </p:nvPicPr>
          <p:blipFill>
            <a:blip r:embed="rId3">
              <a:alphaModFix amt="50000"/>
              <a:extLst>
                <a:ext uri="{28A0092B-C50C-407E-A947-70E740481C1C}">
                  <a14:useLocalDpi xmlns:a14="http://schemas.microsoft.com/office/drawing/2010/main" val="0"/>
                </a:ext>
              </a:extLst>
            </a:blip>
            <a:srcRect/>
            <a:stretch>
              <a:fillRect/>
            </a:stretch>
          </p:blipFill>
          <p:spPr bwMode="auto">
            <a:xfrm>
              <a:off x="1994993" y="2151602"/>
              <a:ext cx="1072842" cy="1056700"/>
            </a:xfrm>
            <a:prstGeom prst="rect">
              <a:avLst/>
            </a:prstGeom>
            <a:noFill/>
            <a:extLst>
              <a:ext uri="{909E8E84-426E-40DD-AFC4-6F175D3DCCD1}">
                <a14:hiddenFill xmlns:a14="http://schemas.microsoft.com/office/drawing/2010/main">
                  <a:solidFill>
                    <a:srgbClr val="FFFFFF"/>
                  </a:solidFill>
                </a14:hiddenFill>
              </a:ext>
            </a:extLst>
          </p:spPr>
        </p:pic>
        <p:sp>
          <p:nvSpPr>
            <p:cNvPr id="4" name="Rounded Rectangle 2">
              <a:extLst>
                <a:ext uri="{FF2B5EF4-FFF2-40B4-BE49-F238E27FC236}">
                  <a16:creationId xmlns:a16="http://schemas.microsoft.com/office/drawing/2014/main" id="{599B8272-550A-C30B-0905-9F31CFE2C5B9}"/>
                </a:ext>
              </a:extLst>
            </p:cNvPr>
            <p:cNvSpPr/>
            <p:nvPr/>
          </p:nvSpPr>
          <p:spPr bwMode="auto">
            <a:xfrm>
              <a:off x="1678474" y="3487316"/>
              <a:ext cx="1705879" cy="430887"/>
            </a:xfrm>
            <a:prstGeom prst="rect">
              <a:avLst/>
            </a:prstGeom>
            <a:no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21425"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2A446F">
                      <a:alpha val="50000"/>
                    </a:srgbClr>
                  </a:solidFill>
                  <a:effectLst/>
                  <a:uLnTx/>
                  <a:uFillTx/>
                  <a:latin typeface="Segoe UI"/>
                  <a:ea typeface="+mn-ea"/>
                  <a:cs typeface="+mn-cs"/>
                </a:rPr>
                <a:t>Purview</a:t>
              </a:r>
            </a:p>
          </p:txBody>
        </p:sp>
      </p:grpSp>
      <p:grpSp>
        <p:nvGrpSpPr>
          <p:cNvPr id="7" name="Group 6">
            <a:extLst>
              <a:ext uri="{FF2B5EF4-FFF2-40B4-BE49-F238E27FC236}">
                <a16:creationId xmlns:a16="http://schemas.microsoft.com/office/drawing/2014/main" id="{B1BBFEC4-0CED-E7D2-A423-6E8AA72C18A2}"/>
              </a:ext>
            </a:extLst>
          </p:cNvPr>
          <p:cNvGrpSpPr/>
          <p:nvPr/>
        </p:nvGrpSpPr>
        <p:grpSpPr>
          <a:xfrm>
            <a:off x="4375746" y="1656687"/>
            <a:ext cx="3434466" cy="4484427"/>
            <a:chOff x="4375746" y="1656687"/>
            <a:chExt cx="3434466" cy="4484427"/>
          </a:xfrm>
        </p:grpSpPr>
        <p:sp>
          <p:nvSpPr>
            <p:cNvPr id="45" name="Rectangle: Rounded Corners 44">
              <a:extLst>
                <a:ext uri="{FF2B5EF4-FFF2-40B4-BE49-F238E27FC236}">
                  <a16:creationId xmlns:a16="http://schemas.microsoft.com/office/drawing/2014/main" id="{1A1AC671-A466-1819-C29E-671B0B1F11E7}"/>
                </a:ext>
                <a:ext uri="{C183D7F6-B498-43B3-948B-1728B52AA6E4}">
                  <adec:decorative xmlns:adec="http://schemas.microsoft.com/office/drawing/2017/decorative" val="1"/>
                </a:ext>
              </a:extLst>
            </p:cNvPr>
            <p:cNvSpPr>
              <a:spLocks/>
            </p:cNvSpPr>
            <p:nvPr/>
          </p:nvSpPr>
          <p:spPr>
            <a:xfrm>
              <a:off x="4375746" y="1656687"/>
              <a:ext cx="3434466" cy="4484427"/>
            </a:xfrm>
            <a:prstGeom prst="roundRect">
              <a:avLst>
                <a:gd name="adj" fmla="val 4200"/>
              </a:avLst>
            </a:prstGeom>
            <a:solidFill>
              <a:schemeClr val="bg1">
                <a:alpha val="50000"/>
              </a:schemeClr>
            </a:solidFill>
            <a:ln w="12700">
              <a:noFill/>
              <a:headEnd type="none" w="med" len="med"/>
              <a:tailEnd type="none" w="med" len="med"/>
            </a:ln>
            <a:effectLst>
              <a:outerShdw blurRad="1651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15" name="Straight Connector 14">
              <a:extLst>
                <a:ext uri="{FF2B5EF4-FFF2-40B4-BE49-F238E27FC236}">
                  <a16:creationId xmlns:a16="http://schemas.microsoft.com/office/drawing/2014/main" id="{723EC233-1704-23F8-C219-B3D403ACAD43}"/>
                </a:ext>
                <a:ext uri="{C183D7F6-B498-43B3-948B-1728B52AA6E4}">
                  <adec:decorative xmlns:adec="http://schemas.microsoft.com/office/drawing/2017/decorative" val="1"/>
                </a:ext>
              </a:extLst>
            </p:cNvPr>
            <p:cNvCxnSpPr>
              <a:cxnSpLocks/>
            </p:cNvCxnSpPr>
            <p:nvPr/>
          </p:nvCxnSpPr>
          <p:spPr>
            <a:xfrm>
              <a:off x="5238016" y="4107858"/>
              <a:ext cx="1709928" cy="0"/>
            </a:xfrm>
            <a:prstGeom prst="line">
              <a:avLst/>
            </a:prstGeom>
            <a:noFill/>
            <a:ln w="3175">
              <a:solidFill>
                <a:schemeClr val="tx1">
                  <a:alpha val="30000"/>
                </a:schemeClr>
              </a:solidFill>
              <a:headEnd type="none" w="med" len="med"/>
              <a:tailEnd type="none" w="med" len="med"/>
            </a:ln>
            <a:effectLst>
              <a:outerShdw blurRad="1651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cxnSp>
        <p:sp>
          <p:nvSpPr>
            <p:cNvPr id="11" name="Rounded Rectangle 2">
              <a:extLst>
                <a:ext uri="{FF2B5EF4-FFF2-40B4-BE49-F238E27FC236}">
                  <a16:creationId xmlns:a16="http://schemas.microsoft.com/office/drawing/2014/main" id="{72C2A136-B439-273A-838D-8B14FAFD4F43}"/>
                </a:ext>
              </a:extLst>
            </p:cNvPr>
            <p:cNvSpPr/>
            <p:nvPr/>
          </p:nvSpPr>
          <p:spPr bwMode="auto">
            <a:xfrm>
              <a:off x="4834346" y="4344248"/>
              <a:ext cx="2517268" cy="830997"/>
            </a:xfrm>
            <a:prstGeom prst="rect">
              <a:avLst/>
            </a:prstGeom>
            <a:no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21425" rtl="0" eaLnBrk="1" fontAlgn="auto" latinLnBrk="0" hangingPunct="1">
                <a:lnSpc>
                  <a:spcPct val="100000"/>
                </a:lnSpc>
                <a:spcBef>
                  <a:spcPts val="155"/>
                </a:spcBef>
                <a:spcAft>
                  <a:spcPts val="0"/>
                </a:spcAft>
                <a:buClrTx/>
                <a:buSzTx/>
                <a:buFontTx/>
                <a:buNone/>
                <a:tabLst/>
                <a:defRPr/>
              </a:pPr>
              <a:r>
                <a:rPr kumimoji="0" lang="fr-fr" sz="1800" b="0" i="0" u="none" strike="noStrike" kern="1200" cap="none" spc="0" normalizeH="0" baseline="0" noProof="0">
                  <a:ln>
                    <a:noFill/>
                  </a:ln>
                  <a:solidFill>
                    <a:srgbClr val="2A446F">
                      <a:alpha val="50000"/>
                    </a:srgbClr>
                  </a:solidFill>
                  <a:effectLst/>
                  <a:uLnTx/>
                  <a:uFillTx/>
                  <a:latin typeface="Segoe UI Semibold"/>
                  <a:ea typeface="+mn-ea"/>
                  <a:cs typeface="+mn-cs"/>
                </a:rPr>
                <a:t>Se défendre contre les menaces émergentes liées à l’IA et les vulnérabilités</a:t>
              </a:r>
            </a:p>
          </p:txBody>
        </p:sp>
        <p:pic>
          <p:nvPicPr>
            <p:cNvPr id="24" name="Picture 23" descr="Microsoft Defender">
              <a:extLst>
                <a:ext uri="{FF2B5EF4-FFF2-40B4-BE49-F238E27FC236}">
                  <a16:creationId xmlns:a16="http://schemas.microsoft.com/office/drawing/2014/main" id="{87F22596-AF12-D579-DB37-79792E907D76}"/>
                </a:ext>
              </a:extLst>
            </p:cNvPr>
            <p:cNvPicPr>
              <a:picLocks noChangeAspect="1"/>
            </p:cNvPicPr>
            <p:nvPr/>
          </p:nvPicPr>
          <p:blipFill>
            <a:blip r:embed="rId4">
              <a:alphaModFix amt="50000"/>
            </a:blip>
            <a:stretch>
              <a:fillRect/>
            </a:stretch>
          </p:blipFill>
          <p:spPr>
            <a:xfrm>
              <a:off x="5579607" y="2198968"/>
              <a:ext cx="1026744" cy="1026744"/>
            </a:xfrm>
            <a:prstGeom prst="rect">
              <a:avLst/>
            </a:prstGeom>
          </p:spPr>
        </p:pic>
        <p:sp>
          <p:nvSpPr>
            <p:cNvPr id="5" name="Rounded Rectangle 2">
              <a:extLst>
                <a:ext uri="{FF2B5EF4-FFF2-40B4-BE49-F238E27FC236}">
                  <a16:creationId xmlns:a16="http://schemas.microsoft.com/office/drawing/2014/main" id="{48B2A7B9-9024-2C24-2B50-A02791577011}"/>
                </a:ext>
              </a:extLst>
            </p:cNvPr>
            <p:cNvSpPr/>
            <p:nvPr/>
          </p:nvSpPr>
          <p:spPr bwMode="auto">
            <a:xfrm>
              <a:off x="5369084" y="3487316"/>
              <a:ext cx="1447792" cy="246221"/>
            </a:xfrm>
            <a:prstGeom prst="rect">
              <a:avLst/>
            </a:prstGeom>
            <a:no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721425"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2A446F">
                      <a:alpha val="50000"/>
                    </a:srgbClr>
                  </a:solidFill>
                  <a:effectLst/>
                  <a:uLnTx/>
                  <a:uFillTx/>
                  <a:latin typeface="Segoe UI"/>
                  <a:ea typeface="+mn-ea"/>
                  <a:cs typeface="+mn-cs"/>
                </a:rPr>
                <a:t>Defender</a:t>
              </a:r>
            </a:p>
          </p:txBody>
        </p:sp>
      </p:grpSp>
      <p:grpSp>
        <p:nvGrpSpPr>
          <p:cNvPr id="8" name="Group 7">
            <a:extLst>
              <a:ext uri="{FF2B5EF4-FFF2-40B4-BE49-F238E27FC236}">
                <a16:creationId xmlns:a16="http://schemas.microsoft.com/office/drawing/2014/main" id="{79942332-EEF5-29BE-29F3-97F90B348C59}"/>
              </a:ext>
            </a:extLst>
          </p:cNvPr>
          <p:cNvGrpSpPr/>
          <p:nvPr/>
        </p:nvGrpSpPr>
        <p:grpSpPr>
          <a:xfrm>
            <a:off x="7937311" y="1656687"/>
            <a:ext cx="3434466" cy="4484427"/>
            <a:chOff x="7937311" y="1656687"/>
            <a:chExt cx="3434466" cy="4484427"/>
          </a:xfrm>
        </p:grpSpPr>
        <p:sp>
          <p:nvSpPr>
            <p:cNvPr id="34" name="Rectangle: Rounded Corners 42">
              <a:extLst>
                <a:ext uri="{FF2B5EF4-FFF2-40B4-BE49-F238E27FC236}">
                  <a16:creationId xmlns:a16="http://schemas.microsoft.com/office/drawing/2014/main" id="{D04422D5-5E54-A1C0-15CD-C98A6488A11F}"/>
                </a:ext>
                <a:ext uri="{C183D7F6-B498-43B3-948B-1728B52AA6E4}">
                  <adec:decorative xmlns:adec="http://schemas.microsoft.com/office/drawing/2017/decorative" val="1"/>
                </a:ext>
              </a:extLst>
            </p:cNvPr>
            <p:cNvSpPr>
              <a:spLocks/>
            </p:cNvSpPr>
            <p:nvPr/>
          </p:nvSpPr>
          <p:spPr>
            <a:xfrm>
              <a:off x="7937311" y="1656687"/>
              <a:ext cx="3434466" cy="4484427"/>
            </a:xfrm>
            <a:prstGeom prst="roundRect">
              <a:avLst>
                <a:gd name="adj" fmla="val 4200"/>
              </a:avLst>
            </a:prstGeom>
            <a:solidFill>
              <a:schemeClr val="bg1"/>
            </a:solidFill>
            <a:ln w="12700">
              <a:noFill/>
              <a:headEnd type="none" w="med" len="med"/>
              <a:tailEnd type="none" w="med" len="med"/>
            </a:ln>
            <a:effectLst>
              <a:outerShdw blurRad="1651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5" name="Rounded Rectangle 2">
              <a:extLst>
                <a:ext uri="{FF2B5EF4-FFF2-40B4-BE49-F238E27FC236}">
                  <a16:creationId xmlns:a16="http://schemas.microsoft.com/office/drawing/2014/main" id="{0744F837-6A88-8188-EFDD-CE850D9A4478}"/>
                </a:ext>
              </a:extLst>
            </p:cNvPr>
            <p:cNvSpPr/>
            <p:nvPr/>
          </p:nvSpPr>
          <p:spPr bwMode="auto">
            <a:xfrm>
              <a:off x="8397244" y="4514576"/>
              <a:ext cx="2514600" cy="830997"/>
            </a:xfrm>
            <a:prstGeom prst="rect">
              <a:avLst/>
            </a:prstGeom>
            <a:no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21425"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2A446F"/>
                  </a:solidFill>
                  <a:effectLst/>
                  <a:uLnTx/>
                  <a:uFillTx/>
                  <a:latin typeface="Segoe UI Semibold"/>
                  <a:ea typeface="+mn-ea"/>
                  <a:cs typeface="+mn-cs"/>
                </a:rPr>
                <a:t>Gérer la prolifération des agents, contrôler les autorisations et protéger l’accès aux ressources</a:t>
              </a:r>
            </a:p>
          </p:txBody>
        </p:sp>
        <p:cxnSp>
          <p:nvCxnSpPr>
            <p:cNvPr id="37" name="Straight Connector 36">
              <a:extLst>
                <a:ext uri="{FF2B5EF4-FFF2-40B4-BE49-F238E27FC236}">
                  <a16:creationId xmlns:a16="http://schemas.microsoft.com/office/drawing/2014/main" id="{4BC73551-74E4-EF77-1AFA-7E8CC74B62A7}"/>
                </a:ext>
                <a:ext uri="{C183D7F6-B498-43B3-948B-1728B52AA6E4}">
                  <adec:decorative xmlns:adec="http://schemas.microsoft.com/office/drawing/2017/decorative" val="1"/>
                </a:ext>
              </a:extLst>
            </p:cNvPr>
            <p:cNvCxnSpPr>
              <a:cxnSpLocks/>
            </p:cNvCxnSpPr>
            <p:nvPr/>
          </p:nvCxnSpPr>
          <p:spPr>
            <a:xfrm>
              <a:off x="8799580" y="4107858"/>
              <a:ext cx="1709928" cy="0"/>
            </a:xfrm>
            <a:prstGeom prst="line">
              <a:avLst/>
            </a:prstGeom>
            <a:noFill/>
            <a:ln w="3175">
              <a:solidFill>
                <a:schemeClr val="tx1">
                  <a:alpha val="30000"/>
                </a:schemeClr>
              </a:solidFill>
              <a:headEnd type="none" w="med" len="med"/>
              <a:tailEnd type="none" w="med" len="med"/>
            </a:ln>
            <a:effectLst>
              <a:outerShdw blurRad="1651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cxnSp>
        <p:pic>
          <p:nvPicPr>
            <p:cNvPr id="36" name="Picture 35" descr="Microsoft Entra">
              <a:extLst>
                <a:ext uri="{FF2B5EF4-FFF2-40B4-BE49-F238E27FC236}">
                  <a16:creationId xmlns:a16="http://schemas.microsoft.com/office/drawing/2014/main" id="{98BA7826-CBF6-9B37-71EA-DEF5FBEED5B5}"/>
                </a:ext>
              </a:extLst>
            </p:cNvPr>
            <p:cNvPicPr>
              <a:picLocks noChangeAspect="1"/>
            </p:cNvPicPr>
            <p:nvPr/>
          </p:nvPicPr>
          <p:blipFill>
            <a:blip r:embed="rId5">
              <a:extLst>
                <a:ext uri="{28A0092B-C50C-407E-A947-70E740481C1C}">
                  <a14:useLocalDpi xmlns:a14="http://schemas.microsoft.com/office/drawing/2010/main" val="0"/>
                </a:ext>
              </a:extLst>
            </a:blip>
            <a:srcRect l="36667" t="22099" r="36667" b="25491"/>
            <a:stretch>
              <a:fillRect/>
            </a:stretch>
          </p:blipFill>
          <p:spPr>
            <a:xfrm>
              <a:off x="9102364" y="2073870"/>
              <a:ext cx="1104360" cy="1134432"/>
            </a:xfrm>
            <a:prstGeom prst="rect">
              <a:avLst/>
            </a:prstGeom>
          </p:spPr>
        </p:pic>
        <p:sp>
          <p:nvSpPr>
            <p:cNvPr id="6" name="Rounded Rectangle 2">
              <a:extLst>
                <a:ext uri="{FF2B5EF4-FFF2-40B4-BE49-F238E27FC236}">
                  <a16:creationId xmlns:a16="http://schemas.microsoft.com/office/drawing/2014/main" id="{984A9073-7C36-550E-26EE-08142596DABE}"/>
                </a:ext>
              </a:extLst>
            </p:cNvPr>
            <p:cNvSpPr/>
            <p:nvPr/>
          </p:nvSpPr>
          <p:spPr bwMode="auto">
            <a:xfrm>
              <a:off x="8801604" y="3487316"/>
              <a:ext cx="1705879" cy="430887"/>
            </a:xfrm>
            <a:prstGeom prst="rect">
              <a:avLst/>
            </a:prstGeom>
            <a:no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21425"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2A446F"/>
                  </a:solidFill>
                  <a:effectLst/>
                  <a:uLnTx/>
                  <a:uFillTx/>
                  <a:latin typeface="Segoe UI"/>
                  <a:ea typeface="+mn-ea"/>
                  <a:cs typeface="+mn-cs"/>
                </a:rPr>
                <a:t>Entra</a:t>
              </a:r>
            </a:p>
          </p:txBody>
        </p:sp>
      </p:grpSp>
    </p:spTree>
    <p:extLst>
      <p:ext uri="{BB962C8B-B14F-4D97-AF65-F5344CB8AC3E}">
        <p14:creationId xmlns:p14="http://schemas.microsoft.com/office/powerpoint/2010/main" val="594703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p:cTn id="7" dur="500" fill="hold"/>
                                        <p:tgtEl>
                                          <p:spTgt spid="55"/>
                                        </p:tgtEl>
                                        <p:attrNameLst>
                                          <p:attrName>ppt_w</p:attrName>
                                        </p:attrNameLst>
                                      </p:cBhvr>
                                      <p:tavLst>
                                        <p:tav tm="0">
                                          <p:val>
                                            <p:fltVal val="0"/>
                                          </p:val>
                                        </p:tav>
                                        <p:tav tm="100000">
                                          <p:val>
                                            <p:strVal val="#ppt_w"/>
                                          </p:val>
                                        </p:tav>
                                      </p:tavLst>
                                    </p:anim>
                                    <p:anim calcmode="lin" valueType="num">
                                      <p:cBhvr>
                                        <p:cTn id="8" dur="500" fill="hold"/>
                                        <p:tgtEl>
                                          <p:spTgt spid="55"/>
                                        </p:tgtEl>
                                        <p:attrNameLst>
                                          <p:attrName>ppt_h</p:attrName>
                                        </p:attrNameLst>
                                      </p:cBhvr>
                                      <p:tavLst>
                                        <p:tav tm="0">
                                          <p:val>
                                            <p:strVal val="#ppt_h"/>
                                          </p:val>
                                        </p:tav>
                                        <p:tav tm="100000">
                                          <p:val>
                                            <p:strVal val="#ppt_h"/>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10"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1E75FD-9D0D-35A7-1A3B-461C315BDEF8}"/>
            </a:ext>
          </a:extLst>
        </p:cNvPr>
        <p:cNvGrpSpPr/>
        <p:nvPr/>
      </p:nvGrpSpPr>
      <p:grpSpPr>
        <a:xfrm>
          <a:off x="0" y="0"/>
          <a:ext cx="0" cy="0"/>
          <a:chOff x="0" y="0"/>
          <a:chExt cx="0" cy="0"/>
        </a:xfrm>
      </p:grpSpPr>
      <p:sp>
        <p:nvSpPr>
          <p:cNvPr id="38" name="Title 1">
            <a:extLst>
              <a:ext uri="{FF2B5EF4-FFF2-40B4-BE49-F238E27FC236}">
                <a16:creationId xmlns:a16="http://schemas.microsoft.com/office/drawing/2014/main" id="{4E0C5AEF-33D4-1179-5CC0-CA88965F90C8}"/>
              </a:ext>
            </a:extLst>
          </p:cNvPr>
          <p:cNvSpPr txBox="1">
            <a:spLocks/>
          </p:cNvSpPr>
          <p:nvPr/>
        </p:nvSpPr>
        <p:spPr>
          <a:xfrm>
            <a:off x="514654" y="482291"/>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fr-fr" sz="3600" b="0" i="0" u="none" strike="noStrike" kern="1200" cap="none" spc="-50" normalizeH="0" baseline="0" noProof="0">
                <a:ln w="3175">
                  <a:noFill/>
                </a:ln>
                <a:solidFill>
                  <a:srgbClr val="FFFFFF"/>
                </a:solidFill>
                <a:effectLst/>
                <a:uLnTx/>
                <a:uFillTx/>
                <a:latin typeface="Segoe UI Semibold"/>
                <a:ea typeface="+mn-ea"/>
                <a:cs typeface="Segoe UI"/>
              </a:rPr>
              <a:t>Vos présentateurs</a:t>
            </a:r>
            <a:endParaRPr kumimoji="0" lang="en-AU" sz="3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2" name="Rectangle: Rounded Corners 41">
            <a:extLst>
              <a:ext uri="{FF2B5EF4-FFF2-40B4-BE49-F238E27FC236}">
                <a16:creationId xmlns:a16="http://schemas.microsoft.com/office/drawing/2014/main" id="{5AE5908D-55A2-28FC-FF17-C96D1045D7A6}"/>
              </a:ext>
            </a:extLst>
          </p:cNvPr>
          <p:cNvSpPr/>
          <p:nvPr/>
        </p:nvSpPr>
        <p:spPr>
          <a:xfrm>
            <a:off x="5376852" y="1580753"/>
            <a:ext cx="2145128" cy="3435752"/>
          </a:xfrm>
          <a:prstGeom prst="roundRect">
            <a:avLst>
              <a:gd name="adj" fmla="val 7205"/>
            </a:avLst>
          </a:prstGeom>
          <a:solidFill>
            <a:srgbClr val="008DC7"/>
          </a:solidFill>
          <a:ln w="12700" cap="flat" cmpd="sng" algn="ctr">
            <a:noFill/>
            <a:prstDash val="solid"/>
            <a:miter lim="800000"/>
          </a:ln>
          <a:effectLst>
            <a:outerShdw blurRad="63500" sx="102000" sy="102000" algn="ctr" rotWithShape="0">
              <a:prstClr val="black">
                <a:alpha val="40000"/>
              </a:prstClr>
            </a:outerShdw>
          </a:effectLst>
        </p:spPr>
        <p:style>
          <a:lnRef idx="0">
            <a:scrgbClr r="0" g="0" b="0"/>
          </a:lnRef>
          <a:fillRef idx="0">
            <a:scrgbClr r="0" g="0" b="0"/>
          </a:fillRef>
          <a:effectRef idx="0">
            <a:scrgbClr r="0" g="0" b="0"/>
          </a:effectRef>
          <a:fontRef idx="major"/>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white"/>
              </a:solidFill>
              <a:effectLst/>
              <a:uLnTx/>
              <a:uFillTx/>
              <a:latin typeface="Calibri" panose="020F0502020204030204"/>
              <a:ea typeface="+mj-ea"/>
              <a:cs typeface="+mj-cs"/>
            </a:endParaRPr>
          </a:p>
        </p:txBody>
      </p:sp>
      <p:sp>
        <p:nvSpPr>
          <p:cNvPr id="3" name="TextBox 2">
            <a:extLst>
              <a:ext uri="{FF2B5EF4-FFF2-40B4-BE49-F238E27FC236}">
                <a16:creationId xmlns:a16="http://schemas.microsoft.com/office/drawing/2014/main" id="{6405173D-1ABE-D5F3-5BA0-E2EC51A9D435}"/>
              </a:ext>
            </a:extLst>
          </p:cNvPr>
          <p:cNvSpPr txBox="1"/>
          <p:nvPr/>
        </p:nvSpPr>
        <p:spPr>
          <a:xfrm>
            <a:off x="5242402" y="3808725"/>
            <a:ext cx="54" cy="22892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a:ea typeface="+mn-ea"/>
              <a:cs typeface="+mn-cs"/>
            </a:endParaRPr>
          </a:p>
        </p:txBody>
      </p:sp>
      <p:sp>
        <p:nvSpPr>
          <p:cNvPr id="4" name="TextBox 3">
            <a:extLst>
              <a:ext uri="{FF2B5EF4-FFF2-40B4-BE49-F238E27FC236}">
                <a16:creationId xmlns:a16="http://schemas.microsoft.com/office/drawing/2014/main" id="{685A5138-F52B-CA72-2FAC-B3158EB7A8DA}"/>
              </a:ext>
            </a:extLst>
          </p:cNvPr>
          <p:cNvSpPr txBox="1"/>
          <p:nvPr/>
        </p:nvSpPr>
        <p:spPr>
          <a:xfrm>
            <a:off x="5242402" y="4561197"/>
            <a:ext cx="54" cy="178053"/>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Rectangle: Rounded Corners 48">
            <a:extLst>
              <a:ext uri="{FF2B5EF4-FFF2-40B4-BE49-F238E27FC236}">
                <a16:creationId xmlns:a16="http://schemas.microsoft.com/office/drawing/2014/main" id="{E9BD09D0-2AE3-48E3-BF41-048934474A34}"/>
              </a:ext>
            </a:extLst>
          </p:cNvPr>
          <p:cNvSpPr/>
          <p:nvPr/>
        </p:nvSpPr>
        <p:spPr bwMode="auto">
          <a:xfrm>
            <a:off x="6271639" y="1702646"/>
            <a:ext cx="406345" cy="120616"/>
          </a:xfrm>
          <a:prstGeom prst="roundRect">
            <a:avLst/>
          </a:prstGeom>
          <a:solidFill>
            <a:srgbClr val="FFFFFF"/>
          </a:solidFill>
          <a:ln>
            <a:noFill/>
            <a:headEnd type="none" w="med" len="med"/>
            <a:tailEnd type="none" w="med" len="med"/>
          </a:ln>
          <a:effectLst>
            <a:innerShdw blurRad="63500" dist="50800" dir="16200000">
              <a:prstClr val="black">
                <a:alpha val="5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AU"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ound Same Side Corner Rectangle 6">
            <a:extLst>
              <a:ext uri="{FF2B5EF4-FFF2-40B4-BE49-F238E27FC236}">
                <a16:creationId xmlns:a16="http://schemas.microsoft.com/office/drawing/2014/main" id="{133FCC15-36D3-CA39-731B-D112325E898F}"/>
              </a:ext>
            </a:extLst>
          </p:cNvPr>
          <p:cNvSpPr/>
          <p:nvPr/>
        </p:nvSpPr>
        <p:spPr bwMode="auto">
          <a:xfrm rot="10800000">
            <a:off x="5383588" y="3719749"/>
            <a:ext cx="2131649" cy="1542225"/>
          </a:xfrm>
          <a:prstGeom prst="round2SameRect">
            <a:avLst>
              <a:gd name="adj1" fmla="val 10228"/>
              <a:gd name="adj2" fmla="val 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E"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TextBox 7">
            <a:extLst>
              <a:ext uri="{FF2B5EF4-FFF2-40B4-BE49-F238E27FC236}">
                <a16:creationId xmlns:a16="http://schemas.microsoft.com/office/drawing/2014/main" id="{9FD7EE2D-CDFE-38B9-DAB9-7079300B0912}"/>
              </a:ext>
            </a:extLst>
          </p:cNvPr>
          <p:cNvSpPr txBox="1"/>
          <p:nvPr/>
        </p:nvSpPr>
        <p:spPr>
          <a:xfrm>
            <a:off x="5487096" y="3786948"/>
            <a:ext cx="1981489" cy="861774"/>
          </a:xfrm>
          <a:prstGeom prst="rect">
            <a:avLst/>
          </a:prstGeom>
          <a:noFill/>
        </p:spPr>
        <p:txBody>
          <a:bodyPr wrap="square" lIns="0" tIns="0" rIns="0" bIns="0" rtlCol="0" anchor="t">
            <a:spAutoFit/>
          </a:bodyPr>
          <a:lstStyle/>
          <a:p>
            <a:pPr lvl="0" algn="ctr">
              <a:defRPr/>
            </a:pPr>
            <a:r>
              <a:rPr lang="fr-fr" sz="1400" b="1">
                <a:solidFill>
                  <a:schemeClr val="bg1"/>
                </a:solidFill>
              </a:rPr>
              <a:t>Matteo Pagani</a:t>
            </a:r>
            <a:endParaRPr lang="en-US" sz="1400" b="1" i="0" u="none" strike="noStrike" kern="1200" cap="none" spc="0" normalizeH="0" baseline="0" noProof="0">
              <a:ln>
                <a:noFill/>
              </a:ln>
              <a:solidFill>
                <a:srgbClr val="000000"/>
              </a:solidFill>
              <a:effectLst/>
              <a:uLnTx/>
              <a:uFillTx/>
              <a:latin typeface="Segoe UI"/>
              <a:cs typeface="Segoe UI"/>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UI"/>
                <a:ea typeface="+mn-ea"/>
                <a:cs typeface="+mn-cs"/>
              </a:rPr>
              <a:t>Architecte de </a:t>
            </a:r>
            <a:r>
              <a:rPr kumimoji="0" lang="fr-FR" sz="1400" b="0" i="0" u="none" strike="noStrike" kern="1200" cap="none" spc="0" normalizeH="0" baseline="0" noProof="0">
                <a:ln>
                  <a:noFill/>
                </a:ln>
                <a:solidFill>
                  <a:srgbClr val="000000"/>
                </a:solidFill>
                <a:effectLst/>
                <a:uLnTx/>
                <a:uFillTx/>
                <a:latin typeface="Segoe UI"/>
                <a:ea typeface="+mn-ea"/>
                <a:cs typeface="+mn-cs"/>
              </a:rPr>
              <a:t>solutions</a:t>
            </a:r>
            <a:r>
              <a:rPr kumimoji="0" lang="fr-fr" sz="1400" b="0" i="0" u="none" strike="noStrike" kern="1200" cap="none" spc="0" normalizeH="0" baseline="0" noProof="0">
                <a:ln>
                  <a:noFill/>
                </a:ln>
                <a:solidFill>
                  <a:srgbClr val="000000"/>
                </a:solidFill>
                <a:effectLst/>
                <a:uLnTx/>
                <a:uFillTx/>
                <a:latin typeface="Segoe UI"/>
                <a:ea typeface="+mn-ea"/>
                <a:cs typeface="+mn-cs"/>
              </a:rPr>
              <a:t> Cloud</a:t>
            </a:r>
            <a:r>
              <a:rPr lang="fr-fr" sz="1400" b="0" i="0" u="none" strike="noStrike" kern="1200" cap="none" spc="0" normalizeH="0" baseline="0" noProof="0">
                <a:ln>
                  <a:noFill/>
                </a:ln>
                <a:effectLst/>
                <a:uLnTx/>
                <a:uFillTx/>
                <a:latin typeface="Segoe UI"/>
              </a:rPr>
              <a:t> </a:t>
            </a:r>
            <a:r>
              <a:rPr kumimoji="0" lang="fr-fr" sz="1400" b="0" i="0" u="none" strike="noStrike" kern="1200" cap="none" spc="0" normalizeH="0" baseline="0" noProof="0">
                <a:ln>
                  <a:noFill/>
                </a:ln>
                <a:solidFill>
                  <a:srgbClr val="000000"/>
                </a:solidFill>
                <a:effectLst/>
                <a:uLnTx/>
                <a:uFillTx/>
                <a:latin typeface="Segoe UI"/>
                <a:ea typeface="+mn-ea"/>
                <a:cs typeface="+mn-cs"/>
              </a:rPr>
              <a:t>Solutions </a:t>
            </a:r>
            <a:br>
              <a:rPr kumimoji="0" lang="fr-fr" sz="1400" b="0" i="0" u="none" strike="noStrike" kern="1200" cap="none" spc="0" normalizeH="0" baseline="0" noProof="0">
                <a:ln>
                  <a:noFill/>
                </a:ln>
                <a:solidFill>
                  <a:srgbClr val="000000"/>
                </a:solidFill>
                <a:effectLst/>
                <a:uLnTx/>
                <a:uFillTx/>
                <a:latin typeface="Segoe UI"/>
                <a:ea typeface="+mn-ea"/>
                <a:cs typeface="+mn-cs"/>
              </a:rPr>
            </a:br>
            <a:r>
              <a:rPr kumimoji="0" lang="fr-fr" sz="1400" b="0" i="0" u="none" strike="noStrike" kern="1200" cap="none" spc="0" normalizeH="0" baseline="0" noProof="0">
                <a:ln>
                  <a:noFill/>
                </a:ln>
                <a:solidFill>
                  <a:srgbClr val="000000"/>
                </a:solidFill>
                <a:effectLst/>
                <a:uLnTx/>
                <a:uFillTx/>
                <a:latin typeface="Segoe UI"/>
                <a:ea typeface="+mn-ea"/>
                <a:cs typeface="+mn-cs"/>
              </a:rPr>
              <a:t>métiers IA</a:t>
            </a:r>
            <a:endParaRPr lang="en-US" sz="1400" b="0" i="0" u="none" strike="noStrike" kern="1200" cap="none" spc="0" normalizeH="0" baseline="0" noProof="0">
              <a:ln>
                <a:noFill/>
              </a:ln>
              <a:solidFill>
                <a:srgbClr val="000000"/>
              </a:solidFill>
              <a:effectLst/>
              <a:uLnTx/>
              <a:uFillTx/>
              <a:latin typeface="Segoe UI"/>
              <a:cs typeface="Segoe UI"/>
            </a:endParaRPr>
          </a:p>
        </p:txBody>
      </p:sp>
      <p:pic>
        <p:nvPicPr>
          <p:cNvPr id="9" name="Picture 2">
            <a:extLst>
              <a:ext uri="{FF2B5EF4-FFF2-40B4-BE49-F238E27FC236}">
                <a16:creationId xmlns:a16="http://schemas.microsoft.com/office/drawing/2014/main" id="{A4336D9C-B89C-08FE-795B-12977A879D68}"/>
              </a:ext>
            </a:extLst>
          </p:cNvPr>
          <p:cNvPicPr>
            <a:picLocks noChangeAspect="1" noChangeArrowheads="1"/>
          </p:cNvPicPr>
          <p:nvPr/>
        </p:nvPicPr>
        <p:blipFill rotWithShape="1">
          <a:blip r:embed="rId3"/>
          <a:srcRect l="14650" t="32747" r="9948" b="33522"/>
          <a:stretch/>
        </p:blipFill>
        <p:spPr bwMode="auto">
          <a:xfrm>
            <a:off x="5536643" y="4889463"/>
            <a:ext cx="1115944" cy="22375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5B76082E-8B50-59BF-1B57-9DAA00FCDB56}"/>
              </a:ext>
            </a:extLst>
          </p:cNvPr>
          <p:cNvSpPr txBox="1"/>
          <p:nvPr/>
        </p:nvSpPr>
        <p:spPr>
          <a:xfrm>
            <a:off x="7572771" y="3808725"/>
            <a:ext cx="54" cy="22892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BAE4C252-DA4C-1B25-DFA3-7D8CBD2E6F02}"/>
              </a:ext>
            </a:extLst>
          </p:cNvPr>
          <p:cNvSpPr txBox="1"/>
          <p:nvPr/>
        </p:nvSpPr>
        <p:spPr>
          <a:xfrm>
            <a:off x="7572771" y="4561197"/>
            <a:ext cx="54" cy="178053"/>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Rounded Corners 41">
            <a:extLst>
              <a:ext uri="{FF2B5EF4-FFF2-40B4-BE49-F238E27FC236}">
                <a16:creationId xmlns:a16="http://schemas.microsoft.com/office/drawing/2014/main" id="{C5F3EC9A-A460-545E-1592-8AE6B0939F46}"/>
              </a:ext>
            </a:extLst>
          </p:cNvPr>
          <p:cNvSpPr/>
          <p:nvPr/>
        </p:nvSpPr>
        <p:spPr>
          <a:xfrm>
            <a:off x="1983336" y="1580753"/>
            <a:ext cx="2145128" cy="3435752"/>
          </a:xfrm>
          <a:prstGeom prst="roundRect">
            <a:avLst>
              <a:gd name="adj" fmla="val 7205"/>
            </a:avLst>
          </a:prstGeom>
          <a:solidFill>
            <a:srgbClr val="008DC7"/>
          </a:solidFill>
          <a:ln w="12700" cap="flat" cmpd="sng" algn="ctr">
            <a:noFill/>
            <a:prstDash val="solid"/>
            <a:miter lim="800000"/>
          </a:ln>
          <a:effectLst>
            <a:outerShdw blurRad="63500" sx="102000" sy="102000" algn="ctr" rotWithShape="0">
              <a:prstClr val="black">
                <a:alpha val="40000"/>
              </a:prstClr>
            </a:outerShdw>
          </a:effectLst>
        </p:spPr>
        <p:style>
          <a:lnRef idx="0">
            <a:scrgbClr r="0" g="0" b="0"/>
          </a:lnRef>
          <a:fillRef idx="0">
            <a:scrgbClr r="0" g="0" b="0"/>
          </a:fillRef>
          <a:effectRef idx="0">
            <a:scrgbClr r="0" g="0" b="0"/>
          </a:effectRef>
          <a:fontRef idx="major"/>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white"/>
              </a:solidFill>
              <a:effectLst/>
              <a:uLnTx/>
              <a:uFillTx/>
              <a:latin typeface="Calibri" panose="020F0502020204030204"/>
              <a:ea typeface="+mj-ea"/>
              <a:cs typeface="+mj-cs"/>
            </a:endParaRPr>
          </a:p>
        </p:txBody>
      </p:sp>
      <p:sp>
        <p:nvSpPr>
          <p:cNvPr id="19" name="TextBox 18">
            <a:extLst>
              <a:ext uri="{FF2B5EF4-FFF2-40B4-BE49-F238E27FC236}">
                <a16:creationId xmlns:a16="http://schemas.microsoft.com/office/drawing/2014/main" id="{10BBB82E-E493-A4C2-B700-5B51FF40B709}"/>
              </a:ext>
            </a:extLst>
          </p:cNvPr>
          <p:cNvSpPr txBox="1"/>
          <p:nvPr/>
        </p:nvSpPr>
        <p:spPr>
          <a:xfrm>
            <a:off x="1848886" y="3808725"/>
            <a:ext cx="54" cy="22892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a:ea typeface="+mn-ea"/>
              <a:cs typeface="+mn-cs"/>
            </a:endParaRPr>
          </a:p>
        </p:txBody>
      </p:sp>
      <p:sp>
        <p:nvSpPr>
          <p:cNvPr id="20" name="TextBox 19">
            <a:extLst>
              <a:ext uri="{FF2B5EF4-FFF2-40B4-BE49-F238E27FC236}">
                <a16:creationId xmlns:a16="http://schemas.microsoft.com/office/drawing/2014/main" id="{BAE003F4-FBC2-8C8A-65C0-D34BB8C9EE21}"/>
              </a:ext>
            </a:extLst>
          </p:cNvPr>
          <p:cNvSpPr txBox="1"/>
          <p:nvPr/>
        </p:nvSpPr>
        <p:spPr>
          <a:xfrm>
            <a:off x="1848886" y="4561197"/>
            <a:ext cx="54" cy="178053"/>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Rectangle: Rounded Corners 48">
            <a:extLst>
              <a:ext uri="{FF2B5EF4-FFF2-40B4-BE49-F238E27FC236}">
                <a16:creationId xmlns:a16="http://schemas.microsoft.com/office/drawing/2014/main" id="{C6C06C01-0DF2-9DC8-EA98-8CF8E6A4C0E4}"/>
              </a:ext>
            </a:extLst>
          </p:cNvPr>
          <p:cNvSpPr/>
          <p:nvPr/>
        </p:nvSpPr>
        <p:spPr bwMode="auto">
          <a:xfrm>
            <a:off x="2878123" y="1702646"/>
            <a:ext cx="406345" cy="120616"/>
          </a:xfrm>
          <a:prstGeom prst="roundRect">
            <a:avLst/>
          </a:prstGeom>
          <a:solidFill>
            <a:srgbClr val="FFFFFF"/>
          </a:solidFill>
          <a:ln>
            <a:noFill/>
            <a:headEnd type="none" w="med" len="med"/>
            <a:tailEnd type="none" w="med" len="med"/>
          </a:ln>
          <a:effectLst>
            <a:innerShdw blurRad="63500" dist="50800" dir="16200000">
              <a:prstClr val="black">
                <a:alpha val="5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AU"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3" name="Round Same Side Corner Rectangle 22">
            <a:extLst>
              <a:ext uri="{FF2B5EF4-FFF2-40B4-BE49-F238E27FC236}">
                <a16:creationId xmlns:a16="http://schemas.microsoft.com/office/drawing/2014/main" id="{D7009D56-999A-F6E2-326E-0E83BA6C7218}"/>
              </a:ext>
            </a:extLst>
          </p:cNvPr>
          <p:cNvSpPr/>
          <p:nvPr/>
        </p:nvSpPr>
        <p:spPr bwMode="auto">
          <a:xfrm rot="10800000">
            <a:off x="1990072" y="3719749"/>
            <a:ext cx="2131649" cy="1542225"/>
          </a:xfrm>
          <a:prstGeom prst="round2SameRect">
            <a:avLst>
              <a:gd name="adj1" fmla="val 10228"/>
              <a:gd name="adj2" fmla="val 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E"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5" name="Picture 2">
            <a:extLst>
              <a:ext uri="{FF2B5EF4-FFF2-40B4-BE49-F238E27FC236}">
                <a16:creationId xmlns:a16="http://schemas.microsoft.com/office/drawing/2014/main" id="{7A7D87DF-0DBB-DDA6-2A93-E17C062089CF}"/>
              </a:ext>
            </a:extLst>
          </p:cNvPr>
          <p:cNvPicPr>
            <a:picLocks noChangeAspect="1" noChangeArrowheads="1"/>
          </p:cNvPicPr>
          <p:nvPr/>
        </p:nvPicPr>
        <p:blipFill rotWithShape="1">
          <a:blip r:embed="rId3"/>
          <a:srcRect l="14650" t="32747" r="9948" b="33522"/>
          <a:stretch/>
        </p:blipFill>
        <p:spPr bwMode="auto">
          <a:xfrm>
            <a:off x="2143127" y="4889463"/>
            <a:ext cx="1115944" cy="22375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9CF66326-7BA6-72D0-37FA-687C6EFB5CCE}"/>
              </a:ext>
            </a:extLst>
          </p:cNvPr>
          <p:cNvSpPr txBox="1"/>
          <p:nvPr/>
        </p:nvSpPr>
        <p:spPr>
          <a:xfrm>
            <a:off x="4135191" y="3808725"/>
            <a:ext cx="54" cy="22892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a:ea typeface="+mn-ea"/>
              <a:cs typeface="+mn-cs"/>
            </a:endParaRPr>
          </a:p>
        </p:txBody>
      </p:sp>
      <p:sp>
        <p:nvSpPr>
          <p:cNvPr id="28" name="TextBox 27">
            <a:extLst>
              <a:ext uri="{FF2B5EF4-FFF2-40B4-BE49-F238E27FC236}">
                <a16:creationId xmlns:a16="http://schemas.microsoft.com/office/drawing/2014/main" id="{D560D8FD-44F4-B6C4-00E9-14723A08D911}"/>
              </a:ext>
            </a:extLst>
          </p:cNvPr>
          <p:cNvSpPr txBox="1"/>
          <p:nvPr/>
        </p:nvSpPr>
        <p:spPr>
          <a:xfrm>
            <a:off x="4135191" y="4561197"/>
            <a:ext cx="54" cy="178053"/>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TextBox 15">
            <a:extLst>
              <a:ext uri="{FF2B5EF4-FFF2-40B4-BE49-F238E27FC236}">
                <a16:creationId xmlns:a16="http://schemas.microsoft.com/office/drawing/2014/main" id="{6B1AAE3B-F6F0-6F7B-EBA5-0284D10246C0}"/>
              </a:ext>
            </a:extLst>
          </p:cNvPr>
          <p:cNvSpPr txBox="1"/>
          <p:nvPr/>
        </p:nvSpPr>
        <p:spPr>
          <a:xfrm>
            <a:off x="559288" y="3824366"/>
            <a:ext cx="4965232" cy="861774"/>
          </a:xfrm>
          <a:prstGeom prst="rect">
            <a:avLst/>
          </a:prstGeom>
          <a:noFill/>
        </p:spPr>
        <p:txBody>
          <a:bodyPr wrap="square" lIns="0" tIns="0" rIns="0" bIns="0" rtlCol="0" anchor="t">
            <a:spAutoFit/>
          </a:bodyPr>
          <a:lstStyle/>
          <a:p>
            <a:pPr lvl="0" algn="ctr">
              <a:defRPr/>
            </a:pPr>
            <a:r>
              <a:rPr lang="fr-fr" sz="1400" b="1">
                <a:solidFill>
                  <a:srgbClr val="212121"/>
                </a:solidFill>
                <a:latin typeface="Segoe UI"/>
                <a:cs typeface="Segoe UI"/>
              </a:rPr>
              <a:t>Pete Puustinen</a:t>
            </a:r>
            <a:r>
              <a:rPr lang="fr-fr" sz="1400" b="1">
                <a:solidFill>
                  <a:schemeClr val="bg1"/>
                </a:solidFill>
                <a:latin typeface="Segoe UI"/>
              </a:rPr>
              <a:t> </a:t>
            </a:r>
            <a:br>
              <a:rPr/>
            </a:br>
            <a:r>
              <a:rPr lang="fr-fr" sz="1400">
                <a:solidFill>
                  <a:srgbClr val="000000"/>
                </a:solidFill>
                <a:latin typeface="Segoe UI"/>
              </a:rPr>
              <a:t>Architecte de solutions </a:t>
            </a:r>
            <a:br>
              <a:rPr lang="fr-fr" sz="1400">
                <a:solidFill>
                  <a:srgbClr val="000000"/>
                </a:solidFill>
                <a:latin typeface="Segoe UI"/>
              </a:rPr>
            </a:br>
            <a:r>
              <a:rPr lang="fr-fr" sz="1400">
                <a:solidFill>
                  <a:srgbClr val="000000"/>
                </a:solidFill>
                <a:latin typeface="Segoe UI"/>
              </a:rPr>
              <a:t>Cloud Solutions </a:t>
            </a:r>
            <a:br>
              <a:rPr lang="fr-fr" sz="1400">
                <a:solidFill>
                  <a:srgbClr val="000000"/>
                </a:solidFill>
                <a:latin typeface="Segoe UI"/>
              </a:rPr>
            </a:br>
            <a:r>
              <a:rPr lang="fr-fr" sz="1400">
                <a:solidFill>
                  <a:srgbClr val="000000"/>
                </a:solidFill>
                <a:latin typeface="Segoe UI"/>
              </a:rPr>
              <a:t>métiers IA</a:t>
            </a:r>
            <a:endParaRPr lang="en-US" sz="1400">
              <a:solidFill>
                <a:srgbClr val="000000"/>
              </a:solidFill>
              <a:latin typeface="Segoe UI"/>
              <a:cs typeface="Segoe UI"/>
            </a:endParaRPr>
          </a:p>
        </p:txBody>
      </p:sp>
      <p:pic>
        <p:nvPicPr>
          <p:cNvPr id="10" name="Picture 2" descr="Personne prenant un selfie devant une cascade  Le contenu généré par IA peut être incorrect.">
            <a:extLst>
              <a:ext uri="{FF2B5EF4-FFF2-40B4-BE49-F238E27FC236}">
                <a16:creationId xmlns:a16="http://schemas.microsoft.com/office/drawing/2014/main" id="{258FD311-5464-130B-78C8-077EA57CACFC}"/>
              </a:ext>
            </a:extLst>
          </p:cNvPr>
          <p:cNvPicPr>
            <a:picLocks noChangeAspect="1" noChangeArrowheads="1"/>
          </p:cNvPicPr>
          <p:nvPr/>
        </p:nvPicPr>
        <p:blipFill>
          <a:blip r:embed="rId4"/>
          <a:srcRect/>
          <a:stretch>
            <a:fillRect/>
          </a:stretch>
        </p:blipFill>
        <p:spPr bwMode="auto">
          <a:xfrm>
            <a:off x="2241804" y="1971405"/>
            <a:ext cx="1600200" cy="1600200"/>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1026" name="Picture 2" descr="Personne portant un cordon et se tenant devant un mur coloré  Le contenu généré par IA peut être incorrect.">
            <a:extLst>
              <a:ext uri="{FF2B5EF4-FFF2-40B4-BE49-F238E27FC236}">
                <a16:creationId xmlns:a16="http://schemas.microsoft.com/office/drawing/2014/main" id="{4F84282E-6CC2-2ADA-A5CE-FD98A2C85D5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30235" y="1823262"/>
            <a:ext cx="2038350" cy="193357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A5203B58-A9C5-6ABC-5123-779BC5CED85C}"/>
              </a:ext>
            </a:extLst>
          </p:cNvPr>
          <p:cNvSpPr/>
          <p:nvPr/>
        </p:nvSpPr>
        <p:spPr>
          <a:xfrm>
            <a:off x="8622524" y="1559077"/>
            <a:ext cx="2145128" cy="3435752"/>
          </a:xfrm>
          <a:prstGeom prst="roundRect">
            <a:avLst>
              <a:gd name="adj" fmla="val 7205"/>
            </a:avLst>
          </a:prstGeom>
          <a:solidFill>
            <a:srgbClr val="008DC7"/>
          </a:solidFill>
          <a:ln w="12700" cap="flat" cmpd="sng" algn="ctr">
            <a:noFill/>
            <a:prstDash val="solid"/>
            <a:miter lim="800000"/>
          </a:ln>
          <a:effectLst>
            <a:outerShdw blurRad="63500" sx="102000" sy="102000" algn="ctr" rotWithShape="0">
              <a:prstClr val="black">
                <a:alpha val="40000"/>
              </a:prstClr>
            </a:outerShdw>
          </a:effectLst>
        </p:spPr>
        <p:style>
          <a:lnRef idx="0">
            <a:scrgbClr r="0" g="0" b="0"/>
          </a:lnRef>
          <a:fillRef idx="0">
            <a:scrgbClr r="0" g="0" b="0"/>
          </a:fillRef>
          <a:effectRef idx="0">
            <a:scrgbClr r="0" g="0" b="0"/>
          </a:effectRef>
          <a:fontRef idx="major"/>
        </p:style>
        <p:txBody>
          <a:bodyPr rtlCol="0" anchor="ctr"/>
          <a:lstStyle>
            <a:defPPr>
              <a:defRPr lang="en-US"/>
            </a:defPPr>
            <a:lvl1pPr marL="0" algn="l" defTabSz="914367" rtl="0" eaLnBrk="1" latinLnBrk="0" hangingPunct="1">
              <a:defRPr sz="1765" kern="1200">
                <a:solidFill>
                  <a:schemeClr val="tx1"/>
                </a:solidFill>
                <a:latin typeface="+mj-lt"/>
                <a:ea typeface="+mj-ea"/>
                <a:cs typeface="+mj-cs"/>
              </a:defRPr>
            </a:lvl1pPr>
            <a:lvl2pPr marL="457183" algn="l" defTabSz="914367" rtl="0" eaLnBrk="1" latinLnBrk="0" hangingPunct="1">
              <a:defRPr sz="1765" kern="1200">
                <a:solidFill>
                  <a:schemeClr val="tx1"/>
                </a:solidFill>
                <a:latin typeface="+mj-lt"/>
                <a:ea typeface="+mj-ea"/>
                <a:cs typeface="+mj-cs"/>
              </a:defRPr>
            </a:lvl2pPr>
            <a:lvl3pPr marL="914367" algn="l" defTabSz="914367" rtl="0" eaLnBrk="1" latinLnBrk="0" hangingPunct="1">
              <a:defRPr sz="1765" kern="1200">
                <a:solidFill>
                  <a:schemeClr val="tx1"/>
                </a:solidFill>
                <a:latin typeface="+mj-lt"/>
                <a:ea typeface="+mj-ea"/>
                <a:cs typeface="+mj-cs"/>
              </a:defRPr>
            </a:lvl3pPr>
            <a:lvl4pPr marL="1371550" algn="l" defTabSz="914367" rtl="0" eaLnBrk="1" latinLnBrk="0" hangingPunct="1">
              <a:defRPr sz="1765" kern="1200">
                <a:solidFill>
                  <a:schemeClr val="tx1"/>
                </a:solidFill>
                <a:latin typeface="+mj-lt"/>
                <a:ea typeface="+mj-ea"/>
                <a:cs typeface="+mj-cs"/>
              </a:defRPr>
            </a:lvl4pPr>
            <a:lvl5pPr marL="1828734" algn="l" defTabSz="914367" rtl="0" eaLnBrk="1" latinLnBrk="0" hangingPunct="1">
              <a:defRPr sz="1765" kern="1200">
                <a:solidFill>
                  <a:schemeClr val="tx1"/>
                </a:solidFill>
                <a:latin typeface="+mj-lt"/>
                <a:ea typeface="+mj-ea"/>
                <a:cs typeface="+mj-cs"/>
              </a:defRPr>
            </a:lvl5pPr>
            <a:lvl6pPr marL="2285918" algn="l" defTabSz="914367" rtl="0" eaLnBrk="1" latinLnBrk="0" hangingPunct="1">
              <a:defRPr sz="1765" kern="1200">
                <a:solidFill>
                  <a:schemeClr val="tx1"/>
                </a:solidFill>
                <a:latin typeface="+mj-lt"/>
                <a:ea typeface="+mj-ea"/>
                <a:cs typeface="+mj-cs"/>
              </a:defRPr>
            </a:lvl6pPr>
            <a:lvl7pPr marL="2743101" algn="l" defTabSz="914367" rtl="0" eaLnBrk="1" latinLnBrk="0" hangingPunct="1">
              <a:defRPr sz="1765" kern="1200">
                <a:solidFill>
                  <a:schemeClr val="tx1"/>
                </a:solidFill>
                <a:latin typeface="+mj-lt"/>
                <a:ea typeface="+mj-ea"/>
                <a:cs typeface="+mj-cs"/>
              </a:defRPr>
            </a:lvl7pPr>
            <a:lvl8pPr marL="3200284" algn="l" defTabSz="914367" rtl="0" eaLnBrk="1" latinLnBrk="0" hangingPunct="1">
              <a:defRPr sz="1765" kern="1200">
                <a:solidFill>
                  <a:schemeClr val="tx1"/>
                </a:solidFill>
                <a:latin typeface="+mj-lt"/>
                <a:ea typeface="+mj-ea"/>
                <a:cs typeface="+mj-cs"/>
              </a:defRPr>
            </a:lvl8pPr>
            <a:lvl9pPr marL="3657469" algn="l" defTabSz="914367" rtl="0" eaLnBrk="1" latinLnBrk="0" hangingPunct="1">
              <a:defRPr sz="1765" kern="1200">
                <a:solidFill>
                  <a:schemeClr val="tx1"/>
                </a:solidFill>
                <a:latin typeface="+mj-lt"/>
                <a:ea typeface="+mj-ea"/>
                <a:cs typeface="+mj-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white"/>
              </a:solidFill>
              <a:effectLst/>
              <a:uLnTx/>
              <a:uFillTx/>
              <a:latin typeface="Calibri" panose="020F0502020204030204"/>
              <a:ea typeface="+mj-ea"/>
              <a:cs typeface="+mj-cs"/>
            </a:endParaRPr>
          </a:p>
        </p:txBody>
      </p:sp>
      <p:sp>
        <p:nvSpPr>
          <p:cNvPr id="13" name="TextBox 2">
            <a:extLst>
              <a:ext uri="{FF2B5EF4-FFF2-40B4-BE49-F238E27FC236}">
                <a16:creationId xmlns:a16="http://schemas.microsoft.com/office/drawing/2014/main" id="{470FA7E3-4D38-7140-A9F7-161217DA2E40}"/>
              </a:ext>
            </a:extLst>
          </p:cNvPr>
          <p:cNvSpPr txBox="1"/>
          <p:nvPr/>
        </p:nvSpPr>
        <p:spPr>
          <a:xfrm>
            <a:off x="8488074" y="3787049"/>
            <a:ext cx="54" cy="228925"/>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a:ea typeface="+mn-ea"/>
              <a:cs typeface="+mn-cs"/>
            </a:endParaRPr>
          </a:p>
        </p:txBody>
      </p:sp>
      <p:sp>
        <p:nvSpPr>
          <p:cNvPr id="14" name="TextBox 3">
            <a:extLst>
              <a:ext uri="{FF2B5EF4-FFF2-40B4-BE49-F238E27FC236}">
                <a16:creationId xmlns:a16="http://schemas.microsoft.com/office/drawing/2014/main" id="{211D16B4-8BF4-92F9-92A3-B088AD848836}"/>
              </a:ext>
            </a:extLst>
          </p:cNvPr>
          <p:cNvSpPr txBox="1"/>
          <p:nvPr/>
        </p:nvSpPr>
        <p:spPr>
          <a:xfrm>
            <a:off x="8488074" y="4539521"/>
            <a:ext cx="54" cy="178053"/>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Rectangle: Rounded Corners 14">
            <a:extLst>
              <a:ext uri="{FF2B5EF4-FFF2-40B4-BE49-F238E27FC236}">
                <a16:creationId xmlns:a16="http://schemas.microsoft.com/office/drawing/2014/main" id="{7F2E367F-1FC3-41FE-16D9-B0B8C070833C}"/>
              </a:ext>
            </a:extLst>
          </p:cNvPr>
          <p:cNvSpPr/>
          <p:nvPr/>
        </p:nvSpPr>
        <p:spPr bwMode="auto">
          <a:xfrm>
            <a:off x="9517311" y="1680970"/>
            <a:ext cx="406345" cy="120616"/>
          </a:xfrm>
          <a:prstGeom prst="roundRect">
            <a:avLst/>
          </a:prstGeom>
          <a:solidFill>
            <a:srgbClr val="FFFFFF"/>
          </a:solidFill>
          <a:ln>
            <a:noFill/>
            <a:headEnd type="none" w="med" len="med"/>
            <a:tailEnd type="none" w="med" len="med"/>
          </a:ln>
          <a:effectLst>
            <a:innerShdw blurRad="63500" dist="50800" dir="16200000">
              <a:prstClr val="black">
                <a:alpha val="50000"/>
              </a:prstClr>
            </a:inn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AU"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7" name="Round Same Side Corner Rectangle 6">
            <a:extLst>
              <a:ext uri="{FF2B5EF4-FFF2-40B4-BE49-F238E27FC236}">
                <a16:creationId xmlns:a16="http://schemas.microsoft.com/office/drawing/2014/main" id="{98599650-9C9A-8444-B6D6-6267564573E9}"/>
              </a:ext>
            </a:extLst>
          </p:cNvPr>
          <p:cNvSpPr/>
          <p:nvPr/>
        </p:nvSpPr>
        <p:spPr bwMode="auto">
          <a:xfrm rot="10800000">
            <a:off x="8629260" y="3698073"/>
            <a:ext cx="2131649" cy="1542225"/>
          </a:xfrm>
          <a:prstGeom prst="round2SameRect">
            <a:avLst>
              <a:gd name="adj1" fmla="val 10228"/>
              <a:gd name="adj2" fmla="val 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E"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TextBox 7">
            <a:extLst>
              <a:ext uri="{FF2B5EF4-FFF2-40B4-BE49-F238E27FC236}">
                <a16:creationId xmlns:a16="http://schemas.microsoft.com/office/drawing/2014/main" id="{5B6BAA21-CCDF-AB0B-C3E7-0CCCB1181CA0}"/>
              </a:ext>
            </a:extLst>
          </p:cNvPr>
          <p:cNvSpPr txBox="1"/>
          <p:nvPr/>
        </p:nvSpPr>
        <p:spPr>
          <a:xfrm>
            <a:off x="8644507" y="3765272"/>
            <a:ext cx="2101152" cy="646331"/>
          </a:xfrm>
          <a:prstGeom prst="rect">
            <a:avLst/>
          </a:prstGeom>
          <a:noFill/>
        </p:spPr>
        <p:txBody>
          <a:bodyPr wrap="none" lIns="0" tIns="0" rIns="0" bIns="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0000"/>
                </a:solidFill>
                <a:effectLst/>
                <a:uLnTx/>
                <a:uFillTx/>
                <a:latin typeface="Segoe UI"/>
                <a:ea typeface="+mn-ea"/>
                <a:cs typeface="+mn-cs"/>
              </a:rPr>
              <a:t>Mike Francis </a:t>
            </a:r>
            <a:endParaRPr kumimoji="0" lang="en-US" sz="1400" b="1" i="0" u="none" strike="noStrike" kern="1200" cap="none" spc="0" normalizeH="0" baseline="0" noProof="0">
              <a:ln>
                <a:noFill/>
              </a:ln>
              <a:solidFill>
                <a:srgbClr val="000000"/>
              </a:solidFill>
              <a:effectLst/>
              <a:uLnTx/>
              <a:uFillTx/>
              <a:latin typeface="Segoe UI"/>
              <a:ea typeface="+mn-ea"/>
              <a:cs typeface="Segoe UI"/>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20" normalizeH="0" noProof="0">
                <a:ln>
                  <a:noFill/>
                </a:ln>
                <a:solidFill>
                  <a:srgbClr val="000000"/>
                </a:solidFill>
                <a:effectLst/>
                <a:uLnTx/>
                <a:uFillTx/>
                <a:latin typeface="Segoe UI"/>
                <a:ea typeface="+mn-ea"/>
                <a:cs typeface="+mn-cs"/>
              </a:rPr>
              <a:t>Architecte de </a:t>
            </a:r>
            <a:r>
              <a:rPr kumimoji="0" lang="fr-FR" sz="1400" b="0" i="0" u="none" strike="noStrike" kern="1200" cap="none" spc="-20" normalizeH="0" noProof="0">
                <a:ln>
                  <a:noFill/>
                </a:ln>
                <a:solidFill>
                  <a:srgbClr val="000000"/>
                </a:solidFill>
                <a:effectLst/>
                <a:uLnTx/>
                <a:uFillTx/>
                <a:latin typeface="Segoe UI"/>
                <a:ea typeface="+mn-ea"/>
                <a:cs typeface="+mn-cs"/>
              </a:rPr>
              <a:t>solutions</a:t>
            </a:r>
            <a:r>
              <a:rPr kumimoji="0" lang="fr-fr" sz="1400" b="0" i="0" u="none" strike="noStrike" kern="1200" cap="none" spc="-20" normalizeH="0" noProof="0">
                <a:ln>
                  <a:noFill/>
                </a:ln>
                <a:solidFill>
                  <a:srgbClr val="000000"/>
                </a:solidFill>
                <a:effectLst/>
                <a:uLnTx/>
                <a:uFillTx/>
                <a:latin typeface="Segoe UI"/>
                <a:ea typeface="+mn-ea"/>
                <a:cs typeface="+mn-cs"/>
              </a:rPr>
              <a:t> </a:t>
            </a:r>
            <a:br>
              <a:rPr kumimoji="0" lang="fr-fr" sz="1400" b="0" i="0" u="none" strike="noStrike" kern="1200" cap="none" spc="-20" normalizeH="0" noProof="0">
                <a:ln>
                  <a:noFill/>
                </a:ln>
                <a:solidFill>
                  <a:srgbClr val="000000"/>
                </a:solidFill>
                <a:effectLst/>
                <a:uLnTx/>
                <a:uFillTx/>
                <a:latin typeface="Segoe UI"/>
                <a:ea typeface="+mn-ea"/>
                <a:cs typeface="+mn-cs"/>
              </a:rPr>
            </a:br>
            <a:r>
              <a:rPr kumimoji="0" lang="fr-fr" sz="1400" b="0" i="0" u="none" strike="noStrike" kern="1200" cap="none" spc="-20" normalizeH="0" noProof="0">
                <a:ln>
                  <a:noFill/>
                </a:ln>
                <a:solidFill>
                  <a:srgbClr val="000000"/>
                </a:solidFill>
                <a:effectLst/>
                <a:uLnTx/>
                <a:uFillTx/>
                <a:latin typeface="Segoe UI"/>
                <a:ea typeface="+mn-ea"/>
                <a:cs typeface="+mn-cs"/>
              </a:rPr>
              <a:t>Cloud</a:t>
            </a:r>
            <a:r>
              <a:rPr kumimoji="0" lang="fr-fr" sz="1400" b="0" i="0" u="none" strike="noStrike" kern="1200" cap="none" spc="-20" normalizeH="0" noProof="0">
                <a:ln>
                  <a:noFill/>
                </a:ln>
                <a:solidFill>
                  <a:srgbClr val="FFFFFF"/>
                </a:solidFill>
                <a:effectLst/>
                <a:uLnTx/>
                <a:uFillTx/>
                <a:latin typeface="Segoe UI"/>
                <a:ea typeface="+mn-ea"/>
                <a:cs typeface="+mn-cs"/>
              </a:rPr>
              <a:t> </a:t>
            </a:r>
            <a:r>
              <a:rPr kumimoji="0" lang="fr-fr" sz="1400" b="0" i="0" u="none" strike="noStrike" kern="1200" cap="none" spc="-20" normalizeH="0" noProof="0">
                <a:ln>
                  <a:noFill/>
                </a:ln>
                <a:solidFill>
                  <a:srgbClr val="000000"/>
                </a:solidFill>
                <a:effectLst/>
                <a:uLnTx/>
                <a:uFillTx/>
                <a:latin typeface="Segoe UI"/>
                <a:ea typeface="+mn-ea"/>
                <a:cs typeface="+mn-cs"/>
              </a:rPr>
              <a:t>Solutions métiers IA</a:t>
            </a:r>
            <a:endParaRPr kumimoji="0" lang="en-US" sz="1400" b="0" i="0" u="none" strike="noStrike" kern="1200" cap="none" spc="-20" normalizeH="0" noProof="0">
              <a:ln>
                <a:noFill/>
              </a:ln>
              <a:solidFill>
                <a:srgbClr val="000000"/>
              </a:solidFill>
              <a:effectLst/>
              <a:uLnTx/>
              <a:uFillTx/>
              <a:latin typeface="Segoe UI"/>
              <a:ea typeface="+mn-ea"/>
              <a:cs typeface="Segoe UI"/>
            </a:endParaRPr>
          </a:p>
        </p:txBody>
      </p:sp>
      <p:pic>
        <p:nvPicPr>
          <p:cNvPr id="24" name="Picture 23">
            <a:extLst>
              <a:ext uri="{FF2B5EF4-FFF2-40B4-BE49-F238E27FC236}">
                <a16:creationId xmlns:a16="http://schemas.microsoft.com/office/drawing/2014/main" id="{326117DB-BCDB-F415-D7AC-1604CD1206A0}"/>
              </a:ext>
            </a:extLst>
          </p:cNvPr>
          <p:cNvPicPr>
            <a:picLocks noChangeAspect="1" noChangeArrowheads="1"/>
          </p:cNvPicPr>
          <p:nvPr/>
        </p:nvPicPr>
        <p:blipFill rotWithShape="1">
          <a:blip r:embed="rId3"/>
          <a:srcRect l="14650" t="32747" r="9948" b="33522"/>
          <a:stretch/>
        </p:blipFill>
        <p:spPr bwMode="auto">
          <a:xfrm>
            <a:off x="8782315" y="4867787"/>
            <a:ext cx="1115944" cy="223750"/>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10">
            <a:extLst>
              <a:ext uri="{FF2B5EF4-FFF2-40B4-BE49-F238E27FC236}">
                <a16:creationId xmlns:a16="http://schemas.microsoft.com/office/drawing/2014/main" id="{360D7004-2812-4742-F0E1-E8857339C46B}"/>
              </a:ext>
            </a:extLst>
          </p:cNvPr>
          <p:cNvSpPr txBox="1"/>
          <p:nvPr/>
        </p:nvSpPr>
        <p:spPr>
          <a:xfrm>
            <a:off x="10818443" y="3787049"/>
            <a:ext cx="54" cy="228925"/>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a:ea typeface="+mn-ea"/>
              <a:cs typeface="+mn-cs"/>
            </a:endParaRPr>
          </a:p>
        </p:txBody>
      </p:sp>
      <p:sp>
        <p:nvSpPr>
          <p:cNvPr id="29" name="TextBox 11">
            <a:extLst>
              <a:ext uri="{FF2B5EF4-FFF2-40B4-BE49-F238E27FC236}">
                <a16:creationId xmlns:a16="http://schemas.microsoft.com/office/drawing/2014/main" id="{7764AA92-9EC3-FA20-B7AC-876D53DB31FB}"/>
              </a:ext>
            </a:extLst>
          </p:cNvPr>
          <p:cNvSpPr txBox="1"/>
          <p:nvPr/>
        </p:nvSpPr>
        <p:spPr>
          <a:xfrm>
            <a:off x="10818443" y="4539521"/>
            <a:ext cx="54" cy="178053"/>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pic>
        <p:nvPicPr>
          <p:cNvPr id="30" name="Picture 29" descr="Personne avec une barbe  Le contenu généré par IA peut être incorrect.">
            <a:extLst>
              <a:ext uri="{FF2B5EF4-FFF2-40B4-BE49-F238E27FC236}">
                <a16:creationId xmlns:a16="http://schemas.microsoft.com/office/drawing/2014/main" id="{E09528E2-A0FF-3633-9B23-C9BAB979710D}"/>
              </a:ext>
            </a:extLst>
          </p:cNvPr>
          <p:cNvPicPr>
            <a:picLocks noChangeAspect="1"/>
          </p:cNvPicPr>
          <p:nvPr/>
        </p:nvPicPr>
        <p:blipFill>
          <a:blip r:embed="rId6"/>
          <a:stretch>
            <a:fillRect/>
          </a:stretch>
        </p:blipFill>
        <p:spPr>
          <a:xfrm>
            <a:off x="8959742" y="2013138"/>
            <a:ext cx="1457268" cy="1460500"/>
          </a:xfrm>
          <a:prstGeom prst="ellipse">
            <a:avLst/>
          </a:prstGeom>
        </p:spPr>
      </p:pic>
    </p:spTree>
    <p:extLst>
      <p:ext uri="{BB962C8B-B14F-4D97-AF65-F5344CB8AC3E}">
        <p14:creationId xmlns:p14="http://schemas.microsoft.com/office/powerpoint/2010/main" val="47073661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gradFill>
          <a:gsLst>
            <a:gs pos="74000">
              <a:srgbClr val="B9DCD2"/>
            </a:gs>
            <a:gs pos="18000">
              <a:srgbClr val="C5B4E3"/>
            </a:gs>
          </a:gsLst>
          <a:lin ang="1800000" scaled="0"/>
        </a:gradFill>
        <a:effectLst/>
      </p:bgPr>
    </p:bg>
    <p:spTree>
      <p:nvGrpSpPr>
        <p:cNvPr id="1" name="">
          <a:extLst>
            <a:ext uri="{FF2B5EF4-FFF2-40B4-BE49-F238E27FC236}">
              <a16:creationId xmlns:a16="http://schemas.microsoft.com/office/drawing/2014/main" id="{98F328A8-4027-12CF-6C2C-5D8D109F2A1B}"/>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352E5D0B-F4AB-024A-EF48-2E38F26C5853}"/>
              </a:ext>
              <a:ext uri="{C183D7F6-B498-43B3-948B-1728B52AA6E4}">
                <adec:decorative xmlns:adec="http://schemas.microsoft.com/office/drawing/2017/decorative" val="1"/>
              </a:ext>
            </a:extLst>
          </p:cNvPr>
          <p:cNvSpPr>
            <a:spLocks/>
          </p:cNvSpPr>
          <p:nvPr/>
        </p:nvSpPr>
        <p:spPr bwMode="auto">
          <a:xfrm>
            <a:off x="3556000" y="1574800"/>
            <a:ext cx="8361679" cy="4478020"/>
          </a:xfrm>
          <a:prstGeom prst="roundRect">
            <a:avLst>
              <a:gd name="adj" fmla="val 3861"/>
            </a:avLst>
          </a:prstGeom>
          <a:solidFill>
            <a:srgbClr val="FFFFFF">
              <a:alpha val="19000"/>
            </a:srgbClr>
          </a:solidFill>
          <a:ln w="12700" cap="rnd">
            <a:solidFill>
              <a:schemeClr val="bg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717626" rtl="0" eaLnBrk="1" fontAlgn="auto" latinLnBrk="0" hangingPunct="1">
              <a:lnSpc>
                <a:spcPct val="100000"/>
              </a:lnSpc>
              <a:spcBef>
                <a:spcPts val="0"/>
              </a:spcBef>
              <a:spcAft>
                <a:spcPts val="0"/>
              </a:spcAft>
              <a:buClrTx/>
              <a:buSzTx/>
              <a:buFontTx/>
              <a:buNone/>
              <a:tabLst/>
              <a:defRPr/>
            </a:pPr>
            <a:endParaRPr kumimoji="0" lang="en-US" sz="1413" b="0" i="0" u="none" strike="noStrike" kern="1200" cap="none" spc="0" normalizeH="0" baseline="0" noProof="0" err="1">
              <a:ln>
                <a:noFill/>
              </a:ln>
              <a:solidFill>
                <a:srgbClr val="000000"/>
              </a:solidFill>
              <a:effectLst/>
              <a:uLnTx/>
              <a:uFillTx/>
              <a:latin typeface="Segoe UI"/>
              <a:ea typeface="+mn-ea"/>
              <a:cs typeface="+mn-cs"/>
            </a:endParaRPr>
          </a:p>
        </p:txBody>
      </p:sp>
      <p:sp>
        <p:nvSpPr>
          <p:cNvPr id="50" name="Title 49">
            <a:extLst>
              <a:ext uri="{FF2B5EF4-FFF2-40B4-BE49-F238E27FC236}">
                <a16:creationId xmlns:a16="http://schemas.microsoft.com/office/drawing/2014/main" id="{5E88782A-A791-E38C-4463-E9C497ABF008}"/>
              </a:ext>
            </a:extLst>
          </p:cNvPr>
          <p:cNvSpPr>
            <a:spLocks noGrp="1"/>
          </p:cNvSpPr>
          <p:nvPr>
            <p:ph type="title" idx="4294967295"/>
          </p:nvPr>
        </p:nvSpPr>
        <p:spPr>
          <a:xfrm>
            <a:off x="585216" y="457200"/>
            <a:ext cx="11017250" cy="553998"/>
          </a:xfrm>
        </p:spPr>
        <p:txBody>
          <a:bodyPr/>
          <a:lstStyle/>
          <a:p>
            <a:r>
              <a:rPr lang="fr-fr">
                <a:ea typeface="+mj-ea"/>
                <a:cs typeface="+mj-cs"/>
              </a:rPr>
              <a:t>Microsoft Entra pour Agent 365</a:t>
            </a:r>
          </a:p>
        </p:txBody>
      </p:sp>
      <p:grpSp>
        <p:nvGrpSpPr>
          <p:cNvPr id="5" name="Group 4">
            <a:extLst>
              <a:ext uri="{FF2B5EF4-FFF2-40B4-BE49-F238E27FC236}">
                <a16:creationId xmlns:a16="http://schemas.microsoft.com/office/drawing/2014/main" id="{06B10959-394A-820B-FDC0-01156F9908E8}"/>
              </a:ext>
            </a:extLst>
          </p:cNvPr>
          <p:cNvGrpSpPr/>
          <p:nvPr/>
        </p:nvGrpSpPr>
        <p:grpSpPr>
          <a:xfrm>
            <a:off x="512064" y="1574800"/>
            <a:ext cx="2826221" cy="4478020"/>
            <a:chOff x="512064" y="1574800"/>
            <a:chExt cx="2826221" cy="4478020"/>
          </a:xfrm>
        </p:grpSpPr>
        <p:sp>
          <p:nvSpPr>
            <p:cNvPr id="25" name="Rectangle: Rounded Corners 24">
              <a:extLst>
                <a:ext uri="{FF2B5EF4-FFF2-40B4-BE49-F238E27FC236}">
                  <a16:creationId xmlns:a16="http://schemas.microsoft.com/office/drawing/2014/main" id="{CD25B229-9ACC-44E5-7BA9-C3027FAFA2C3}"/>
                </a:ext>
                <a:ext uri="{C183D7F6-B498-43B3-948B-1728B52AA6E4}">
                  <adec:decorative xmlns:adec="http://schemas.microsoft.com/office/drawing/2017/decorative" val="1"/>
                </a:ext>
              </a:extLst>
            </p:cNvPr>
            <p:cNvSpPr/>
            <p:nvPr/>
          </p:nvSpPr>
          <p:spPr bwMode="auto">
            <a:xfrm>
              <a:off x="512064" y="1574800"/>
              <a:ext cx="2826221" cy="4478020"/>
            </a:xfrm>
            <a:prstGeom prst="roundRect">
              <a:avLst>
                <a:gd name="adj" fmla="val 7216"/>
              </a:avLst>
            </a:prstGeom>
            <a:solidFill>
              <a:schemeClr val="bg1"/>
            </a:solidFill>
          </p:spPr>
          <p:txBody>
            <a:bodyPr wrap="square" lIns="91440" tIns="0" rIns="91440" bIns="0" rtlCol="0" anchor="ctr" anchorCtr="0">
              <a:noAutofit/>
            </a:body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endParaRPr kumimoji="0" lang="en-US" sz="2200" b="1" i="0" u="none" strike="noStrike" kern="1200" cap="none" spc="0" normalizeH="0" baseline="0" noProof="0" err="1">
                <a:ln w="3175">
                  <a:noFill/>
                </a:ln>
                <a:gradFill>
                  <a:gsLst>
                    <a:gs pos="0">
                      <a:srgbClr val="D7D2CB">
                        <a:lumMod val="40000"/>
                        <a:lumOff val="60000"/>
                      </a:srgbClr>
                    </a:gs>
                    <a:gs pos="89908">
                      <a:srgbClr val="8661C5">
                        <a:lumMod val="40000"/>
                        <a:lumOff val="60000"/>
                      </a:srgbClr>
                    </a:gs>
                    <a:gs pos="49000">
                      <a:srgbClr val="8DE971"/>
                    </a:gs>
                  </a:gsLst>
                  <a:lin ang="13800000" scaled="0"/>
                </a:gradFill>
                <a:effectLst/>
                <a:uLnTx/>
                <a:uFillTx/>
                <a:latin typeface="Segoe UI Semibold"/>
                <a:ea typeface="+mn-ea"/>
                <a:cs typeface="Segoe Sans Display Semibold" pitchFamily="2" charset="0"/>
              </a:endParaRPr>
            </a:p>
          </p:txBody>
        </p:sp>
        <p:sp>
          <p:nvSpPr>
            <p:cNvPr id="27" name="Oval 26">
              <a:extLst>
                <a:ext uri="{FF2B5EF4-FFF2-40B4-BE49-F238E27FC236}">
                  <a16:creationId xmlns:a16="http://schemas.microsoft.com/office/drawing/2014/main" id="{FF435F14-6A08-DBFA-FF44-FD2D32F52680}"/>
                </a:ext>
                <a:ext uri="{C183D7F6-B498-43B3-948B-1728B52AA6E4}">
                  <adec:decorative xmlns:adec="http://schemas.microsoft.com/office/drawing/2017/decorative" val="1"/>
                </a:ext>
              </a:extLst>
            </p:cNvPr>
            <p:cNvSpPr/>
            <p:nvPr/>
          </p:nvSpPr>
          <p:spPr bwMode="auto">
            <a:xfrm>
              <a:off x="1320401" y="2365829"/>
              <a:ext cx="1209548" cy="1209548"/>
            </a:xfrm>
            <a:prstGeom prst="ellipse">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1190" tIns="208950" rIns="261190" bIns="208950" numCol="1" spcCol="0" rtlCol="0" fromWordArt="0" anchor="t" anchorCtr="0" forceAA="0" compatLnSpc="1">
              <a:prstTxWarp prst="textNoShape">
                <a:avLst/>
              </a:prstTxWarp>
              <a:noAutofit/>
            </a:bodyPr>
            <a:lstStyle/>
            <a:p>
              <a:pPr marL="0" marR="0" lvl="0" indent="0" algn="l" defTabSz="1330972" rtl="0" eaLnBrk="1" fontAlgn="base" latinLnBrk="0" hangingPunct="1">
                <a:lnSpc>
                  <a:spcPct val="100000"/>
                </a:lnSpc>
                <a:spcBef>
                  <a:spcPct val="0"/>
                </a:spcBef>
                <a:spcAft>
                  <a:spcPct val="0"/>
                </a:spcAft>
                <a:buClrTx/>
                <a:buSzTx/>
                <a:buFontTx/>
                <a:buNone/>
                <a:tabLst/>
                <a:defRPr/>
              </a:pPr>
              <a:endParaRPr kumimoji="0" lang="en-US" sz="2799" b="0" i="0" u="none" strike="noStrike" kern="1200" cap="none" spc="0" normalizeH="0" baseline="0" noProof="0">
                <a:ln>
                  <a:noFill/>
                </a:ln>
                <a:solidFill>
                  <a:srgbClr val="FFFFFF"/>
                </a:solidFill>
                <a:effectLst/>
                <a:uLnTx/>
                <a:uFillTx/>
                <a:latin typeface="Segoe Sans Text Semibold" pitchFamily="2" charset="0"/>
                <a:ea typeface="+mn-ea"/>
                <a:cs typeface="Segoe Sans Text Semibold" pitchFamily="2" charset="0"/>
              </a:endParaRPr>
            </a:p>
          </p:txBody>
        </p:sp>
        <p:sp>
          <p:nvSpPr>
            <p:cNvPr id="6" name="Graphic 2">
              <a:extLst>
                <a:ext uri="{FF2B5EF4-FFF2-40B4-BE49-F238E27FC236}">
                  <a16:creationId xmlns:a16="http://schemas.microsoft.com/office/drawing/2014/main" id="{5AE1575A-3B6E-093E-953E-6EA9DA306958}"/>
                </a:ext>
                <a:ext uri="{C183D7F6-B498-43B3-948B-1728B52AA6E4}">
                  <adec:decorative xmlns:adec="http://schemas.microsoft.com/office/drawing/2017/decorative" val="1"/>
                </a:ext>
              </a:extLst>
            </p:cNvPr>
            <p:cNvSpPr/>
            <p:nvPr/>
          </p:nvSpPr>
          <p:spPr>
            <a:xfrm>
              <a:off x="1600028" y="2677594"/>
              <a:ext cx="650294" cy="651176"/>
            </a:xfrm>
            <a:custGeom>
              <a:avLst/>
              <a:gdLst>
                <a:gd name="connsiteX0" fmla="*/ 73252 w 650294"/>
                <a:gd name="connsiteY0" fmla="*/ 0 h 651176"/>
                <a:gd name="connsiteX1" fmla="*/ 0 w 650294"/>
                <a:gd name="connsiteY1" fmla="*/ 73252 h 651176"/>
                <a:gd name="connsiteX2" fmla="*/ 0 w 650294"/>
                <a:gd name="connsiteY2" fmla="*/ 512732 h 651176"/>
                <a:gd name="connsiteX3" fmla="*/ 73252 w 650294"/>
                <a:gd name="connsiteY3" fmla="*/ 585984 h 651176"/>
                <a:gd name="connsiteX4" fmla="*/ 265791 w 650294"/>
                <a:gd name="connsiteY4" fmla="*/ 585984 h 651176"/>
                <a:gd name="connsiteX5" fmla="*/ 277381 w 650294"/>
                <a:gd name="connsiteY5" fmla="*/ 539624 h 651176"/>
                <a:gd name="connsiteX6" fmla="*/ 278033 w 650294"/>
                <a:gd name="connsiteY6" fmla="*/ 537150 h 651176"/>
                <a:gd name="connsiteX7" fmla="*/ 73252 w 650294"/>
                <a:gd name="connsiteY7" fmla="*/ 537150 h 651176"/>
                <a:gd name="connsiteX8" fmla="*/ 48835 w 650294"/>
                <a:gd name="connsiteY8" fmla="*/ 512732 h 651176"/>
                <a:gd name="connsiteX9" fmla="*/ 48835 w 650294"/>
                <a:gd name="connsiteY9" fmla="*/ 73220 h 651176"/>
                <a:gd name="connsiteX10" fmla="*/ 73252 w 650294"/>
                <a:gd name="connsiteY10" fmla="*/ 48802 h 651176"/>
                <a:gd name="connsiteX11" fmla="*/ 512732 w 650294"/>
                <a:gd name="connsiteY11" fmla="*/ 48802 h 651176"/>
                <a:gd name="connsiteX12" fmla="*/ 537150 w 650294"/>
                <a:gd name="connsiteY12" fmla="*/ 73220 h 651176"/>
                <a:gd name="connsiteX13" fmla="*/ 537150 w 650294"/>
                <a:gd name="connsiteY13" fmla="*/ 268005 h 651176"/>
                <a:gd name="connsiteX14" fmla="*/ 585984 w 650294"/>
                <a:gd name="connsiteY14" fmla="*/ 260843 h 651176"/>
                <a:gd name="connsiteX15" fmla="*/ 585984 w 650294"/>
                <a:gd name="connsiteY15" fmla="*/ 73252 h 651176"/>
                <a:gd name="connsiteX16" fmla="*/ 512732 w 650294"/>
                <a:gd name="connsiteY16" fmla="*/ 0 h 651176"/>
                <a:gd name="connsiteX17" fmla="*/ 512700 w 650294"/>
                <a:gd name="connsiteY17" fmla="*/ 0 h 651176"/>
                <a:gd name="connsiteX18" fmla="*/ 73187 w 650294"/>
                <a:gd name="connsiteY18" fmla="*/ 0 h 651176"/>
                <a:gd name="connsiteX19" fmla="*/ 402203 w 650294"/>
                <a:gd name="connsiteY19" fmla="*/ 390645 h 651176"/>
                <a:gd name="connsiteX20" fmla="*/ 268559 w 650294"/>
                <a:gd name="connsiteY20" fmla="*/ 390645 h 651176"/>
                <a:gd name="connsiteX21" fmla="*/ 244141 w 650294"/>
                <a:gd name="connsiteY21" fmla="*/ 415063 h 651176"/>
                <a:gd name="connsiteX22" fmla="*/ 268559 w 650294"/>
                <a:gd name="connsiteY22" fmla="*/ 439480 h 651176"/>
                <a:gd name="connsiteX23" fmla="*/ 353368 w 650294"/>
                <a:gd name="connsiteY23" fmla="*/ 439480 h 651176"/>
                <a:gd name="connsiteX24" fmla="*/ 402203 w 650294"/>
                <a:gd name="connsiteY24" fmla="*/ 390645 h 651176"/>
                <a:gd name="connsiteX25" fmla="*/ 187167 w 650294"/>
                <a:gd name="connsiteY25" fmla="*/ 170889 h 651176"/>
                <a:gd name="connsiteX26" fmla="*/ 154611 w 650294"/>
                <a:gd name="connsiteY26" fmla="*/ 203446 h 651176"/>
                <a:gd name="connsiteX27" fmla="*/ 122054 w 650294"/>
                <a:gd name="connsiteY27" fmla="*/ 170889 h 651176"/>
                <a:gd name="connsiteX28" fmla="*/ 154611 w 650294"/>
                <a:gd name="connsiteY28" fmla="*/ 138333 h 651176"/>
                <a:gd name="connsiteX29" fmla="*/ 187167 w 650294"/>
                <a:gd name="connsiteY29" fmla="*/ 170889 h 651176"/>
                <a:gd name="connsiteX30" fmla="*/ 268559 w 650294"/>
                <a:gd name="connsiteY30" fmla="*/ 146472 h 651176"/>
                <a:gd name="connsiteX31" fmla="*/ 244141 w 650294"/>
                <a:gd name="connsiteY31" fmla="*/ 170889 h 651176"/>
                <a:gd name="connsiteX32" fmla="*/ 268559 w 650294"/>
                <a:gd name="connsiteY32" fmla="*/ 195306 h 651176"/>
                <a:gd name="connsiteX33" fmla="*/ 447619 w 650294"/>
                <a:gd name="connsiteY33" fmla="*/ 195306 h 651176"/>
                <a:gd name="connsiteX34" fmla="*/ 472037 w 650294"/>
                <a:gd name="connsiteY34" fmla="*/ 170889 h 651176"/>
                <a:gd name="connsiteX35" fmla="*/ 447619 w 650294"/>
                <a:gd name="connsiteY35" fmla="*/ 146472 h 651176"/>
                <a:gd name="connsiteX36" fmla="*/ 268559 w 650294"/>
                <a:gd name="connsiteY36" fmla="*/ 146472 h 651176"/>
                <a:gd name="connsiteX37" fmla="*/ 268559 w 650294"/>
                <a:gd name="connsiteY37" fmla="*/ 268559 h 651176"/>
                <a:gd name="connsiteX38" fmla="*/ 244141 w 650294"/>
                <a:gd name="connsiteY38" fmla="*/ 292976 h 651176"/>
                <a:gd name="connsiteX39" fmla="*/ 268559 w 650294"/>
                <a:gd name="connsiteY39" fmla="*/ 317393 h 651176"/>
                <a:gd name="connsiteX40" fmla="*/ 447619 w 650294"/>
                <a:gd name="connsiteY40" fmla="*/ 317393 h 651176"/>
                <a:gd name="connsiteX41" fmla="*/ 472037 w 650294"/>
                <a:gd name="connsiteY41" fmla="*/ 292976 h 651176"/>
                <a:gd name="connsiteX42" fmla="*/ 447619 w 650294"/>
                <a:gd name="connsiteY42" fmla="*/ 268559 h 651176"/>
                <a:gd name="connsiteX43" fmla="*/ 268559 w 650294"/>
                <a:gd name="connsiteY43" fmla="*/ 268559 h 651176"/>
                <a:gd name="connsiteX44" fmla="*/ 154643 w 650294"/>
                <a:gd name="connsiteY44" fmla="*/ 325565 h 651176"/>
                <a:gd name="connsiteX45" fmla="*/ 187200 w 650294"/>
                <a:gd name="connsiteY45" fmla="*/ 293009 h 651176"/>
                <a:gd name="connsiteX46" fmla="*/ 154643 w 650294"/>
                <a:gd name="connsiteY46" fmla="*/ 260452 h 651176"/>
                <a:gd name="connsiteX47" fmla="*/ 122087 w 650294"/>
                <a:gd name="connsiteY47" fmla="*/ 293009 h 651176"/>
                <a:gd name="connsiteX48" fmla="*/ 154643 w 650294"/>
                <a:gd name="connsiteY48" fmla="*/ 325565 h 651176"/>
                <a:gd name="connsiteX49" fmla="*/ 187200 w 650294"/>
                <a:gd name="connsiteY49" fmla="*/ 415095 h 651176"/>
                <a:gd name="connsiteX50" fmla="*/ 154643 w 650294"/>
                <a:gd name="connsiteY50" fmla="*/ 447652 h 651176"/>
                <a:gd name="connsiteX51" fmla="*/ 122087 w 650294"/>
                <a:gd name="connsiteY51" fmla="*/ 415095 h 651176"/>
                <a:gd name="connsiteX52" fmla="*/ 154643 w 650294"/>
                <a:gd name="connsiteY52" fmla="*/ 382539 h 651176"/>
                <a:gd name="connsiteX53" fmla="*/ 187200 w 650294"/>
                <a:gd name="connsiteY53" fmla="*/ 415095 h 651176"/>
                <a:gd name="connsiteX54" fmla="*/ 524160 w 650294"/>
                <a:gd name="connsiteY54" fmla="*/ 314821 h 651176"/>
                <a:gd name="connsiteX55" fmla="*/ 332011 w 650294"/>
                <a:gd name="connsiteY55" fmla="*/ 506937 h 651176"/>
                <a:gd name="connsiteX56" fmla="*/ 308994 w 650294"/>
                <a:gd name="connsiteY56" fmla="*/ 547568 h 651176"/>
                <a:gd name="connsiteX57" fmla="*/ 294115 w 650294"/>
                <a:gd name="connsiteY57" fmla="*/ 607146 h 651176"/>
                <a:gd name="connsiteX58" fmla="*/ 337025 w 650294"/>
                <a:gd name="connsiteY58" fmla="*/ 650088 h 651176"/>
                <a:gd name="connsiteX59" fmla="*/ 396603 w 650294"/>
                <a:gd name="connsiteY59" fmla="*/ 635177 h 651176"/>
                <a:gd name="connsiteX60" fmla="*/ 437234 w 650294"/>
                <a:gd name="connsiteY60" fmla="*/ 612192 h 651176"/>
                <a:gd name="connsiteX61" fmla="*/ 629317 w 650294"/>
                <a:gd name="connsiteY61" fmla="*/ 419979 h 651176"/>
                <a:gd name="connsiteX62" fmla="*/ 627660 w 650294"/>
                <a:gd name="connsiteY62" fmla="*/ 314740 h 651176"/>
                <a:gd name="connsiteX63" fmla="*/ 524062 w 650294"/>
                <a:gd name="connsiteY63" fmla="*/ 314756 h 65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650294" h="651176">
                  <a:moveTo>
                    <a:pt x="73252" y="0"/>
                  </a:moveTo>
                  <a:cubicBezTo>
                    <a:pt x="32796" y="0"/>
                    <a:pt x="0" y="32796"/>
                    <a:pt x="0" y="73252"/>
                  </a:cubicBezTo>
                  <a:lnTo>
                    <a:pt x="0" y="512732"/>
                  </a:lnTo>
                  <a:cubicBezTo>
                    <a:pt x="0" y="553187"/>
                    <a:pt x="32796" y="585984"/>
                    <a:pt x="73252" y="585984"/>
                  </a:cubicBezTo>
                  <a:lnTo>
                    <a:pt x="265791" y="585984"/>
                  </a:lnTo>
                  <a:lnTo>
                    <a:pt x="277381" y="539624"/>
                  </a:lnTo>
                  <a:lnTo>
                    <a:pt x="278033" y="537150"/>
                  </a:lnTo>
                  <a:lnTo>
                    <a:pt x="73252" y="537150"/>
                  </a:lnTo>
                  <a:cubicBezTo>
                    <a:pt x="59767" y="537150"/>
                    <a:pt x="48835" y="526217"/>
                    <a:pt x="48835" y="512732"/>
                  </a:cubicBezTo>
                  <a:lnTo>
                    <a:pt x="48835" y="73220"/>
                  </a:lnTo>
                  <a:cubicBezTo>
                    <a:pt x="48835" y="59734"/>
                    <a:pt x="59767" y="48802"/>
                    <a:pt x="73252" y="48802"/>
                  </a:cubicBezTo>
                  <a:lnTo>
                    <a:pt x="512732" y="48802"/>
                  </a:lnTo>
                  <a:cubicBezTo>
                    <a:pt x="526217" y="48802"/>
                    <a:pt x="537150" y="59734"/>
                    <a:pt x="537150" y="73220"/>
                  </a:cubicBezTo>
                  <a:lnTo>
                    <a:pt x="537150" y="268005"/>
                  </a:lnTo>
                  <a:cubicBezTo>
                    <a:pt x="552712" y="261819"/>
                    <a:pt x="569478" y="259410"/>
                    <a:pt x="585984" y="260843"/>
                  </a:cubicBezTo>
                  <a:lnTo>
                    <a:pt x="585984" y="73252"/>
                  </a:lnTo>
                  <a:cubicBezTo>
                    <a:pt x="585984" y="32796"/>
                    <a:pt x="553187" y="0"/>
                    <a:pt x="512732" y="0"/>
                  </a:cubicBezTo>
                  <a:cubicBezTo>
                    <a:pt x="512723" y="0"/>
                    <a:pt x="512710" y="0"/>
                    <a:pt x="512700" y="0"/>
                  </a:cubicBezTo>
                  <a:lnTo>
                    <a:pt x="73187" y="0"/>
                  </a:lnTo>
                  <a:close/>
                  <a:moveTo>
                    <a:pt x="402203" y="390645"/>
                  </a:moveTo>
                  <a:lnTo>
                    <a:pt x="268559" y="390645"/>
                  </a:lnTo>
                  <a:cubicBezTo>
                    <a:pt x="255074" y="390645"/>
                    <a:pt x="244141" y="401578"/>
                    <a:pt x="244141" y="415063"/>
                  </a:cubicBezTo>
                  <a:cubicBezTo>
                    <a:pt x="244141" y="428548"/>
                    <a:pt x="255074" y="439480"/>
                    <a:pt x="268559" y="439480"/>
                  </a:cubicBezTo>
                  <a:lnTo>
                    <a:pt x="353368" y="439480"/>
                  </a:lnTo>
                  <a:lnTo>
                    <a:pt x="402203" y="390645"/>
                  </a:lnTo>
                  <a:close/>
                  <a:moveTo>
                    <a:pt x="187167" y="170889"/>
                  </a:moveTo>
                  <a:cubicBezTo>
                    <a:pt x="187167" y="188869"/>
                    <a:pt x="172591" y="203446"/>
                    <a:pt x="154611" y="203446"/>
                  </a:cubicBezTo>
                  <a:cubicBezTo>
                    <a:pt x="136630" y="203446"/>
                    <a:pt x="122054" y="188869"/>
                    <a:pt x="122054" y="170889"/>
                  </a:cubicBezTo>
                  <a:cubicBezTo>
                    <a:pt x="122054" y="152908"/>
                    <a:pt x="136630" y="138333"/>
                    <a:pt x="154611" y="138333"/>
                  </a:cubicBezTo>
                  <a:cubicBezTo>
                    <a:pt x="172591" y="138333"/>
                    <a:pt x="187167" y="152908"/>
                    <a:pt x="187167" y="170889"/>
                  </a:cubicBezTo>
                  <a:close/>
                  <a:moveTo>
                    <a:pt x="268559" y="146472"/>
                  </a:moveTo>
                  <a:cubicBezTo>
                    <a:pt x="255074" y="146472"/>
                    <a:pt x="244141" y="157404"/>
                    <a:pt x="244141" y="170889"/>
                  </a:cubicBezTo>
                  <a:cubicBezTo>
                    <a:pt x="244141" y="184374"/>
                    <a:pt x="255074" y="195306"/>
                    <a:pt x="268559" y="195306"/>
                  </a:cubicBezTo>
                  <a:lnTo>
                    <a:pt x="447619" y="195306"/>
                  </a:lnTo>
                  <a:cubicBezTo>
                    <a:pt x="461104" y="195306"/>
                    <a:pt x="472037" y="184374"/>
                    <a:pt x="472037" y="170889"/>
                  </a:cubicBezTo>
                  <a:cubicBezTo>
                    <a:pt x="472037" y="157404"/>
                    <a:pt x="461104" y="146472"/>
                    <a:pt x="447619" y="146472"/>
                  </a:cubicBezTo>
                  <a:lnTo>
                    <a:pt x="268559" y="146472"/>
                  </a:lnTo>
                  <a:close/>
                  <a:moveTo>
                    <a:pt x="268559" y="268559"/>
                  </a:moveTo>
                  <a:cubicBezTo>
                    <a:pt x="255074" y="268559"/>
                    <a:pt x="244141" y="279491"/>
                    <a:pt x="244141" y="292976"/>
                  </a:cubicBezTo>
                  <a:cubicBezTo>
                    <a:pt x="244141" y="306461"/>
                    <a:pt x="255074" y="317393"/>
                    <a:pt x="268559" y="317393"/>
                  </a:cubicBezTo>
                  <a:lnTo>
                    <a:pt x="447619" y="317393"/>
                  </a:lnTo>
                  <a:cubicBezTo>
                    <a:pt x="461104" y="317393"/>
                    <a:pt x="472037" y="306461"/>
                    <a:pt x="472037" y="292976"/>
                  </a:cubicBezTo>
                  <a:cubicBezTo>
                    <a:pt x="472037" y="279491"/>
                    <a:pt x="461104" y="268559"/>
                    <a:pt x="447619" y="268559"/>
                  </a:cubicBezTo>
                  <a:lnTo>
                    <a:pt x="268559" y="268559"/>
                  </a:lnTo>
                  <a:close/>
                  <a:moveTo>
                    <a:pt x="154643" y="325565"/>
                  </a:moveTo>
                  <a:cubicBezTo>
                    <a:pt x="172624" y="325565"/>
                    <a:pt x="187200" y="310989"/>
                    <a:pt x="187200" y="293009"/>
                  </a:cubicBezTo>
                  <a:cubicBezTo>
                    <a:pt x="187200" y="275028"/>
                    <a:pt x="172624" y="260452"/>
                    <a:pt x="154643" y="260452"/>
                  </a:cubicBezTo>
                  <a:cubicBezTo>
                    <a:pt x="136663" y="260452"/>
                    <a:pt x="122087" y="275028"/>
                    <a:pt x="122087" y="293009"/>
                  </a:cubicBezTo>
                  <a:cubicBezTo>
                    <a:pt x="122087" y="310989"/>
                    <a:pt x="136663" y="325565"/>
                    <a:pt x="154643" y="325565"/>
                  </a:cubicBezTo>
                  <a:close/>
                  <a:moveTo>
                    <a:pt x="187200" y="415095"/>
                  </a:moveTo>
                  <a:cubicBezTo>
                    <a:pt x="187200" y="433076"/>
                    <a:pt x="172624" y="447652"/>
                    <a:pt x="154643" y="447652"/>
                  </a:cubicBezTo>
                  <a:cubicBezTo>
                    <a:pt x="136663" y="447652"/>
                    <a:pt x="122087" y="433076"/>
                    <a:pt x="122087" y="415095"/>
                  </a:cubicBezTo>
                  <a:cubicBezTo>
                    <a:pt x="122087" y="397114"/>
                    <a:pt x="136663" y="382539"/>
                    <a:pt x="154643" y="382539"/>
                  </a:cubicBezTo>
                  <a:cubicBezTo>
                    <a:pt x="172624" y="382539"/>
                    <a:pt x="187200" y="397114"/>
                    <a:pt x="187200" y="415095"/>
                  </a:cubicBezTo>
                  <a:close/>
                  <a:moveTo>
                    <a:pt x="524160" y="314821"/>
                  </a:moveTo>
                  <a:lnTo>
                    <a:pt x="332011" y="506937"/>
                  </a:lnTo>
                  <a:cubicBezTo>
                    <a:pt x="320796" y="518143"/>
                    <a:pt x="312839" y="532188"/>
                    <a:pt x="308994" y="547568"/>
                  </a:cubicBezTo>
                  <a:lnTo>
                    <a:pt x="294115" y="607146"/>
                  </a:lnTo>
                  <a:cubicBezTo>
                    <a:pt x="287604" y="633094"/>
                    <a:pt x="311110" y="656567"/>
                    <a:pt x="337025" y="650088"/>
                  </a:cubicBezTo>
                  <a:lnTo>
                    <a:pt x="396603" y="635177"/>
                  </a:lnTo>
                  <a:cubicBezTo>
                    <a:pt x="411980" y="631339"/>
                    <a:pt x="426025" y="623395"/>
                    <a:pt x="437234" y="612192"/>
                  </a:cubicBezTo>
                  <a:lnTo>
                    <a:pt x="629317" y="419979"/>
                  </a:lnTo>
                  <a:cubicBezTo>
                    <a:pt x="657921" y="390460"/>
                    <a:pt x="657179" y="343344"/>
                    <a:pt x="627660" y="314740"/>
                  </a:cubicBezTo>
                  <a:cubicBezTo>
                    <a:pt x="598792" y="286764"/>
                    <a:pt x="552923" y="286771"/>
                    <a:pt x="524062" y="314756"/>
                  </a:cubicBezTo>
                  <a:close/>
                </a:path>
              </a:pathLst>
            </a:custGeom>
            <a:solidFill>
              <a:schemeClr val="bg1"/>
            </a:solidFill>
          </p:spPr>
          <p:txBody>
            <a:bodyPr wrap="square" lIns="91440" tIns="0" rIns="91440" bIns="0" rtlCol="0" anchor="ctr" anchorCtr="0">
              <a:noAutofit/>
            </a:body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endParaRPr kumimoji="0" lang="en-US" sz="2200" b="1" i="0" u="none" strike="noStrike" kern="1200" cap="none" spc="0" normalizeH="0" baseline="0" noProof="0">
                <a:ln w="3175">
                  <a:noFill/>
                </a:ln>
                <a:solidFill>
                  <a:srgbClr val="FFFFFF"/>
                </a:solidFill>
                <a:effectLst/>
                <a:uLnTx/>
                <a:uFillTx/>
                <a:latin typeface="Segoe UI Semibold"/>
                <a:ea typeface="+mn-ea"/>
                <a:cs typeface="Segoe Sans Display Semibold" pitchFamily="2" charset="0"/>
              </a:endParaRPr>
            </a:p>
          </p:txBody>
        </p:sp>
        <p:sp>
          <p:nvSpPr>
            <p:cNvPr id="26" name="TextBox 25">
              <a:extLst>
                <a:ext uri="{FF2B5EF4-FFF2-40B4-BE49-F238E27FC236}">
                  <a16:creationId xmlns:a16="http://schemas.microsoft.com/office/drawing/2014/main" id="{B1AA6865-FCA9-EDFB-4922-9F43A29340BC}"/>
                </a:ext>
              </a:extLst>
            </p:cNvPr>
            <p:cNvSpPr txBox="1"/>
            <p:nvPr/>
          </p:nvSpPr>
          <p:spPr>
            <a:xfrm>
              <a:off x="639006" y="3938400"/>
              <a:ext cx="2529426" cy="138499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2800" b="0" i="0" u="none" strike="noStrike" kern="1200" cap="none" spc="0" normalizeH="0" baseline="0" noProof="0">
                  <a:ln>
                    <a:noFill/>
                  </a:ln>
                  <a:solidFill>
                    <a:srgbClr val="000000"/>
                  </a:solidFill>
                  <a:effectLst/>
                  <a:uLnTx/>
                  <a:uFillTx/>
                  <a:latin typeface="Segoe UI Semibold"/>
                  <a:ea typeface="+mn-ea"/>
                  <a:cs typeface="+mn-cs"/>
                </a:rPr>
                <a:t>Accès sécurisé pour tous </a:t>
              </a:r>
              <a:br>
                <a:rPr kumimoji="0" lang="fr-fr" sz="2800" b="0" i="0" u="none" strike="noStrike" kern="1200" cap="none" spc="0" normalizeH="0" baseline="0" noProof="0">
                  <a:ln>
                    <a:noFill/>
                  </a:ln>
                  <a:solidFill>
                    <a:srgbClr val="000000"/>
                  </a:solidFill>
                  <a:effectLst/>
                  <a:uLnTx/>
                  <a:uFillTx/>
                  <a:latin typeface="Segoe UI Semibold"/>
                  <a:ea typeface="+mn-ea"/>
                  <a:cs typeface="+mn-cs"/>
                </a:rPr>
              </a:br>
              <a:r>
                <a:rPr kumimoji="0" lang="fr-fr" sz="2800" b="0" i="0" u="none" strike="noStrike" kern="1200" cap="none" spc="0" normalizeH="0" baseline="0" noProof="0">
                  <a:ln>
                    <a:noFill/>
                  </a:ln>
                  <a:solidFill>
                    <a:srgbClr val="000000"/>
                  </a:solidFill>
                  <a:effectLst/>
                  <a:uLnTx/>
                  <a:uFillTx/>
                  <a:latin typeface="Segoe UI Semibold"/>
                  <a:ea typeface="+mn-ea"/>
                  <a:cs typeface="+mn-cs"/>
                </a:rPr>
                <a:t>vos agents</a:t>
              </a:r>
            </a:p>
          </p:txBody>
        </p:sp>
      </p:grpSp>
      <p:grpSp>
        <p:nvGrpSpPr>
          <p:cNvPr id="2" name="Group 1">
            <a:extLst>
              <a:ext uri="{FF2B5EF4-FFF2-40B4-BE49-F238E27FC236}">
                <a16:creationId xmlns:a16="http://schemas.microsoft.com/office/drawing/2014/main" id="{7E8A73D3-D639-CAB2-CB7C-E938F8E057B0}"/>
              </a:ext>
            </a:extLst>
          </p:cNvPr>
          <p:cNvGrpSpPr/>
          <p:nvPr/>
        </p:nvGrpSpPr>
        <p:grpSpPr>
          <a:xfrm>
            <a:off x="3761435" y="1887155"/>
            <a:ext cx="7959077" cy="722827"/>
            <a:chOff x="3761435" y="1777657"/>
            <a:chExt cx="7959077" cy="722827"/>
          </a:xfrm>
        </p:grpSpPr>
        <p:sp>
          <p:nvSpPr>
            <p:cNvPr id="3" name="Oval 2">
              <a:extLst>
                <a:ext uri="{FF2B5EF4-FFF2-40B4-BE49-F238E27FC236}">
                  <a16:creationId xmlns:a16="http://schemas.microsoft.com/office/drawing/2014/main" id="{B73CCBBC-EF39-BA09-1209-3C1281C971DC}"/>
                </a:ext>
              </a:extLst>
            </p:cNvPr>
            <p:cNvSpPr/>
            <p:nvPr/>
          </p:nvSpPr>
          <p:spPr bwMode="auto">
            <a:xfrm>
              <a:off x="3761435" y="1777657"/>
              <a:ext cx="591490" cy="591490"/>
            </a:xfrm>
            <a:prstGeom prst="ellipse">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800" b="0" i="0" u="none" strike="noStrike" kern="1200" cap="none" spc="0" normalizeH="0" baseline="0" noProof="0">
                  <a:ln>
                    <a:noFill/>
                  </a:ln>
                  <a:solidFill>
                    <a:srgbClr val="000000"/>
                  </a:solidFill>
                  <a:effectLst/>
                  <a:uLnTx/>
                  <a:uFillTx/>
                  <a:latin typeface="Segoe UI Semibold"/>
                  <a:ea typeface="+mn-ea"/>
                  <a:cs typeface="+mn-cs"/>
                </a:rPr>
                <a:t>1</a:t>
              </a:r>
            </a:p>
          </p:txBody>
        </p:sp>
        <p:sp>
          <p:nvSpPr>
            <p:cNvPr id="7" name="TextBox 6">
              <a:extLst>
                <a:ext uri="{FF2B5EF4-FFF2-40B4-BE49-F238E27FC236}">
                  <a16:creationId xmlns:a16="http://schemas.microsoft.com/office/drawing/2014/main" id="{E1367897-A9D0-D581-0D0B-4B38055FB8FB}"/>
                </a:ext>
              </a:extLst>
            </p:cNvPr>
            <p:cNvSpPr txBox="1"/>
            <p:nvPr/>
          </p:nvSpPr>
          <p:spPr>
            <a:xfrm>
              <a:off x="4622799" y="1777657"/>
              <a:ext cx="7097713" cy="722827"/>
            </a:xfrm>
            <a:prstGeom prst="rect">
              <a:avLst/>
            </a:prstGeom>
            <a:noFill/>
            <a:ln>
              <a:noFill/>
            </a:ln>
          </p:spPr>
          <p:txBody>
            <a:bodyPr wrap="square" lIns="0" tIns="0" rIns="0" bIns="0" rtlCol="0" anchor="t">
              <a:spAutoFit/>
            </a:bodyPr>
            <a:lstStyle/>
            <a:p>
              <a:pPr marL="0" marR="0" lvl="0" indent="0" algn="l" defTabSz="914367" rtl="0" eaLnBrk="1" fontAlgn="auto" latinLnBrk="0" hangingPunct="1">
                <a:lnSpc>
                  <a:spcPct val="114000"/>
                </a:lnSpc>
                <a:spcBef>
                  <a:spcPts val="0"/>
                </a:spcBef>
                <a:spcAft>
                  <a:spcPts val="600"/>
                </a:spcAft>
                <a:buClrTx/>
                <a:buSzTx/>
                <a:buFontTx/>
                <a:buNone/>
                <a:tabLst/>
                <a:defRPr/>
              </a:pPr>
              <a:r>
                <a:rPr kumimoji="0" lang="fr-fr" sz="2400" b="0" i="0" u="none" strike="noStrike" kern="1200" cap="none" spc="0" normalizeH="0" baseline="0" noProof="0">
                  <a:ln>
                    <a:noFill/>
                  </a:ln>
                  <a:solidFill>
                    <a:srgbClr val="000000"/>
                  </a:solidFill>
                  <a:effectLst/>
                  <a:uLnTx/>
                  <a:uFillTx/>
                  <a:latin typeface="Segoe UI Semibold"/>
                  <a:ea typeface="+mn-ea"/>
                  <a:cs typeface="+mn-cs"/>
                </a:rPr>
                <a:t>Enregistrer et gérer les agents</a:t>
              </a:r>
            </a:p>
            <a:p>
              <a:pPr marL="0" marR="0" lvl="0" indent="0" algn="l" defTabSz="914367" rtl="0" eaLnBrk="1" fontAlgn="auto" latinLnBrk="0" hangingPunct="1">
                <a:lnSpc>
                  <a:spcPct val="114000"/>
                </a:lnSpc>
                <a:spcBef>
                  <a:spcPts val="0"/>
                </a:spcBef>
                <a:spcAft>
                  <a:spcPts val="60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gent ID | Registre</a:t>
              </a:r>
            </a:p>
          </p:txBody>
        </p:sp>
      </p:grpSp>
      <p:grpSp>
        <p:nvGrpSpPr>
          <p:cNvPr id="8" name="Group 7">
            <a:extLst>
              <a:ext uri="{FF2B5EF4-FFF2-40B4-BE49-F238E27FC236}">
                <a16:creationId xmlns:a16="http://schemas.microsoft.com/office/drawing/2014/main" id="{4FBB6929-A517-2A37-51E9-BE747F8C1323}"/>
              </a:ext>
            </a:extLst>
          </p:cNvPr>
          <p:cNvGrpSpPr/>
          <p:nvPr/>
        </p:nvGrpSpPr>
        <p:grpSpPr>
          <a:xfrm>
            <a:off x="3761435" y="3369072"/>
            <a:ext cx="8063012" cy="722827"/>
            <a:chOff x="3761435" y="3031491"/>
            <a:chExt cx="7959078" cy="722827"/>
          </a:xfrm>
        </p:grpSpPr>
        <p:sp>
          <p:nvSpPr>
            <p:cNvPr id="9" name="Oval 8">
              <a:extLst>
                <a:ext uri="{FF2B5EF4-FFF2-40B4-BE49-F238E27FC236}">
                  <a16:creationId xmlns:a16="http://schemas.microsoft.com/office/drawing/2014/main" id="{EA01BEE3-18EE-0808-6E2C-E3AE57541B9A}"/>
                </a:ext>
              </a:extLst>
            </p:cNvPr>
            <p:cNvSpPr/>
            <p:nvPr/>
          </p:nvSpPr>
          <p:spPr bwMode="auto">
            <a:xfrm>
              <a:off x="3761435" y="3031491"/>
              <a:ext cx="591490" cy="591490"/>
            </a:xfrm>
            <a:prstGeom prst="ellipse">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800" b="0" i="0" u="none" strike="noStrike" kern="1200" cap="none" spc="0" normalizeH="0" baseline="0" noProof="0">
                  <a:ln>
                    <a:noFill/>
                  </a:ln>
                  <a:solidFill>
                    <a:srgbClr val="000000"/>
                  </a:solidFill>
                  <a:effectLst/>
                  <a:uLnTx/>
                  <a:uFillTx/>
                  <a:latin typeface="Segoe UI Semibold"/>
                  <a:ea typeface="+mn-ea"/>
                  <a:cs typeface="+mn-cs"/>
                </a:rPr>
                <a:t>2</a:t>
              </a:r>
            </a:p>
          </p:txBody>
        </p:sp>
        <p:sp>
          <p:nvSpPr>
            <p:cNvPr id="11" name="TextBox 10">
              <a:extLst>
                <a:ext uri="{FF2B5EF4-FFF2-40B4-BE49-F238E27FC236}">
                  <a16:creationId xmlns:a16="http://schemas.microsoft.com/office/drawing/2014/main" id="{9040216C-3092-96D4-0BCA-ABBFF07FFF9C}"/>
                </a:ext>
              </a:extLst>
            </p:cNvPr>
            <p:cNvSpPr txBox="1"/>
            <p:nvPr/>
          </p:nvSpPr>
          <p:spPr>
            <a:xfrm>
              <a:off x="4622800" y="3031491"/>
              <a:ext cx="7097713" cy="722827"/>
            </a:xfrm>
            <a:prstGeom prst="rect">
              <a:avLst/>
            </a:prstGeom>
            <a:noFill/>
            <a:ln>
              <a:noFill/>
            </a:ln>
          </p:spPr>
          <p:txBody>
            <a:bodyPr wrap="square" lIns="0" tIns="0" rIns="0" bIns="0" rtlCol="0" anchor="t">
              <a:spAutoFit/>
            </a:bodyPr>
            <a:lstStyle/>
            <a:p>
              <a:pPr marL="0" marR="0" lvl="0" indent="0" algn="l" defTabSz="914367" rtl="0" eaLnBrk="1" fontAlgn="auto" latinLnBrk="0" hangingPunct="1">
                <a:lnSpc>
                  <a:spcPct val="114000"/>
                </a:lnSpc>
                <a:spcBef>
                  <a:spcPts val="0"/>
                </a:spcBef>
                <a:spcAft>
                  <a:spcPts val="600"/>
                </a:spcAft>
                <a:buClrTx/>
                <a:buSzTx/>
                <a:buFontTx/>
                <a:buNone/>
                <a:tabLst/>
                <a:defRPr/>
              </a:pPr>
              <a:r>
                <a:rPr kumimoji="0" lang="fr-fr" sz="2400" b="0" i="0" u="none" strike="noStrike" kern="1200" cap="none" spc="0" normalizeH="0" baseline="0" noProof="0">
                  <a:ln>
                    <a:noFill/>
                  </a:ln>
                  <a:solidFill>
                    <a:srgbClr val="000000"/>
                  </a:solidFill>
                  <a:effectLst/>
                  <a:uLnTx/>
                  <a:uFillTx/>
                  <a:latin typeface="Segoe UI Semibold"/>
                  <a:ea typeface="+mn-ea"/>
                  <a:cs typeface="+mn-cs"/>
                </a:rPr>
                <a:t>Gouverner les identités et le cycle de vie des agents</a:t>
              </a:r>
            </a:p>
            <a:p>
              <a:pPr marL="0" marR="0" lvl="0" indent="0" algn="l" defTabSz="914367" rtl="0" eaLnBrk="1" fontAlgn="auto" latinLnBrk="0" hangingPunct="1">
                <a:lnSpc>
                  <a:spcPct val="114000"/>
                </a:lnSpc>
                <a:spcBef>
                  <a:spcPts val="0"/>
                </a:spcBef>
                <a:spcAft>
                  <a:spcPts val="60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estion du cycle de vie | Parrains et responsables | Gouvernance des accès</a:t>
              </a:r>
            </a:p>
          </p:txBody>
        </p:sp>
      </p:grpSp>
      <p:grpSp>
        <p:nvGrpSpPr>
          <p:cNvPr id="13" name="Group 12">
            <a:extLst>
              <a:ext uri="{FF2B5EF4-FFF2-40B4-BE49-F238E27FC236}">
                <a16:creationId xmlns:a16="http://schemas.microsoft.com/office/drawing/2014/main" id="{532B9ECB-D634-7B24-DE2B-C04735674662}"/>
              </a:ext>
            </a:extLst>
          </p:cNvPr>
          <p:cNvGrpSpPr/>
          <p:nvPr/>
        </p:nvGrpSpPr>
        <p:grpSpPr>
          <a:xfrm>
            <a:off x="3761435" y="4850990"/>
            <a:ext cx="7959078" cy="722827"/>
            <a:chOff x="3761435" y="4850990"/>
            <a:chExt cx="7959078" cy="722827"/>
          </a:xfrm>
        </p:grpSpPr>
        <p:sp>
          <p:nvSpPr>
            <p:cNvPr id="28" name="Oval 27">
              <a:extLst>
                <a:ext uri="{FF2B5EF4-FFF2-40B4-BE49-F238E27FC236}">
                  <a16:creationId xmlns:a16="http://schemas.microsoft.com/office/drawing/2014/main" id="{587FD7FC-8160-8BDF-641C-D2BB799C28C6}"/>
                </a:ext>
              </a:extLst>
            </p:cNvPr>
            <p:cNvSpPr/>
            <p:nvPr/>
          </p:nvSpPr>
          <p:spPr bwMode="auto">
            <a:xfrm>
              <a:off x="3761435" y="4850990"/>
              <a:ext cx="591490" cy="591490"/>
            </a:xfrm>
            <a:prstGeom prst="ellipse">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800" b="0" i="0" u="none" strike="noStrike" kern="1200" cap="none" spc="0" normalizeH="0" baseline="0" noProof="0">
                  <a:ln>
                    <a:noFill/>
                  </a:ln>
                  <a:solidFill>
                    <a:srgbClr val="000000"/>
                  </a:solidFill>
                  <a:effectLst/>
                  <a:uLnTx/>
                  <a:uFillTx/>
                  <a:latin typeface="Segoe UI Semibold"/>
                  <a:ea typeface="+mn-ea"/>
                  <a:cs typeface="+mn-cs"/>
                </a:rPr>
                <a:t>3</a:t>
              </a:r>
            </a:p>
          </p:txBody>
        </p:sp>
        <p:sp>
          <p:nvSpPr>
            <p:cNvPr id="29" name="TextBox 28">
              <a:extLst>
                <a:ext uri="{FF2B5EF4-FFF2-40B4-BE49-F238E27FC236}">
                  <a16:creationId xmlns:a16="http://schemas.microsoft.com/office/drawing/2014/main" id="{35BEF60C-A2B3-0E19-0883-381BDCDE8FF2}"/>
                </a:ext>
              </a:extLst>
            </p:cNvPr>
            <p:cNvSpPr txBox="1"/>
            <p:nvPr/>
          </p:nvSpPr>
          <p:spPr>
            <a:xfrm>
              <a:off x="4622800" y="4850990"/>
              <a:ext cx="7097713" cy="722827"/>
            </a:xfrm>
            <a:prstGeom prst="rect">
              <a:avLst/>
            </a:prstGeom>
            <a:noFill/>
            <a:ln>
              <a:noFill/>
            </a:ln>
          </p:spPr>
          <p:txBody>
            <a:bodyPr wrap="square" lIns="0" tIns="0" rIns="0" bIns="0" rtlCol="0" anchor="t">
              <a:spAutoFit/>
            </a:bodyPr>
            <a:lstStyle/>
            <a:p>
              <a:pPr marL="0" marR="0" lvl="0" indent="0" algn="l" defTabSz="914367" rtl="0" eaLnBrk="1" fontAlgn="auto" latinLnBrk="0" hangingPunct="1">
                <a:lnSpc>
                  <a:spcPct val="114000"/>
                </a:lnSpc>
                <a:spcBef>
                  <a:spcPts val="0"/>
                </a:spcBef>
                <a:spcAft>
                  <a:spcPts val="600"/>
                </a:spcAft>
                <a:buClrTx/>
                <a:buSzTx/>
                <a:buFontTx/>
                <a:buNone/>
                <a:tabLst/>
                <a:defRPr/>
              </a:pPr>
              <a:r>
                <a:rPr kumimoji="0" lang="fr-fr" sz="2400" b="0" i="0" u="none" strike="noStrike" kern="1200" cap="none" spc="0" normalizeH="0" baseline="0" noProof="0">
                  <a:ln>
                    <a:noFill/>
                  </a:ln>
                  <a:solidFill>
                    <a:srgbClr val="000000"/>
                  </a:solidFill>
                  <a:effectLst/>
                  <a:uLnTx/>
                  <a:uFillTx/>
                  <a:latin typeface="Segoe UI Semibold"/>
                  <a:ea typeface="+mn-ea"/>
                  <a:cs typeface="+mn-cs"/>
                </a:rPr>
                <a:t>Visibilité</a:t>
              </a:r>
            </a:p>
            <a:p>
              <a:pPr marL="0" marR="0" lvl="0" indent="0" algn="l" defTabSz="914367" rtl="0" eaLnBrk="1" fontAlgn="auto" latinLnBrk="0" hangingPunct="1">
                <a:lnSpc>
                  <a:spcPct val="114000"/>
                </a:lnSpc>
                <a:spcBef>
                  <a:spcPts val="0"/>
                </a:spcBef>
                <a:spcAft>
                  <a:spcPts val="60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ccès conditionnel | Protection des identités | Filtrage du trafic</a:t>
              </a:r>
            </a:p>
          </p:txBody>
        </p:sp>
      </p:grpSp>
      <p:sp>
        <p:nvSpPr>
          <p:cNvPr id="10" name="TextBox 9">
            <a:extLst>
              <a:ext uri="{FF2B5EF4-FFF2-40B4-BE49-F238E27FC236}">
                <a16:creationId xmlns:a16="http://schemas.microsoft.com/office/drawing/2014/main" id="{F979E186-669D-933B-D733-E9AD0DD3FBDA}"/>
              </a:ext>
            </a:extLst>
          </p:cNvPr>
          <p:cNvSpPr txBox="1"/>
          <p:nvPr/>
        </p:nvSpPr>
        <p:spPr>
          <a:xfrm>
            <a:off x="585216" y="1104848"/>
            <a:ext cx="9094027"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w="3175">
                  <a:noFill/>
                </a:ln>
                <a:solidFill>
                  <a:srgbClr val="000000"/>
                </a:solidFill>
                <a:effectLst/>
                <a:uLnTx/>
                <a:uFillTx/>
                <a:latin typeface="Segoe UI"/>
                <a:ea typeface="+mn-ea"/>
                <a:cs typeface="Segoe Sans Display Semibold" pitchFamily="2" charset="0"/>
              </a:rPr>
              <a:t>Les mêmes outils utilisés pour gérer les agents sont utilisés pour gérer les utilisateurs</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901345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22" presetClass="entr" presetSubtype="8" fill="hold"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wipe(left)">
                                      <p:cBhvr>
                                        <p:cTn id="14" dur="500"/>
                                        <p:tgtEl>
                                          <p:spTgt spid="2"/>
                                        </p:tgtEl>
                                      </p:cBhvr>
                                    </p:animEffect>
                                  </p:childTnLst>
                                </p:cTn>
                              </p:par>
                            </p:childTnLst>
                          </p:cTn>
                        </p:par>
                        <p:par>
                          <p:cTn id="15" fill="hold">
                            <p:stCondLst>
                              <p:cond delay="1000"/>
                            </p:stCondLst>
                            <p:childTnLst>
                              <p:par>
                                <p:cTn id="16" presetID="22" presetClass="entr" presetSubtype="8" fill="hold" nodeType="after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wipe(left)">
                                      <p:cBhvr>
                                        <p:cTn id="18" dur="500"/>
                                        <p:tgtEl>
                                          <p:spTgt spid="8"/>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DF0D9A-B71F-2C45-1871-E8B263BE3FAF}"/>
            </a:ext>
          </a:extLst>
        </p:cNvPr>
        <p:cNvGrpSpPr/>
        <p:nvPr/>
      </p:nvGrpSpPr>
      <p:grpSpPr>
        <a:xfrm>
          <a:off x="0" y="0"/>
          <a:ext cx="0" cy="0"/>
          <a:chOff x="0" y="0"/>
          <a:chExt cx="0" cy="0"/>
        </a:xfrm>
      </p:grpSpPr>
      <p:sp>
        <p:nvSpPr>
          <p:cNvPr id="2" name="Title 3">
            <a:extLst>
              <a:ext uri="{FF2B5EF4-FFF2-40B4-BE49-F238E27FC236}">
                <a16:creationId xmlns:a16="http://schemas.microsoft.com/office/drawing/2014/main" id="{BC68D0C8-DC21-FB75-860E-FF685ED8FDA0}"/>
              </a:ext>
            </a:extLst>
          </p:cNvPr>
          <p:cNvSpPr>
            <a:spLocks noGrp="1"/>
          </p:cNvSpPr>
          <p:nvPr>
            <p:ph type="title"/>
          </p:nvPr>
        </p:nvSpPr>
        <p:spPr>
          <a:xfrm>
            <a:off x="588263" y="485481"/>
            <a:ext cx="11018520" cy="766174"/>
          </a:xfrm>
        </p:spPr>
        <p:txBody>
          <a:bodyPr/>
          <a:lstStyle/>
          <a:p>
            <a:pPr algn="ctr"/>
            <a:r>
              <a:rPr lang="fr-fr"/>
              <a:t>Système de contrôle Copilot</a:t>
            </a:r>
          </a:p>
        </p:txBody>
      </p:sp>
      <p:pic>
        <p:nvPicPr>
          <p:cNvPr id="3" name="Picture 2">
            <a:extLst>
              <a:ext uri="{FF2B5EF4-FFF2-40B4-BE49-F238E27FC236}">
                <a16:creationId xmlns:a16="http://schemas.microsoft.com/office/drawing/2014/main" id="{CF2029B1-1F3F-313B-DAF1-5F73231D2DEC}"/>
              </a:ext>
              <a:ext uri="{C183D7F6-B498-43B3-948B-1728B52AA6E4}">
                <adec:decorative xmlns:adec="http://schemas.microsoft.com/office/drawing/2017/decorative" val="1"/>
              </a:ext>
            </a:extLst>
          </p:cNvPr>
          <p:cNvPicPr>
            <a:picLocks/>
          </p:cNvPicPr>
          <p:nvPr/>
        </p:nvPicPr>
        <p:blipFill>
          <a:blip r:embed="rId3"/>
          <a:srcRect l="2434" t="98557" r="65625"/>
          <a:stretch>
            <a:fillRect/>
          </a:stretch>
        </p:blipFill>
        <p:spPr>
          <a:xfrm flipH="1">
            <a:off x="4560887" y="6301226"/>
            <a:ext cx="3070226" cy="61474"/>
          </a:xfrm>
          <a:custGeom>
            <a:avLst/>
            <a:gdLst>
              <a:gd name="connsiteX0" fmla="*/ 3070226 w 3070226"/>
              <a:gd name="connsiteY0" fmla="*/ 0 h 61474"/>
              <a:gd name="connsiteX1" fmla="*/ 2061029 w 3070226"/>
              <a:gd name="connsiteY1" fmla="*/ 0 h 61474"/>
              <a:gd name="connsiteX2" fmla="*/ 1009198 w 3070226"/>
              <a:gd name="connsiteY2" fmla="*/ 0 h 61474"/>
              <a:gd name="connsiteX3" fmla="*/ 1009197 w 3070226"/>
              <a:gd name="connsiteY3" fmla="*/ 0 h 61474"/>
              <a:gd name="connsiteX4" fmla="*/ 826317 w 3070226"/>
              <a:gd name="connsiteY4" fmla="*/ 0 h 61474"/>
              <a:gd name="connsiteX5" fmla="*/ 0 w 3070226"/>
              <a:gd name="connsiteY5" fmla="*/ 0 h 61474"/>
              <a:gd name="connsiteX6" fmla="*/ 18570 w 3070226"/>
              <a:gd name="connsiteY6" fmla="*/ 16014 h 61474"/>
              <a:gd name="connsiteX7" fmla="*/ 160954 w 3070226"/>
              <a:gd name="connsiteY7" fmla="*/ 61474 h 61474"/>
              <a:gd name="connsiteX8" fmla="*/ 826317 w 3070226"/>
              <a:gd name="connsiteY8" fmla="*/ 61474 h 61474"/>
              <a:gd name="connsiteX9" fmla="*/ 1009197 w 3070226"/>
              <a:gd name="connsiteY9" fmla="*/ 61474 h 61474"/>
              <a:gd name="connsiteX10" fmla="*/ 1009198 w 3070226"/>
              <a:gd name="connsiteY10" fmla="*/ 61474 h 61474"/>
              <a:gd name="connsiteX11" fmla="*/ 2061029 w 3070226"/>
              <a:gd name="connsiteY11" fmla="*/ 61474 h 61474"/>
              <a:gd name="connsiteX12" fmla="*/ 2909272 w 3070226"/>
              <a:gd name="connsiteY12" fmla="*/ 61474 h 61474"/>
              <a:gd name="connsiteX13" fmla="*/ 3051657 w 3070226"/>
              <a:gd name="connsiteY13" fmla="*/ 16014 h 6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70226" h="61474">
                <a:moveTo>
                  <a:pt x="3070226" y="0"/>
                </a:moveTo>
                <a:lnTo>
                  <a:pt x="2061029" y="0"/>
                </a:lnTo>
                <a:lnTo>
                  <a:pt x="1009198" y="0"/>
                </a:lnTo>
                <a:lnTo>
                  <a:pt x="1009197" y="0"/>
                </a:lnTo>
                <a:lnTo>
                  <a:pt x="826317" y="0"/>
                </a:lnTo>
                <a:lnTo>
                  <a:pt x="0" y="0"/>
                </a:lnTo>
                <a:lnTo>
                  <a:pt x="18570" y="16014"/>
                </a:lnTo>
                <a:cubicBezTo>
                  <a:pt x="59214" y="44715"/>
                  <a:pt x="108211" y="61474"/>
                  <a:pt x="160954" y="61474"/>
                </a:cubicBezTo>
                <a:lnTo>
                  <a:pt x="826317" y="61474"/>
                </a:lnTo>
                <a:lnTo>
                  <a:pt x="1009197" y="61474"/>
                </a:lnTo>
                <a:lnTo>
                  <a:pt x="1009198" y="61474"/>
                </a:lnTo>
                <a:lnTo>
                  <a:pt x="2061029" y="61474"/>
                </a:lnTo>
                <a:lnTo>
                  <a:pt x="2909272" y="61474"/>
                </a:lnTo>
                <a:cubicBezTo>
                  <a:pt x="2962015" y="61474"/>
                  <a:pt x="3011012" y="44715"/>
                  <a:pt x="3051657" y="16014"/>
                </a:cubicBezTo>
                <a:close/>
              </a:path>
            </a:pathLst>
          </a:custGeom>
        </p:spPr>
      </p:pic>
      <p:sp>
        <p:nvSpPr>
          <p:cNvPr id="22" name="Rectangle: Rounded Corners 50">
            <a:extLst>
              <a:ext uri="{FF2B5EF4-FFF2-40B4-BE49-F238E27FC236}">
                <a16:creationId xmlns:a16="http://schemas.microsoft.com/office/drawing/2014/main" id="{D8D896B5-17FB-28C8-E23B-30F0B2755CC7}"/>
              </a:ext>
              <a:ext uri="{C183D7F6-B498-43B3-948B-1728B52AA6E4}">
                <adec:decorative xmlns:adec="http://schemas.microsoft.com/office/drawing/2017/decorative" val="1"/>
              </a:ext>
            </a:extLst>
          </p:cNvPr>
          <p:cNvSpPr/>
          <p:nvPr/>
        </p:nvSpPr>
        <p:spPr bwMode="auto">
          <a:xfrm>
            <a:off x="924560" y="1710176"/>
            <a:ext cx="10342880" cy="4591050"/>
          </a:xfrm>
          <a:prstGeom prst="roundRect">
            <a:avLst>
              <a:gd name="adj" fmla="val 3527"/>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000000"/>
              </a:solidFill>
            </a:endParaRPr>
          </a:p>
        </p:txBody>
      </p:sp>
      <p:sp>
        <p:nvSpPr>
          <p:cNvPr id="23" name="TextBox 22">
            <a:extLst>
              <a:ext uri="{FF2B5EF4-FFF2-40B4-BE49-F238E27FC236}">
                <a16:creationId xmlns:a16="http://schemas.microsoft.com/office/drawing/2014/main" id="{191DF4A9-D245-A3E4-3784-8DD89B687E7E}"/>
              </a:ext>
              <a:ext uri="{C183D7F6-B498-43B3-948B-1728B52AA6E4}">
                <adec:decorative xmlns:adec="http://schemas.microsoft.com/office/drawing/2017/decorative" val="1"/>
              </a:ext>
            </a:extLst>
          </p:cNvPr>
          <p:cNvSpPr txBox="1">
            <a:spLocks/>
          </p:cNvSpPr>
          <p:nvPr/>
        </p:nvSpPr>
        <p:spPr>
          <a:xfrm rot="10800000">
            <a:off x="4356100" y="1710175"/>
            <a:ext cx="3479800" cy="795684"/>
          </a:xfrm>
          <a:prstGeom prst="round2SameRect">
            <a:avLst>
              <a:gd name="adj1" fmla="val 19295"/>
              <a:gd name="adj2" fmla="val 0"/>
            </a:avLst>
          </a:prstGeom>
          <a:solidFill>
            <a:schemeClr val="accent2">
              <a:lumMod val="20000"/>
              <a:lumOff val="80000"/>
              <a:alpha val="50000"/>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742" fontAlgn="base">
              <a:spcBef>
                <a:spcPct val="0"/>
              </a:spcBef>
              <a:spcAft>
                <a:spcPts val="600"/>
              </a:spcAft>
              <a:defRPr>
                <a:ln w="3175">
                  <a:noFill/>
                </a:ln>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indent="0">
              <a:lnSpc>
                <a:spcPct val="100000"/>
              </a:lnSpc>
              <a:buClrTx/>
              <a:buSzTx/>
              <a:buFontTx/>
              <a:buNone/>
              <a:tabLst>
                <a:tab pos="3701239" algn="l"/>
              </a:tabLst>
              <a:defRPr/>
            </a:pPr>
            <a:endParaRPr lang="en-US" sz="2200">
              <a:solidFill>
                <a:schemeClr val="tx1"/>
              </a:solidFill>
            </a:endParaRPr>
          </a:p>
        </p:txBody>
      </p:sp>
      <p:sp>
        <p:nvSpPr>
          <p:cNvPr id="24" name="Oval 23">
            <a:extLst>
              <a:ext uri="{FF2B5EF4-FFF2-40B4-BE49-F238E27FC236}">
                <a16:creationId xmlns:a16="http://schemas.microsoft.com/office/drawing/2014/main" id="{C4DD4120-783C-F308-C742-8883197793FF}"/>
              </a:ext>
              <a:ext uri="{C183D7F6-B498-43B3-948B-1728B52AA6E4}">
                <adec:decorative xmlns:adec="http://schemas.microsoft.com/office/drawing/2017/decorative" val="1"/>
              </a:ext>
            </a:extLst>
          </p:cNvPr>
          <p:cNvSpPr/>
          <p:nvPr/>
        </p:nvSpPr>
        <p:spPr>
          <a:xfrm>
            <a:off x="5743110" y="2813634"/>
            <a:ext cx="703354" cy="703352"/>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IN" sz="1600">
              <a:solidFill>
                <a:schemeClr val="tx1"/>
              </a:solidFill>
              <a:latin typeface="+mj-lt"/>
            </a:endParaRPr>
          </a:p>
        </p:txBody>
      </p:sp>
      <p:sp>
        <p:nvSpPr>
          <p:cNvPr id="25" name="Rectangle: Rounded Corners 24">
            <a:extLst>
              <a:ext uri="{FF2B5EF4-FFF2-40B4-BE49-F238E27FC236}">
                <a16:creationId xmlns:a16="http://schemas.microsoft.com/office/drawing/2014/main" id="{FB0C0AEC-3311-3995-3700-A471A8FE7BA5}"/>
              </a:ext>
              <a:ext uri="{C183D7F6-B498-43B3-948B-1728B52AA6E4}">
                <adec:decorative xmlns:adec="http://schemas.microsoft.com/office/drawing/2017/decorative" val="1"/>
              </a:ext>
            </a:extLst>
          </p:cNvPr>
          <p:cNvSpPr>
            <a:spLocks/>
          </p:cNvSpPr>
          <p:nvPr/>
        </p:nvSpPr>
        <p:spPr bwMode="auto">
          <a:xfrm>
            <a:off x="1107440" y="4364023"/>
            <a:ext cx="3203787" cy="1754323"/>
          </a:xfrm>
          <a:prstGeom prst="roundRect">
            <a:avLst>
              <a:gd name="adj" fmla="val 2737"/>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b="1" kern="0">
              <a:latin typeface="Segoe UI Variable Display Semibold" pitchFamily="2" charset="0"/>
              <a:cs typeface="Segoe UI" pitchFamily="34" charset="0"/>
            </a:endParaRPr>
          </a:p>
        </p:txBody>
      </p:sp>
      <p:sp>
        <p:nvSpPr>
          <p:cNvPr id="26" name="Rectangle: Rounded Corners 25">
            <a:extLst>
              <a:ext uri="{FF2B5EF4-FFF2-40B4-BE49-F238E27FC236}">
                <a16:creationId xmlns:a16="http://schemas.microsoft.com/office/drawing/2014/main" id="{CDB07CFB-356E-6805-0F1B-39C9273A23FA}"/>
              </a:ext>
              <a:ext uri="{C183D7F6-B498-43B3-948B-1728B52AA6E4}">
                <adec:decorative xmlns:adec="http://schemas.microsoft.com/office/drawing/2017/decorative" val="1"/>
              </a:ext>
            </a:extLst>
          </p:cNvPr>
          <p:cNvSpPr>
            <a:spLocks/>
          </p:cNvSpPr>
          <p:nvPr/>
        </p:nvSpPr>
        <p:spPr bwMode="auto">
          <a:xfrm>
            <a:off x="4494107" y="4364023"/>
            <a:ext cx="3203787" cy="1754323"/>
          </a:xfrm>
          <a:prstGeom prst="roundRect">
            <a:avLst>
              <a:gd name="adj" fmla="val 2737"/>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b="1" kern="0">
              <a:latin typeface="Segoe UI Variable Display Semibold" pitchFamily="2" charset="0"/>
              <a:cs typeface="Segoe UI" pitchFamily="34" charset="0"/>
            </a:endParaRPr>
          </a:p>
        </p:txBody>
      </p:sp>
      <p:sp>
        <p:nvSpPr>
          <p:cNvPr id="27" name="Rectangle: Rounded Corners 26">
            <a:extLst>
              <a:ext uri="{FF2B5EF4-FFF2-40B4-BE49-F238E27FC236}">
                <a16:creationId xmlns:a16="http://schemas.microsoft.com/office/drawing/2014/main" id="{97462FAA-3C49-7F75-ADE4-87B714E4AE78}"/>
              </a:ext>
              <a:ext uri="{C183D7F6-B498-43B3-948B-1728B52AA6E4}">
                <adec:decorative xmlns:adec="http://schemas.microsoft.com/office/drawing/2017/decorative" val="1"/>
              </a:ext>
            </a:extLst>
          </p:cNvPr>
          <p:cNvSpPr>
            <a:spLocks/>
          </p:cNvSpPr>
          <p:nvPr/>
        </p:nvSpPr>
        <p:spPr bwMode="auto">
          <a:xfrm>
            <a:off x="7880774" y="4364023"/>
            <a:ext cx="3203787" cy="1754323"/>
          </a:xfrm>
          <a:prstGeom prst="roundRect">
            <a:avLst>
              <a:gd name="adj" fmla="val 2737"/>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b="1" kern="0">
              <a:latin typeface="Segoe UI Variable Display Semibold" pitchFamily="2" charset="0"/>
              <a:cs typeface="Segoe UI" pitchFamily="34" charset="0"/>
            </a:endParaRPr>
          </a:p>
        </p:txBody>
      </p:sp>
      <p:sp>
        <p:nvSpPr>
          <p:cNvPr id="28" name="Oval 27">
            <a:extLst>
              <a:ext uri="{FF2B5EF4-FFF2-40B4-BE49-F238E27FC236}">
                <a16:creationId xmlns:a16="http://schemas.microsoft.com/office/drawing/2014/main" id="{6D2579BB-480E-195E-9590-B86B825B28A3}"/>
              </a:ext>
              <a:ext uri="{C183D7F6-B498-43B3-948B-1728B52AA6E4}">
                <adec:decorative xmlns:adec="http://schemas.microsoft.com/office/drawing/2017/decorative" val="1"/>
              </a:ext>
            </a:extLst>
          </p:cNvPr>
          <p:cNvSpPr/>
          <p:nvPr/>
        </p:nvSpPr>
        <p:spPr>
          <a:xfrm>
            <a:off x="2337098" y="2813634"/>
            <a:ext cx="703354" cy="703352"/>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IN" sz="1600">
              <a:solidFill>
                <a:schemeClr val="tx1"/>
              </a:solidFill>
              <a:latin typeface="+mj-lt"/>
            </a:endParaRPr>
          </a:p>
        </p:txBody>
      </p:sp>
      <p:sp>
        <p:nvSpPr>
          <p:cNvPr id="29" name="Oval 28">
            <a:extLst>
              <a:ext uri="{FF2B5EF4-FFF2-40B4-BE49-F238E27FC236}">
                <a16:creationId xmlns:a16="http://schemas.microsoft.com/office/drawing/2014/main" id="{AA15BFEF-DAB6-B406-28F9-A167F5D8FCF2}"/>
              </a:ext>
              <a:ext uri="{C183D7F6-B498-43B3-948B-1728B52AA6E4}">
                <adec:decorative xmlns:adec="http://schemas.microsoft.com/office/drawing/2017/decorative" val="1"/>
              </a:ext>
            </a:extLst>
          </p:cNvPr>
          <p:cNvSpPr/>
          <p:nvPr/>
        </p:nvSpPr>
        <p:spPr>
          <a:xfrm>
            <a:off x="9130991" y="2813634"/>
            <a:ext cx="703354" cy="703352"/>
          </a:xfrm>
          <a:prstGeom prst="ellipse">
            <a:avLst/>
          </a:prstGeom>
          <a:solidFill>
            <a:schemeClr val="bg1"/>
          </a:solidFill>
          <a:ln w="1905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67"/>
            <a:endParaRPr lang="en-IN" sz="1600">
              <a:solidFill>
                <a:schemeClr val="tx1"/>
              </a:solidFill>
              <a:latin typeface="+mj-lt"/>
            </a:endParaRPr>
          </a:p>
        </p:txBody>
      </p:sp>
      <p:sp>
        <p:nvSpPr>
          <p:cNvPr id="30" name="Graphic 55">
            <a:extLst>
              <a:ext uri="{FF2B5EF4-FFF2-40B4-BE49-F238E27FC236}">
                <a16:creationId xmlns:a16="http://schemas.microsoft.com/office/drawing/2014/main" id="{2B02B2EE-0093-51CF-2767-39EA3AC1ECF1}"/>
              </a:ext>
              <a:ext uri="{C183D7F6-B498-43B3-948B-1728B52AA6E4}">
                <adec:decorative xmlns:adec="http://schemas.microsoft.com/office/drawing/2017/decorative" val="1"/>
              </a:ext>
            </a:extLst>
          </p:cNvPr>
          <p:cNvSpPr/>
          <p:nvPr/>
        </p:nvSpPr>
        <p:spPr>
          <a:xfrm>
            <a:off x="5913810" y="2964223"/>
            <a:ext cx="361958" cy="402174"/>
          </a:xfrm>
          <a:custGeom>
            <a:avLst/>
            <a:gdLst>
              <a:gd name="connsiteX0" fmla="*/ 339367 w 444042"/>
              <a:gd name="connsiteY0" fmla="*/ 180155 h 493380"/>
              <a:gd name="connsiteX1" fmla="*/ 340504 w 444042"/>
              <a:gd name="connsiteY1" fmla="*/ 154014 h 493380"/>
              <a:gd name="connsiteX2" fmla="*/ 314363 w 444042"/>
              <a:gd name="connsiteY2" fmla="*/ 152878 h 493380"/>
              <a:gd name="connsiteX3" fmla="*/ 179408 w 444042"/>
              <a:gd name="connsiteY3" fmla="*/ 276587 h 493380"/>
              <a:gd name="connsiteX4" fmla="*/ 130261 w 444042"/>
              <a:gd name="connsiteY4" fmla="*/ 227441 h 493380"/>
              <a:gd name="connsiteX5" fmla="*/ 104095 w 444042"/>
              <a:gd name="connsiteY5" fmla="*/ 227441 h 493380"/>
              <a:gd name="connsiteX6" fmla="*/ 104095 w 444042"/>
              <a:gd name="connsiteY6" fmla="*/ 253605 h 493380"/>
              <a:gd name="connsiteX7" fmla="*/ 165768 w 444042"/>
              <a:gd name="connsiteY7" fmla="*/ 315278 h 493380"/>
              <a:gd name="connsiteX8" fmla="*/ 191353 w 444042"/>
              <a:gd name="connsiteY8" fmla="*/ 315835 h 493380"/>
              <a:gd name="connsiteX9" fmla="*/ 339367 w 444042"/>
              <a:gd name="connsiteY9" fmla="*/ 180155 h 493380"/>
              <a:gd name="connsiteX10" fmla="*/ 425541 w 444042"/>
              <a:gd name="connsiteY10" fmla="*/ 74007 h 493380"/>
              <a:gd name="connsiteX11" fmla="*/ 233122 w 444042"/>
              <a:gd name="connsiteY11" fmla="*/ 3700 h 493380"/>
              <a:gd name="connsiteX12" fmla="*/ 210920 w 444042"/>
              <a:gd name="connsiteY12" fmla="*/ 3700 h 493380"/>
              <a:gd name="connsiteX13" fmla="*/ 18502 w 444042"/>
              <a:gd name="connsiteY13" fmla="*/ 74007 h 493380"/>
              <a:gd name="connsiteX14" fmla="*/ 0 w 444042"/>
              <a:gd name="connsiteY14" fmla="*/ 92509 h 493380"/>
              <a:gd name="connsiteX15" fmla="*/ 0 w 444042"/>
              <a:gd name="connsiteY15" fmla="*/ 222021 h 493380"/>
              <a:gd name="connsiteX16" fmla="*/ 215240 w 444042"/>
              <a:gd name="connsiteY16" fmla="*/ 492093 h 493380"/>
              <a:gd name="connsiteX17" fmla="*/ 228803 w 444042"/>
              <a:gd name="connsiteY17" fmla="*/ 492093 h 493380"/>
              <a:gd name="connsiteX18" fmla="*/ 444043 w 444042"/>
              <a:gd name="connsiteY18" fmla="*/ 222021 h 493380"/>
              <a:gd name="connsiteX19" fmla="*/ 444043 w 444042"/>
              <a:gd name="connsiteY19" fmla="*/ 92509 h 493380"/>
              <a:gd name="connsiteX20" fmla="*/ 425541 w 444042"/>
              <a:gd name="connsiteY20" fmla="*/ 74007 h 493380"/>
              <a:gd name="connsiteX21" fmla="*/ 37004 w 444042"/>
              <a:gd name="connsiteY21" fmla="*/ 110466 h 493380"/>
              <a:gd name="connsiteX22" fmla="*/ 222021 w 444042"/>
              <a:gd name="connsiteY22" fmla="*/ 41390 h 493380"/>
              <a:gd name="connsiteX23" fmla="*/ 407039 w 444042"/>
              <a:gd name="connsiteY23" fmla="*/ 110466 h 493380"/>
              <a:gd name="connsiteX24" fmla="*/ 407039 w 444042"/>
              <a:gd name="connsiteY24" fmla="*/ 222021 h 493380"/>
              <a:gd name="connsiteX25" fmla="*/ 222021 w 444042"/>
              <a:gd name="connsiteY25" fmla="*/ 454944 h 493380"/>
              <a:gd name="connsiteX26" fmla="*/ 37004 w 444042"/>
              <a:gd name="connsiteY26" fmla="*/ 222021 h 493380"/>
              <a:gd name="connsiteX27" fmla="*/ 37004 w 444042"/>
              <a:gd name="connsiteY27" fmla="*/ 110466 h 493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4042" h="493380">
                <a:moveTo>
                  <a:pt x="339367" y="180155"/>
                </a:moveTo>
                <a:cubicBezTo>
                  <a:pt x="346899" y="173250"/>
                  <a:pt x="347409" y="161546"/>
                  <a:pt x="340504" y="154014"/>
                </a:cubicBezTo>
                <a:cubicBezTo>
                  <a:pt x="333599" y="146482"/>
                  <a:pt x="321894" y="145973"/>
                  <a:pt x="314363" y="152878"/>
                </a:cubicBezTo>
                <a:lnTo>
                  <a:pt x="179408" y="276587"/>
                </a:lnTo>
                <a:lnTo>
                  <a:pt x="130261" y="227441"/>
                </a:lnTo>
                <a:cubicBezTo>
                  <a:pt x="123035" y="220216"/>
                  <a:pt x="111321" y="220216"/>
                  <a:pt x="104095" y="227441"/>
                </a:cubicBezTo>
                <a:cubicBezTo>
                  <a:pt x="96870" y="234667"/>
                  <a:pt x="96870" y="246380"/>
                  <a:pt x="104095" y="253605"/>
                </a:cubicBezTo>
                <a:lnTo>
                  <a:pt x="165768" y="315278"/>
                </a:lnTo>
                <a:cubicBezTo>
                  <a:pt x="172772" y="322284"/>
                  <a:pt x="184051" y="322528"/>
                  <a:pt x="191353" y="315835"/>
                </a:cubicBezTo>
                <a:lnTo>
                  <a:pt x="339367" y="180155"/>
                </a:lnTo>
                <a:close/>
                <a:moveTo>
                  <a:pt x="425541" y="74007"/>
                </a:moveTo>
                <a:cubicBezTo>
                  <a:pt x="359837" y="74007"/>
                  <a:pt x="295831" y="50732"/>
                  <a:pt x="233122" y="3700"/>
                </a:cubicBezTo>
                <a:cubicBezTo>
                  <a:pt x="226543" y="-1233"/>
                  <a:pt x="217500" y="-1233"/>
                  <a:pt x="210920" y="3700"/>
                </a:cubicBezTo>
                <a:cubicBezTo>
                  <a:pt x="148211" y="50732"/>
                  <a:pt x="84206" y="74007"/>
                  <a:pt x="18502" y="74007"/>
                </a:cubicBezTo>
                <a:cubicBezTo>
                  <a:pt x="8284" y="74007"/>
                  <a:pt x="0" y="82291"/>
                  <a:pt x="0" y="92509"/>
                </a:cubicBezTo>
                <a:lnTo>
                  <a:pt x="0" y="222021"/>
                </a:lnTo>
                <a:cubicBezTo>
                  <a:pt x="0" y="345396"/>
                  <a:pt x="72960" y="436043"/>
                  <a:pt x="215240" y="492093"/>
                </a:cubicBezTo>
                <a:cubicBezTo>
                  <a:pt x="219599" y="493810"/>
                  <a:pt x="224444" y="493810"/>
                  <a:pt x="228803" y="492093"/>
                </a:cubicBezTo>
                <a:cubicBezTo>
                  <a:pt x="371082" y="436043"/>
                  <a:pt x="444043" y="345396"/>
                  <a:pt x="444043" y="222021"/>
                </a:cubicBezTo>
                <a:lnTo>
                  <a:pt x="444043" y="92509"/>
                </a:lnTo>
                <a:cubicBezTo>
                  <a:pt x="444043" y="82291"/>
                  <a:pt x="435759" y="74007"/>
                  <a:pt x="425541" y="74007"/>
                </a:cubicBezTo>
                <a:close/>
                <a:moveTo>
                  <a:pt x="37004" y="110466"/>
                </a:moveTo>
                <a:cubicBezTo>
                  <a:pt x="100584" y="106715"/>
                  <a:pt x="162343" y="83586"/>
                  <a:pt x="222021" y="41390"/>
                </a:cubicBezTo>
                <a:cubicBezTo>
                  <a:pt x="281701" y="83586"/>
                  <a:pt x="343460" y="106715"/>
                  <a:pt x="407039" y="110466"/>
                </a:cubicBezTo>
                <a:lnTo>
                  <a:pt x="407039" y="222021"/>
                </a:lnTo>
                <a:cubicBezTo>
                  <a:pt x="407039" y="327003"/>
                  <a:pt x="346516" y="404052"/>
                  <a:pt x="222021" y="454944"/>
                </a:cubicBezTo>
                <a:cubicBezTo>
                  <a:pt x="97526" y="404052"/>
                  <a:pt x="37004" y="327003"/>
                  <a:pt x="37004" y="222021"/>
                </a:cubicBezTo>
                <a:lnTo>
                  <a:pt x="37004" y="110466"/>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457200">
              <a:spcAft>
                <a:spcPts val="800"/>
              </a:spcAft>
            </a:pPr>
            <a:endParaRPr lang="en-US" sz="1400" i="1">
              <a:solidFill>
                <a:schemeClr val="bg1"/>
              </a:solidFill>
              <a:latin typeface="+mj-lt"/>
              <a:ea typeface="+mj-ea"/>
              <a:cs typeface="+mj-cs"/>
            </a:endParaRPr>
          </a:p>
        </p:txBody>
      </p:sp>
      <p:sp>
        <p:nvSpPr>
          <p:cNvPr id="31" name="Graphic 124">
            <a:extLst>
              <a:ext uri="{FF2B5EF4-FFF2-40B4-BE49-F238E27FC236}">
                <a16:creationId xmlns:a16="http://schemas.microsoft.com/office/drawing/2014/main" id="{67E616DD-F8D2-1892-3935-67DCEC3F7DC9}"/>
              </a:ext>
              <a:ext uri="{C183D7F6-B498-43B3-948B-1728B52AA6E4}">
                <adec:decorative xmlns:adec="http://schemas.microsoft.com/office/drawing/2017/decorative" val="1"/>
              </a:ext>
            </a:extLst>
          </p:cNvPr>
          <p:cNvSpPr/>
          <p:nvPr/>
        </p:nvSpPr>
        <p:spPr>
          <a:xfrm>
            <a:off x="9300788" y="2983430"/>
            <a:ext cx="363760" cy="363760"/>
          </a:xfrm>
          <a:custGeom>
            <a:avLst/>
            <a:gdLst>
              <a:gd name="connsiteX0" fmla="*/ 234937 w 318558"/>
              <a:gd name="connsiteY0" fmla="*/ 0 h 318558"/>
              <a:gd name="connsiteX1" fmla="*/ 286703 w 318558"/>
              <a:gd name="connsiteY1" fmla="*/ 51766 h 318558"/>
              <a:gd name="connsiteX2" fmla="*/ 286703 w 318558"/>
              <a:gd name="connsiteY2" fmla="*/ 160076 h 318558"/>
              <a:gd name="connsiteX3" fmla="*/ 270775 w 318558"/>
              <a:gd name="connsiteY3" fmla="*/ 167240 h 318558"/>
              <a:gd name="connsiteX4" fmla="*/ 262811 w 318558"/>
              <a:gd name="connsiteY4" fmla="*/ 143348 h 318558"/>
              <a:gd name="connsiteX5" fmla="*/ 262811 w 318558"/>
              <a:gd name="connsiteY5" fmla="*/ 87604 h 318558"/>
              <a:gd name="connsiteX6" fmla="*/ 23892 w 318558"/>
              <a:gd name="connsiteY6" fmla="*/ 87604 h 318558"/>
              <a:gd name="connsiteX7" fmla="*/ 23892 w 318558"/>
              <a:gd name="connsiteY7" fmla="*/ 234937 h 318558"/>
              <a:gd name="connsiteX8" fmla="*/ 51766 w 318558"/>
              <a:gd name="connsiteY8" fmla="*/ 262811 h 318558"/>
              <a:gd name="connsiteX9" fmla="*/ 127423 w 318558"/>
              <a:gd name="connsiteY9" fmla="*/ 262811 h 318558"/>
              <a:gd name="connsiteX10" fmla="*/ 127423 w 318558"/>
              <a:gd name="connsiteY10" fmla="*/ 286703 h 318558"/>
              <a:gd name="connsiteX11" fmla="*/ 51766 w 318558"/>
              <a:gd name="connsiteY11" fmla="*/ 286703 h 318558"/>
              <a:gd name="connsiteX12" fmla="*/ 0 w 318558"/>
              <a:gd name="connsiteY12" fmla="*/ 234937 h 318558"/>
              <a:gd name="connsiteX13" fmla="*/ 0 w 318558"/>
              <a:gd name="connsiteY13" fmla="*/ 51766 h 318558"/>
              <a:gd name="connsiteX14" fmla="*/ 51766 w 318558"/>
              <a:gd name="connsiteY14" fmla="*/ 0 h 318558"/>
              <a:gd name="connsiteX15" fmla="*/ 234937 w 318558"/>
              <a:gd name="connsiteY15" fmla="*/ 0 h 318558"/>
              <a:gd name="connsiteX16" fmla="*/ 234937 w 318558"/>
              <a:gd name="connsiteY16" fmla="*/ 23892 h 318558"/>
              <a:gd name="connsiteX17" fmla="*/ 51766 w 318558"/>
              <a:gd name="connsiteY17" fmla="*/ 23892 h 318558"/>
              <a:gd name="connsiteX18" fmla="*/ 23892 w 318558"/>
              <a:gd name="connsiteY18" fmla="*/ 51766 h 318558"/>
              <a:gd name="connsiteX19" fmla="*/ 23892 w 318558"/>
              <a:gd name="connsiteY19" fmla="*/ 63712 h 318558"/>
              <a:gd name="connsiteX20" fmla="*/ 262811 w 318558"/>
              <a:gd name="connsiteY20" fmla="*/ 63712 h 318558"/>
              <a:gd name="connsiteX21" fmla="*/ 262811 w 318558"/>
              <a:gd name="connsiteY21" fmla="*/ 51766 h 318558"/>
              <a:gd name="connsiteX22" fmla="*/ 234937 w 318558"/>
              <a:gd name="connsiteY22" fmla="*/ 23892 h 318558"/>
              <a:gd name="connsiteX23" fmla="*/ 230955 w 318558"/>
              <a:gd name="connsiteY23" fmla="*/ 143351 h 318558"/>
              <a:gd name="connsiteX24" fmla="*/ 207063 w 318558"/>
              <a:gd name="connsiteY24" fmla="*/ 167243 h 318558"/>
              <a:gd name="connsiteX25" fmla="*/ 207063 w 318558"/>
              <a:gd name="connsiteY25" fmla="*/ 294666 h 318558"/>
              <a:gd name="connsiteX26" fmla="*/ 230955 w 318558"/>
              <a:gd name="connsiteY26" fmla="*/ 318558 h 318558"/>
              <a:gd name="connsiteX27" fmla="*/ 254847 w 318558"/>
              <a:gd name="connsiteY27" fmla="*/ 294666 h 318558"/>
              <a:gd name="connsiteX28" fmla="*/ 254847 w 318558"/>
              <a:gd name="connsiteY28" fmla="*/ 167243 h 318558"/>
              <a:gd name="connsiteX29" fmla="*/ 230955 w 318558"/>
              <a:gd name="connsiteY29" fmla="*/ 143351 h 318558"/>
              <a:gd name="connsiteX30" fmla="*/ 167243 w 318558"/>
              <a:gd name="connsiteY30" fmla="*/ 207063 h 318558"/>
              <a:gd name="connsiteX31" fmla="*/ 143351 w 318558"/>
              <a:gd name="connsiteY31" fmla="*/ 230955 h 318558"/>
              <a:gd name="connsiteX32" fmla="*/ 143351 w 318558"/>
              <a:gd name="connsiteY32" fmla="*/ 294666 h 318558"/>
              <a:gd name="connsiteX33" fmla="*/ 167243 w 318558"/>
              <a:gd name="connsiteY33" fmla="*/ 318558 h 318558"/>
              <a:gd name="connsiteX34" fmla="*/ 191135 w 318558"/>
              <a:gd name="connsiteY34" fmla="*/ 294666 h 318558"/>
              <a:gd name="connsiteX35" fmla="*/ 191135 w 318558"/>
              <a:gd name="connsiteY35" fmla="*/ 230955 h 318558"/>
              <a:gd name="connsiteX36" fmla="*/ 167243 w 318558"/>
              <a:gd name="connsiteY36" fmla="*/ 207063 h 318558"/>
              <a:gd name="connsiteX37" fmla="*/ 270775 w 318558"/>
              <a:gd name="connsiteY37" fmla="*/ 199099 h 318558"/>
              <a:gd name="connsiteX38" fmla="*/ 294666 w 318558"/>
              <a:gd name="connsiteY38" fmla="*/ 175207 h 318558"/>
              <a:gd name="connsiteX39" fmla="*/ 318558 w 318558"/>
              <a:gd name="connsiteY39" fmla="*/ 199099 h 318558"/>
              <a:gd name="connsiteX40" fmla="*/ 318558 w 318558"/>
              <a:gd name="connsiteY40" fmla="*/ 294666 h 318558"/>
              <a:gd name="connsiteX41" fmla="*/ 294666 w 318558"/>
              <a:gd name="connsiteY41" fmla="*/ 318558 h 318558"/>
              <a:gd name="connsiteX42" fmla="*/ 270775 w 318558"/>
              <a:gd name="connsiteY42" fmla="*/ 294666 h 318558"/>
              <a:gd name="connsiteX43" fmla="*/ 270775 w 318558"/>
              <a:gd name="connsiteY43" fmla="*/ 199099 h 31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18558" h="318558">
                <a:moveTo>
                  <a:pt x="234937" y="0"/>
                </a:moveTo>
                <a:cubicBezTo>
                  <a:pt x="263526" y="0"/>
                  <a:pt x="286703" y="23176"/>
                  <a:pt x="286703" y="51766"/>
                </a:cubicBezTo>
                <a:lnTo>
                  <a:pt x="286703" y="160076"/>
                </a:lnTo>
                <a:cubicBezTo>
                  <a:pt x="280819" y="161270"/>
                  <a:pt x="275405" y="163763"/>
                  <a:pt x="270775" y="167240"/>
                </a:cubicBezTo>
                <a:cubicBezTo>
                  <a:pt x="270775" y="158276"/>
                  <a:pt x="267810" y="150003"/>
                  <a:pt x="262811" y="143348"/>
                </a:cubicBezTo>
                <a:lnTo>
                  <a:pt x="262811" y="87604"/>
                </a:lnTo>
                <a:lnTo>
                  <a:pt x="23892" y="87604"/>
                </a:lnTo>
                <a:lnTo>
                  <a:pt x="23892" y="234937"/>
                </a:lnTo>
                <a:cubicBezTo>
                  <a:pt x="23892" y="250331"/>
                  <a:pt x="36371" y="262811"/>
                  <a:pt x="51766" y="262811"/>
                </a:cubicBezTo>
                <a:lnTo>
                  <a:pt x="127423" y="262811"/>
                </a:lnTo>
                <a:lnTo>
                  <a:pt x="127423" y="286703"/>
                </a:lnTo>
                <a:lnTo>
                  <a:pt x="51766" y="286703"/>
                </a:lnTo>
                <a:cubicBezTo>
                  <a:pt x="23176" y="286703"/>
                  <a:pt x="0" y="263526"/>
                  <a:pt x="0" y="234937"/>
                </a:cubicBezTo>
                <a:lnTo>
                  <a:pt x="0" y="51766"/>
                </a:lnTo>
                <a:cubicBezTo>
                  <a:pt x="0" y="23176"/>
                  <a:pt x="23176" y="0"/>
                  <a:pt x="51766" y="0"/>
                </a:cubicBezTo>
                <a:lnTo>
                  <a:pt x="234937" y="0"/>
                </a:lnTo>
                <a:close/>
                <a:moveTo>
                  <a:pt x="234937" y="23892"/>
                </a:moveTo>
                <a:lnTo>
                  <a:pt x="51766" y="23892"/>
                </a:lnTo>
                <a:cubicBezTo>
                  <a:pt x="36371" y="23892"/>
                  <a:pt x="23892" y="36371"/>
                  <a:pt x="23892" y="51766"/>
                </a:cubicBezTo>
                <a:lnTo>
                  <a:pt x="23892" y="63712"/>
                </a:lnTo>
                <a:lnTo>
                  <a:pt x="262811" y="63712"/>
                </a:lnTo>
                <a:lnTo>
                  <a:pt x="262811" y="51766"/>
                </a:lnTo>
                <a:cubicBezTo>
                  <a:pt x="262811" y="36371"/>
                  <a:pt x="250331" y="23892"/>
                  <a:pt x="234937" y="23892"/>
                </a:cubicBezTo>
                <a:close/>
                <a:moveTo>
                  <a:pt x="230955" y="143351"/>
                </a:moveTo>
                <a:cubicBezTo>
                  <a:pt x="217760" y="143351"/>
                  <a:pt x="207063" y="154048"/>
                  <a:pt x="207063" y="167243"/>
                </a:cubicBezTo>
                <a:lnTo>
                  <a:pt x="207063" y="294666"/>
                </a:lnTo>
                <a:cubicBezTo>
                  <a:pt x="207063" y="307861"/>
                  <a:pt x="217760" y="318558"/>
                  <a:pt x="230955" y="318558"/>
                </a:cubicBezTo>
                <a:cubicBezTo>
                  <a:pt x="244149" y="318558"/>
                  <a:pt x="254847" y="307861"/>
                  <a:pt x="254847" y="294666"/>
                </a:cubicBezTo>
                <a:lnTo>
                  <a:pt x="254847" y="167243"/>
                </a:lnTo>
                <a:cubicBezTo>
                  <a:pt x="254847" y="154048"/>
                  <a:pt x="244149" y="143351"/>
                  <a:pt x="230955" y="143351"/>
                </a:cubicBezTo>
                <a:close/>
                <a:moveTo>
                  <a:pt x="167243" y="207063"/>
                </a:moveTo>
                <a:cubicBezTo>
                  <a:pt x="154048" y="207063"/>
                  <a:pt x="143351" y="217760"/>
                  <a:pt x="143351" y="230955"/>
                </a:cubicBezTo>
                <a:lnTo>
                  <a:pt x="143351" y="294666"/>
                </a:lnTo>
                <a:cubicBezTo>
                  <a:pt x="143351" y="307861"/>
                  <a:pt x="154048" y="318558"/>
                  <a:pt x="167243" y="318558"/>
                </a:cubicBezTo>
                <a:cubicBezTo>
                  <a:pt x="180438" y="318558"/>
                  <a:pt x="191135" y="307861"/>
                  <a:pt x="191135" y="294666"/>
                </a:cubicBezTo>
                <a:lnTo>
                  <a:pt x="191135" y="230955"/>
                </a:lnTo>
                <a:cubicBezTo>
                  <a:pt x="191135" y="217760"/>
                  <a:pt x="180438" y="207063"/>
                  <a:pt x="167243" y="207063"/>
                </a:cubicBezTo>
                <a:close/>
                <a:moveTo>
                  <a:pt x="270775" y="199099"/>
                </a:moveTo>
                <a:cubicBezTo>
                  <a:pt x="270775" y="185904"/>
                  <a:pt x="281472" y="175207"/>
                  <a:pt x="294666" y="175207"/>
                </a:cubicBezTo>
                <a:cubicBezTo>
                  <a:pt x="307861" y="175207"/>
                  <a:pt x="318558" y="185904"/>
                  <a:pt x="318558" y="199099"/>
                </a:cubicBezTo>
                <a:lnTo>
                  <a:pt x="318558" y="294666"/>
                </a:lnTo>
                <a:cubicBezTo>
                  <a:pt x="318558" y="307861"/>
                  <a:pt x="307861" y="318558"/>
                  <a:pt x="294666" y="318558"/>
                </a:cubicBezTo>
                <a:cubicBezTo>
                  <a:pt x="281472" y="318558"/>
                  <a:pt x="270775" y="307861"/>
                  <a:pt x="270775" y="294666"/>
                </a:cubicBezTo>
                <a:lnTo>
                  <a:pt x="270775" y="199099"/>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457200">
              <a:spcAft>
                <a:spcPts val="800"/>
              </a:spcAft>
            </a:pPr>
            <a:endParaRPr lang="en-US" sz="1400" i="1">
              <a:solidFill>
                <a:schemeClr val="bg1"/>
              </a:solidFill>
              <a:latin typeface="+mj-lt"/>
              <a:ea typeface="+mj-ea"/>
              <a:cs typeface="+mj-cs"/>
            </a:endParaRPr>
          </a:p>
        </p:txBody>
      </p:sp>
      <p:sp>
        <p:nvSpPr>
          <p:cNvPr id="32" name="Graphic 74">
            <a:extLst>
              <a:ext uri="{FF2B5EF4-FFF2-40B4-BE49-F238E27FC236}">
                <a16:creationId xmlns:a16="http://schemas.microsoft.com/office/drawing/2014/main" id="{0ED42503-06DB-3046-B397-258C7B274549}"/>
              </a:ext>
              <a:ext uri="{C183D7F6-B498-43B3-948B-1728B52AA6E4}">
                <adec:decorative xmlns:adec="http://schemas.microsoft.com/office/drawing/2017/decorative" val="1"/>
              </a:ext>
            </a:extLst>
          </p:cNvPr>
          <p:cNvSpPr/>
          <p:nvPr/>
        </p:nvSpPr>
        <p:spPr>
          <a:xfrm>
            <a:off x="2504912" y="2973826"/>
            <a:ext cx="367726" cy="382968"/>
          </a:xfrm>
          <a:custGeom>
            <a:avLst/>
            <a:gdLst>
              <a:gd name="connsiteX0" fmla="*/ 89274 w 178343"/>
              <a:gd name="connsiteY0" fmla="*/ 0 h 185737"/>
              <a:gd name="connsiteX1" fmla="*/ 110052 w 178343"/>
              <a:gd name="connsiteY1" fmla="*/ 2410 h 185737"/>
              <a:gd name="connsiteX2" fmla="*/ 115597 w 178343"/>
              <a:gd name="connsiteY2" fmla="*/ 8591 h 185737"/>
              <a:gd name="connsiteX3" fmla="*/ 117218 w 178343"/>
              <a:gd name="connsiteY3" fmla="*/ 23134 h 185737"/>
              <a:gd name="connsiteX4" fmla="*/ 130311 w 178343"/>
              <a:gd name="connsiteY4" fmla="*/ 34877 h 185737"/>
              <a:gd name="connsiteX5" fmla="*/ 135575 w 178343"/>
              <a:gd name="connsiteY5" fmla="*/ 33765 h 185737"/>
              <a:gd name="connsiteX6" fmla="*/ 148915 w 178343"/>
              <a:gd name="connsiteY6" fmla="*/ 27904 h 185737"/>
              <a:gd name="connsiteX7" fmla="*/ 157003 w 178343"/>
              <a:gd name="connsiteY7" fmla="*/ 29562 h 185737"/>
              <a:gd name="connsiteX8" fmla="*/ 178004 w 178343"/>
              <a:gd name="connsiteY8" fmla="*/ 65680 h 185737"/>
              <a:gd name="connsiteX9" fmla="*/ 175419 w 178343"/>
              <a:gd name="connsiteY9" fmla="*/ 73547 h 185737"/>
              <a:gd name="connsiteX10" fmla="*/ 163594 w 178343"/>
              <a:gd name="connsiteY10" fmla="*/ 82264 h 185737"/>
              <a:gd name="connsiteX11" fmla="*/ 158229 w 178343"/>
              <a:gd name="connsiteY11" fmla="*/ 92864 h 185737"/>
              <a:gd name="connsiteX12" fmla="*/ 163601 w 178343"/>
              <a:gd name="connsiteY12" fmla="*/ 103469 h 185737"/>
              <a:gd name="connsiteX13" fmla="*/ 175437 w 178343"/>
              <a:gd name="connsiteY13" fmla="*/ 112188 h 185737"/>
              <a:gd name="connsiteX14" fmla="*/ 178023 w 178343"/>
              <a:gd name="connsiteY14" fmla="*/ 120056 h 185737"/>
              <a:gd name="connsiteX15" fmla="*/ 157034 w 178343"/>
              <a:gd name="connsiteY15" fmla="*/ 156173 h 185737"/>
              <a:gd name="connsiteX16" fmla="*/ 148951 w 178343"/>
              <a:gd name="connsiteY16" fmla="*/ 157835 h 185737"/>
              <a:gd name="connsiteX17" fmla="*/ 135555 w 178343"/>
              <a:gd name="connsiteY17" fmla="*/ 151967 h 185737"/>
              <a:gd name="connsiteX18" fmla="*/ 123700 w 178343"/>
              <a:gd name="connsiteY18" fmla="*/ 152629 h 185737"/>
              <a:gd name="connsiteX19" fmla="*/ 117208 w 178343"/>
              <a:gd name="connsiteY19" fmla="*/ 162570 h 185737"/>
              <a:gd name="connsiteX20" fmla="*/ 115598 w 178343"/>
              <a:gd name="connsiteY20" fmla="*/ 177112 h 185737"/>
              <a:gd name="connsiteX21" fmla="*/ 110151 w 178343"/>
              <a:gd name="connsiteY21" fmla="*/ 183275 h 185737"/>
              <a:gd name="connsiteX22" fmla="*/ 68184 w 178343"/>
              <a:gd name="connsiteY22" fmla="*/ 183275 h 185737"/>
              <a:gd name="connsiteX23" fmla="*/ 62737 w 178343"/>
              <a:gd name="connsiteY23" fmla="*/ 177112 h 185737"/>
              <a:gd name="connsiteX24" fmla="*/ 61129 w 178343"/>
              <a:gd name="connsiteY24" fmla="*/ 162592 h 185737"/>
              <a:gd name="connsiteX25" fmla="*/ 54624 w 178343"/>
              <a:gd name="connsiteY25" fmla="*/ 152676 h 185737"/>
              <a:gd name="connsiteX26" fmla="*/ 42792 w 178343"/>
              <a:gd name="connsiteY26" fmla="*/ 152013 h 185737"/>
              <a:gd name="connsiteX27" fmla="*/ 29393 w 178343"/>
              <a:gd name="connsiteY27" fmla="*/ 157883 h 185737"/>
              <a:gd name="connsiteX28" fmla="*/ 21309 w 178343"/>
              <a:gd name="connsiteY28" fmla="*/ 156219 h 185737"/>
              <a:gd name="connsiteX29" fmla="*/ 320 w 178343"/>
              <a:gd name="connsiteY29" fmla="*/ 120061 h 185737"/>
              <a:gd name="connsiteX30" fmla="*/ 2907 w 178343"/>
              <a:gd name="connsiteY30" fmla="*/ 112198 h 185737"/>
              <a:gd name="connsiteX31" fmla="*/ 14750 w 178343"/>
              <a:gd name="connsiteY31" fmla="*/ 103473 h 185737"/>
              <a:gd name="connsiteX32" fmla="*/ 20115 w 178343"/>
              <a:gd name="connsiteY32" fmla="*/ 92874 h 185737"/>
              <a:gd name="connsiteX33" fmla="*/ 14745 w 178343"/>
              <a:gd name="connsiteY33" fmla="*/ 82270 h 185737"/>
              <a:gd name="connsiteX34" fmla="*/ 2910 w 178343"/>
              <a:gd name="connsiteY34" fmla="*/ 73560 h 185737"/>
              <a:gd name="connsiteX35" fmla="*/ 321 w 178343"/>
              <a:gd name="connsiteY35" fmla="*/ 65690 h 185737"/>
              <a:gd name="connsiteX36" fmla="*/ 21321 w 178343"/>
              <a:gd name="connsiteY36" fmla="*/ 29572 h 185737"/>
              <a:gd name="connsiteX37" fmla="*/ 29409 w 178343"/>
              <a:gd name="connsiteY37" fmla="*/ 27914 h 185737"/>
              <a:gd name="connsiteX38" fmla="*/ 42748 w 178343"/>
              <a:gd name="connsiteY38" fmla="*/ 33773 h 185737"/>
              <a:gd name="connsiteX39" fmla="*/ 54637 w 178343"/>
              <a:gd name="connsiteY39" fmla="*/ 33077 h 185737"/>
              <a:gd name="connsiteX40" fmla="*/ 61136 w 178343"/>
              <a:gd name="connsiteY40" fmla="*/ 23123 h 185737"/>
              <a:gd name="connsiteX41" fmla="*/ 62756 w 178343"/>
              <a:gd name="connsiteY41" fmla="*/ 8591 h 185737"/>
              <a:gd name="connsiteX42" fmla="*/ 68305 w 178343"/>
              <a:gd name="connsiteY42" fmla="*/ 2409 h 185737"/>
              <a:gd name="connsiteX43" fmla="*/ 89274 w 178343"/>
              <a:gd name="connsiteY43" fmla="*/ 0 h 185737"/>
              <a:gd name="connsiteX44" fmla="*/ 89275 w 178343"/>
              <a:gd name="connsiteY44" fmla="*/ 14287 h 185737"/>
              <a:gd name="connsiteX45" fmla="*/ 76373 w 178343"/>
              <a:gd name="connsiteY45" fmla="*/ 15402 h 185737"/>
              <a:gd name="connsiteX46" fmla="*/ 75336 w 178343"/>
              <a:gd name="connsiteY46" fmla="*/ 24710 h 185737"/>
              <a:gd name="connsiteX47" fmla="*/ 61825 w 178343"/>
              <a:gd name="connsiteY47" fmla="*/ 45425 h 185737"/>
              <a:gd name="connsiteX48" fmla="*/ 37004 w 178343"/>
              <a:gd name="connsiteY48" fmla="*/ 46855 h 185737"/>
              <a:gd name="connsiteX49" fmla="*/ 28448 w 178343"/>
              <a:gd name="connsiteY49" fmla="*/ 43096 h 185737"/>
              <a:gd name="connsiteX50" fmla="*/ 15610 w 178343"/>
              <a:gd name="connsiteY50" fmla="*/ 65167 h 185737"/>
              <a:gd name="connsiteX51" fmla="*/ 23209 w 178343"/>
              <a:gd name="connsiteY51" fmla="*/ 70759 h 185737"/>
              <a:gd name="connsiteX52" fmla="*/ 34403 w 178343"/>
              <a:gd name="connsiteY52" fmla="*/ 92874 h 185737"/>
              <a:gd name="connsiteX53" fmla="*/ 23217 w 178343"/>
              <a:gd name="connsiteY53" fmla="*/ 114981 h 185737"/>
              <a:gd name="connsiteX54" fmla="*/ 15606 w 178343"/>
              <a:gd name="connsiteY54" fmla="*/ 120588 h 185737"/>
              <a:gd name="connsiteX55" fmla="*/ 28445 w 178343"/>
              <a:gd name="connsiteY55" fmla="*/ 142700 h 185737"/>
              <a:gd name="connsiteX56" fmla="*/ 37066 w 178343"/>
              <a:gd name="connsiteY56" fmla="*/ 138923 h 185737"/>
              <a:gd name="connsiteX57" fmla="*/ 61759 w 178343"/>
              <a:gd name="connsiteY57" fmla="*/ 140298 h 185737"/>
              <a:gd name="connsiteX58" fmla="*/ 75327 w 178343"/>
              <a:gd name="connsiteY58" fmla="*/ 160997 h 185737"/>
              <a:gd name="connsiteX59" fmla="*/ 76364 w 178343"/>
              <a:gd name="connsiteY59" fmla="*/ 170369 h 185737"/>
              <a:gd name="connsiteX60" fmla="*/ 101970 w 178343"/>
              <a:gd name="connsiteY60" fmla="*/ 170369 h 185737"/>
              <a:gd name="connsiteX61" fmla="*/ 103007 w 178343"/>
              <a:gd name="connsiteY61" fmla="*/ 160998 h 185737"/>
              <a:gd name="connsiteX62" fmla="*/ 116551 w 178343"/>
              <a:gd name="connsiteY62" fmla="*/ 140258 h 185737"/>
              <a:gd name="connsiteX63" fmla="*/ 141286 w 178343"/>
              <a:gd name="connsiteY63" fmla="*/ 138879 h 185737"/>
              <a:gd name="connsiteX64" fmla="*/ 149900 w 178343"/>
              <a:gd name="connsiteY64" fmla="*/ 142653 h 185737"/>
              <a:gd name="connsiteX65" fmla="*/ 162735 w 178343"/>
              <a:gd name="connsiteY65" fmla="*/ 120577 h 185737"/>
              <a:gd name="connsiteX66" fmla="*/ 155134 w 178343"/>
              <a:gd name="connsiteY66" fmla="*/ 114977 h 185737"/>
              <a:gd name="connsiteX67" fmla="*/ 143941 w 178343"/>
              <a:gd name="connsiteY67" fmla="*/ 92864 h 185737"/>
              <a:gd name="connsiteX68" fmla="*/ 155126 w 178343"/>
              <a:gd name="connsiteY68" fmla="*/ 70756 h 185737"/>
              <a:gd name="connsiteX69" fmla="*/ 162716 w 178343"/>
              <a:gd name="connsiteY69" fmla="*/ 65161 h 185737"/>
              <a:gd name="connsiteX70" fmla="*/ 149877 w 178343"/>
              <a:gd name="connsiteY70" fmla="*/ 43087 h 185737"/>
              <a:gd name="connsiteX71" fmla="*/ 141338 w 178343"/>
              <a:gd name="connsiteY71" fmla="*/ 46838 h 185737"/>
              <a:gd name="connsiteX72" fmla="*/ 130293 w 178343"/>
              <a:gd name="connsiteY72" fmla="*/ 49164 h 185737"/>
              <a:gd name="connsiteX73" fmla="*/ 103017 w 178343"/>
              <a:gd name="connsiteY73" fmla="*/ 24706 h 185737"/>
              <a:gd name="connsiteX74" fmla="*/ 101980 w 178343"/>
              <a:gd name="connsiteY74" fmla="*/ 15399 h 185737"/>
              <a:gd name="connsiteX75" fmla="*/ 89275 w 178343"/>
              <a:gd name="connsiteY75" fmla="*/ 14287 h 185737"/>
              <a:gd name="connsiteX76" fmla="*/ 89155 w 178343"/>
              <a:gd name="connsiteY76" fmla="*/ 57150 h 185737"/>
              <a:gd name="connsiteX77" fmla="*/ 124873 w 178343"/>
              <a:gd name="connsiteY77" fmla="*/ 92869 h 185737"/>
              <a:gd name="connsiteX78" fmla="*/ 89155 w 178343"/>
              <a:gd name="connsiteY78" fmla="*/ 128588 h 185737"/>
              <a:gd name="connsiteX79" fmla="*/ 53436 w 178343"/>
              <a:gd name="connsiteY79" fmla="*/ 92869 h 185737"/>
              <a:gd name="connsiteX80" fmla="*/ 89155 w 178343"/>
              <a:gd name="connsiteY80" fmla="*/ 57150 h 185737"/>
              <a:gd name="connsiteX81" fmla="*/ 89155 w 178343"/>
              <a:gd name="connsiteY81" fmla="*/ 71437 h 185737"/>
              <a:gd name="connsiteX82" fmla="*/ 67723 w 178343"/>
              <a:gd name="connsiteY82" fmla="*/ 92869 h 185737"/>
              <a:gd name="connsiteX83" fmla="*/ 89155 w 178343"/>
              <a:gd name="connsiteY83" fmla="*/ 114300 h 185737"/>
              <a:gd name="connsiteX84" fmla="*/ 110586 w 178343"/>
              <a:gd name="connsiteY84" fmla="*/ 92869 h 185737"/>
              <a:gd name="connsiteX85" fmla="*/ 89155 w 178343"/>
              <a:gd name="connsiteY85" fmla="*/ 71437 h 18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8343" h="185737">
                <a:moveTo>
                  <a:pt x="89274" y="0"/>
                </a:moveTo>
                <a:cubicBezTo>
                  <a:pt x="96264" y="81"/>
                  <a:pt x="103228" y="888"/>
                  <a:pt x="110052" y="2410"/>
                </a:cubicBezTo>
                <a:cubicBezTo>
                  <a:pt x="113031" y="3075"/>
                  <a:pt x="115259" y="5558"/>
                  <a:pt x="115597" y="8591"/>
                </a:cubicBezTo>
                <a:lnTo>
                  <a:pt x="117218" y="23134"/>
                </a:lnTo>
                <a:cubicBezTo>
                  <a:pt x="117952" y="29812"/>
                  <a:pt x="123590" y="34870"/>
                  <a:pt x="130311" y="34877"/>
                </a:cubicBezTo>
                <a:cubicBezTo>
                  <a:pt x="132118" y="34879"/>
                  <a:pt x="133905" y="34503"/>
                  <a:pt x="135575" y="33765"/>
                </a:cubicBezTo>
                <a:lnTo>
                  <a:pt x="148915" y="27904"/>
                </a:lnTo>
                <a:cubicBezTo>
                  <a:pt x="151690" y="26685"/>
                  <a:pt x="154932" y="27350"/>
                  <a:pt x="157003" y="29562"/>
                </a:cubicBezTo>
                <a:cubicBezTo>
                  <a:pt x="166644" y="39859"/>
                  <a:pt x="173824" y="52208"/>
                  <a:pt x="178004" y="65680"/>
                </a:cubicBezTo>
                <a:cubicBezTo>
                  <a:pt x="178905" y="68586"/>
                  <a:pt x="177868" y="71743"/>
                  <a:pt x="175419" y="73547"/>
                </a:cubicBezTo>
                <a:lnTo>
                  <a:pt x="163594" y="82264"/>
                </a:lnTo>
                <a:cubicBezTo>
                  <a:pt x="160221" y="84742"/>
                  <a:pt x="158229" y="88678"/>
                  <a:pt x="158229" y="92864"/>
                </a:cubicBezTo>
                <a:cubicBezTo>
                  <a:pt x="158229" y="97049"/>
                  <a:pt x="160221" y="100985"/>
                  <a:pt x="163601" y="103469"/>
                </a:cubicBezTo>
                <a:lnTo>
                  <a:pt x="175437" y="112188"/>
                </a:lnTo>
                <a:cubicBezTo>
                  <a:pt x="177886" y="113992"/>
                  <a:pt x="178924" y="117150"/>
                  <a:pt x="178023" y="120056"/>
                </a:cubicBezTo>
                <a:cubicBezTo>
                  <a:pt x="173845" y="133526"/>
                  <a:pt x="166669" y="145874"/>
                  <a:pt x="157034" y="156173"/>
                </a:cubicBezTo>
                <a:cubicBezTo>
                  <a:pt x="154964" y="158385"/>
                  <a:pt x="151725" y="159051"/>
                  <a:pt x="148951" y="157835"/>
                </a:cubicBezTo>
                <a:lnTo>
                  <a:pt x="135555" y="151967"/>
                </a:lnTo>
                <a:cubicBezTo>
                  <a:pt x="131723" y="150289"/>
                  <a:pt x="127321" y="150535"/>
                  <a:pt x="123700" y="152629"/>
                </a:cubicBezTo>
                <a:cubicBezTo>
                  <a:pt x="120078" y="154721"/>
                  <a:pt x="117669" y="158412"/>
                  <a:pt x="117208" y="162570"/>
                </a:cubicBezTo>
                <a:lnTo>
                  <a:pt x="115598" y="177112"/>
                </a:lnTo>
                <a:cubicBezTo>
                  <a:pt x="115265" y="180110"/>
                  <a:pt x="113085" y="182577"/>
                  <a:pt x="110151" y="183275"/>
                </a:cubicBezTo>
                <a:cubicBezTo>
                  <a:pt x="96355" y="186558"/>
                  <a:pt x="81980" y="186558"/>
                  <a:pt x="68184" y="183275"/>
                </a:cubicBezTo>
                <a:cubicBezTo>
                  <a:pt x="65249" y="182577"/>
                  <a:pt x="63069" y="180110"/>
                  <a:pt x="62737" y="177112"/>
                </a:cubicBezTo>
                <a:lnTo>
                  <a:pt x="61129" y="162592"/>
                </a:lnTo>
                <a:cubicBezTo>
                  <a:pt x="60656" y="158442"/>
                  <a:pt x="58242" y="154762"/>
                  <a:pt x="54624" y="152676"/>
                </a:cubicBezTo>
                <a:cubicBezTo>
                  <a:pt x="51005" y="150590"/>
                  <a:pt x="46611" y="150345"/>
                  <a:pt x="42792" y="152013"/>
                </a:cubicBezTo>
                <a:lnTo>
                  <a:pt x="29393" y="157883"/>
                </a:lnTo>
                <a:cubicBezTo>
                  <a:pt x="26618" y="159099"/>
                  <a:pt x="23378" y="158432"/>
                  <a:pt x="21309" y="156219"/>
                </a:cubicBezTo>
                <a:cubicBezTo>
                  <a:pt x="11668" y="145909"/>
                  <a:pt x="4491" y="133545"/>
                  <a:pt x="320" y="120061"/>
                </a:cubicBezTo>
                <a:cubicBezTo>
                  <a:pt x="-579" y="117157"/>
                  <a:pt x="459" y="114001"/>
                  <a:pt x="2907" y="112198"/>
                </a:cubicBezTo>
                <a:lnTo>
                  <a:pt x="14750" y="103473"/>
                </a:lnTo>
                <a:cubicBezTo>
                  <a:pt x="18123" y="100995"/>
                  <a:pt x="20115" y="97059"/>
                  <a:pt x="20115" y="92874"/>
                </a:cubicBezTo>
                <a:cubicBezTo>
                  <a:pt x="20115" y="88687"/>
                  <a:pt x="18123" y="84752"/>
                  <a:pt x="14745" y="82270"/>
                </a:cubicBezTo>
                <a:lnTo>
                  <a:pt x="2910" y="73560"/>
                </a:lnTo>
                <a:cubicBezTo>
                  <a:pt x="459" y="71756"/>
                  <a:pt x="-581" y="68597"/>
                  <a:pt x="321" y="65690"/>
                </a:cubicBezTo>
                <a:cubicBezTo>
                  <a:pt x="4500" y="52217"/>
                  <a:pt x="11680" y="39868"/>
                  <a:pt x="21321" y="29572"/>
                </a:cubicBezTo>
                <a:cubicBezTo>
                  <a:pt x="23393" y="27359"/>
                  <a:pt x="26635" y="26695"/>
                  <a:pt x="29409" y="27914"/>
                </a:cubicBezTo>
                <a:lnTo>
                  <a:pt x="42748" y="33773"/>
                </a:lnTo>
                <a:cubicBezTo>
                  <a:pt x="46586" y="35457"/>
                  <a:pt x="50998" y="35203"/>
                  <a:pt x="54637" y="33077"/>
                </a:cubicBezTo>
                <a:cubicBezTo>
                  <a:pt x="58259" y="30976"/>
                  <a:pt x="60671" y="27282"/>
                  <a:pt x="61136" y="23123"/>
                </a:cubicBezTo>
                <a:lnTo>
                  <a:pt x="62756" y="8591"/>
                </a:lnTo>
                <a:cubicBezTo>
                  <a:pt x="63095" y="5556"/>
                  <a:pt x="65324" y="3072"/>
                  <a:pt x="68305" y="2409"/>
                </a:cubicBezTo>
                <a:cubicBezTo>
                  <a:pt x="75138" y="890"/>
                  <a:pt x="82108" y="82"/>
                  <a:pt x="89274" y="0"/>
                </a:cubicBezTo>
                <a:close/>
                <a:moveTo>
                  <a:pt x="89275" y="14287"/>
                </a:moveTo>
                <a:cubicBezTo>
                  <a:pt x="84950" y="14337"/>
                  <a:pt x="80637" y="14711"/>
                  <a:pt x="76373" y="15402"/>
                </a:cubicBezTo>
                <a:lnTo>
                  <a:pt x="75336" y="24710"/>
                </a:lnTo>
                <a:cubicBezTo>
                  <a:pt x="74366" y="33373"/>
                  <a:pt x="69346" y="41062"/>
                  <a:pt x="61825" y="45425"/>
                </a:cubicBezTo>
                <a:cubicBezTo>
                  <a:pt x="54257" y="49846"/>
                  <a:pt x="45031" y="50378"/>
                  <a:pt x="37004" y="46855"/>
                </a:cubicBezTo>
                <a:lnTo>
                  <a:pt x="28448" y="43096"/>
                </a:lnTo>
                <a:cubicBezTo>
                  <a:pt x="23000" y="49708"/>
                  <a:pt x="18664" y="57163"/>
                  <a:pt x="15610" y="65167"/>
                </a:cubicBezTo>
                <a:lnTo>
                  <a:pt x="23209" y="70759"/>
                </a:lnTo>
                <a:cubicBezTo>
                  <a:pt x="30246" y="75929"/>
                  <a:pt x="34403" y="84141"/>
                  <a:pt x="34403" y="92874"/>
                </a:cubicBezTo>
                <a:cubicBezTo>
                  <a:pt x="34403" y="101605"/>
                  <a:pt x="30246" y="109817"/>
                  <a:pt x="23217" y="114981"/>
                </a:cubicBezTo>
                <a:lnTo>
                  <a:pt x="15606" y="120588"/>
                </a:lnTo>
                <a:cubicBezTo>
                  <a:pt x="18657" y="128607"/>
                  <a:pt x="22994" y="136075"/>
                  <a:pt x="28445" y="142700"/>
                </a:cubicBezTo>
                <a:lnTo>
                  <a:pt x="37066" y="138923"/>
                </a:lnTo>
                <a:cubicBezTo>
                  <a:pt x="45049" y="135438"/>
                  <a:pt x="54212" y="135947"/>
                  <a:pt x="61759" y="140298"/>
                </a:cubicBezTo>
                <a:cubicBezTo>
                  <a:pt x="69305" y="144648"/>
                  <a:pt x="74339" y="152321"/>
                  <a:pt x="75327" y="160997"/>
                </a:cubicBezTo>
                <a:lnTo>
                  <a:pt x="76364" y="170369"/>
                </a:lnTo>
                <a:cubicBezTo>
                  <a:pt x="84839" y="171810"/>
                  <a:pt x="93495" y="171810"/>
                  <a:pt x="101970" y="170369"/>
                </a:cubicBezTo>
                <a:lnTo>
                  <a:pt x="103007" y="160998"/>
                </a:lnTo>
                <a:cubicBezTo>
                  <a:pt x="103967" y="152325"/>
                  <a:pt x="108995" y="144625"/>
                  <a:pt x="116551" y="140258"/>
                </a:cubicBezTo>
                <a:cubicBezTo>
                  <a:pt x="124107" y="135891"/>
                  <a:pt x="133289" y="135379"/>
                  <a:pt x="141286" y="138879"/>
                </a:cubicBezTo>
                <a:lnTo>
                  <a:pt x="149900" y="142653"/>
                </a:lnTo>
                <a:cubicBezTo>
                  <a:pt x="155347" y="136039"/>
                  <a:pt x="159682" y="128583"/>
                  <a:pt x="162735" y="120577"/>
                </a:cubicBezTo>
                <a:lnTo>
                  <a:pt x="155134" y="114977"/>
                </a:lnTo>
                <a:cubicBezTo>
                  <a:pt x="148097" y="109807"/>
                  <a:pt x="143941" y="101596"/>
                  <a:pt x="143941" y="92864"/>
                </a:cubicBezTo>
                <a:cubicBezTo>
                  <a:pt x="143941" y="84131"/>
                  <a:pt x="148097" y="75920"/>
                  <a:pt x="155126" y="70756"/>
                </a:cubicBezTo>
                <a:lnTo>
                  <a:pt x="162716" y="65161"/>
                </a:lnTo>
                <a:cubicBezTo>
                  <a:pt x="159662" y="57156"/>
                  <a:pt x="155326" y="49700"/>
                  <a:pt x="149877" y="43087"/>
                </a:cubicBezTo>
                <a:lnTo>
                  <a:pt x="141338" y="46838"/>
                </a:lnTo>
                <a:cubicBezTo>
                  <a:pt x="137858" y="48378"/>
                  <a:pt x="134095" y="49170"/>
                  <a:pt x="130293" y="49164"/>
                </a:cubicBezTo>
                <a:cubicBezTo>
                  <a:pt x="116294" y="49149"/>
                  <a:pt x="104545" y="38610"/>
                  <a:pt x="103017" y="24706"/>
                </a:cubicBezTo>
                <a:lnTo>
                  <a:pt x="101980" y="15399"/>
                </a:lnTo>
                <a:cubicBezTo>
                  <a:pt x="97737" y="14709"/>
                  <a:pt x="93468" y="14336"/>
                  <a:pt x="89275" y="14287"/>
                </a:cubicBezTo>
                <a:close/>
                <a:moveTo>
                  <a:pt x="89155" y="57150"/>
                </a:moveTo>
                <a:cubicBezTo>
                  <a:pt x="108882" y="57150"/>
                  <a:pt x="124873" y="73141"/>
                  <a:pt x="124873" y="92869"/>
                </a:cubicBezTo>
                <a:cubicBezTo>
                  <a:pt x="124873" y="112595"/>
                  <a:pt x="108882" y="128588"/>
                  <a:pt x="89155" y="128588"/>
                </a:cubicBezTo>
                <a:cubicBezTo>
                  <a:pt x="69428" y="128588"/>
                  <a:pt x="53436" y="112595"/>
                  <a:pt x="53436" y="92869"/>
                </a:cubicBezTo>
                <a:cubicBezTo>
                  <a:pt x="53436" y="73141"/>
                  <a:pt x="69428" y="57150"/>
                  <a:pt x="89155" y="57150"/>
                </a:cubicBezTo>
                <a:close/>
                <a:moveTo>
                  <a:pt x="89155" y="71437"/>
                </a:moveTo>
                <a:cubicBezTo>
                  <a:pt x="77318" y="71437"/>
                  <a:pt x="67723" y="81032"/>
                  <a:pt x="67723" y="92869"/>
                </a:cubicBezTo>
                <a:cubicBezTo>
                  <a:pt x="67723" y="104705"/>
                  <a:pt x="77318" y="114300"/>
                  <a:pt x="89155" y="114300"/>
                </a:cubicBezTo>
                <a:cubicBezTo>
                  <a:pt x="100990" y="114300"/>
                  <a:pt x="110586" y="104705"/>
                  <a:pt x="110586" y="92869"/>
                </a:cubicBezTo>
                <a:cubicBezTo>
                  <a:pt x="110586" y="81032"/>
                  <a:pt x="100990" y="71437"/>
                  <a:pt x="89155" y="71437"/>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defTabSz="457200">
              <a:spcAft>
                <a:spcPts val="800"/>
              </a:spcAft>
            </a:pPr>
            <a:endParaRPr lang="en-IN" sz="1400" i="1">
              <a:solidFill>
                <a:schemeClr val="bg1"/>
              </a:solidFill>
              <a:latin typeface="+mj-lt"/>
              <a:ea typeface="+mj-ea"/>
              <a:cs typeface="+mj-cs"/>
            </a:endParaRPr>
          </a:p>
        </p:txBody>
      </p:sp>
      <p:pic>
        <p:nvPicPr>
          <p:cNvPr id="33" name="Picture 4" descr="Logo de Microsoft 365 Copilot">
            <a:extLst>
              <a:ext uri="{FF2B5EF4-FFF2-40B4-BE49-F238E27FC236}">
                <a16:creationId xmlns:a16="http://schemas.microsoft.com/office/drawing/2014/main" id="{565D5E7F-BC56-4B6E-BC53-757B8746E063}"/>
              </a:ext>
            </a:extLst>
          </p:cNvPr>
          <p:cNvPicPr>
            <a:picLocks noChangeAspect="1" noChangeArrowheads="1"/>
          </p:cNvPicPr>
          <p:nvPr/>
        </p:nvPicPr>
        <p:blipFill>
          <a:blip r:embed="rId4"/>
          <a:srcRect/>
          <a:stretch/>
        </p:blipFill>
        <p:spPr bwMode="auto">
          <a:xfrm>
            <a:off x="4740216" y="1820306"/>
            <a:ext cx="575423" cy="575423"/>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2C0D8D13-AA10-1DCD-29C6-3C262A195980}"/>
              </a:ext>
            </a:extLst>
          </p:cNvPr>
          <p:cNvSpPr txBox="1"/>
          <p:nvPr/>
        </p:nvSpPr>
        <p:spPr>
          <a:xfrm>
            <a:off x="5473759" y="1954129"/>
            <a:ext cx="1978025"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437" fontAlgn="base">
              <a:lnSpc>
                <a:spcPct val="100000"/>
              </a:lnSpc>
              <a:spcBef>
                <a:spcPct val="0"/>
              </a:spcBef>
              <a:spcAft>
                <a:spcPts val="1200"/>
              </a:spcAft>
              <a:buClrTx/>
              <a:buSzTx/>
              <a:buFontTx/>
              <a:buNone/>
              <a:tabLst>
                <a:tab pos="1371655" algn="l"/>
              </a:tabLst>
              <a:defRPr kumimoji="0" sz="7200" b="0" i="0" u="none" strike="noStrike" cap="none" spc="0" normalizeH="0" baseline="0">
                <a:ln w="3175">
                  <a:noFill/>
                </a:ln>
                <a:gradFill flip="none" rotWithShape="1">
                  <a:gsLst>
                    <a:gs pos="0">
                      <a:srgbClr val="C03BC4"/>
                    </a:gs>
                    <a:gs pos="99000">
                      <a:srgbClr val="0078D4"/>
                    </a:gs>
                  </a:gsLst>
                  <a:lin ang="13500000" scaled="1"/>
                  <a:tileRect/>
                </a:gradFill>
                <a:effectLst/>
                <a:uLnTx/>
                <a:uFillTx/>
                <a:latin typeface="+mj-lt"/>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37" rtl="0" eaLnBrk="1" fontAlgn="base" latinLnBrk="0" hangingPunct="1">
              <a:lnSpc>
                <a:spcPct val="100000"/>
              </a:lnSpc>
              <a:spcBef>
                <a:spcPct val="0"/>
              </a:spcBef>
              <a:spcAft>
                <a:spcPts val="0"/>
              </a:spcAft>
              <a:buClrTx/>
              <a:buSzTx/>
              <a:buFontTx/>
              <a:buNone/>
              <a:tabLst>
                <a:tab pos="1371655" algn="l"/>
              </a:tabLst>
              <a:defRPr/>
            </a:pPr>
            <a:r>
              <a:rPr lang="fr-fr" sz="2000">
                <a:solidFill>
                  <a:schemeClr val="tx1"/>
                </a:solidFill>
                <a:ea typeface="+mj-ea"/>
                <a:cs typeface="+mj-cs"/>
              </a:rPr>
              <a:t>Copilot + Agents</a:t>
            </a:r>
            <a:endParaRPr kumimoji="0" lang="en-US" sz="2000" i="0" u="none" strike="noStrike" kern="1200" cap="none" spc="0" normalizeH="0" baseline="0" noProof="0">
              <a:ln w="3175">
                <a:noFill/>
              </a:ln>
              <a:solidFill>
                <a:schemeClr val="tx1"/>
              </a:solidFill>
              <a:effectLst/>
              <a:uLnTx/>
              <a:uFillTx/>
              <a:ea typeface="+mj-ea"/>
              <a:cs typeface="+mj-cs"/>
            </a:endParaRPr>
          </a:p>
        </p:txBody>
      </p:sp>
      <p:sp>
        <p:nvSpPr>
          <p:cNvPr id="35" name="TextBox 34">
            <a:extLst>
              <a:ext uri="{FF2B5EF4-FFF2-40B4-BE49-F238E27FC236}">
                <a16:creationId xmlns:a16="http://schemas.microsoft.com/office/drawing/2014/main" id="{512B44AE-6884-E0A1-DEE2-742C1095FF11}"/>
              </a:ext>
            </a:extLst>
          </p:cNvPr>
          <p:cNvSpPr txBox="1">
            <a:spLocks/>
          </p:cNvSpPr>
          <p:nvPr/>
        </p:nvSpPr>
        <p:spPr>
          <a:xfrm>
            <a:off x="5132766" y="3654146"/>
            <a:ext cx="1924046"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437" fontAlgn="base">
              <a:lnSpc>
                <a:spcPct val="100000"/>
              </a:lnSpc>
              <a:spcBef>
                <a:spcPct val="0"/>
              </a:spcBef>
              <a:spcAft>
                <a:spcPts val="1200"/>
              </a:spcAft>
              <a:buClrTx/>
              <a:buSzTx/>
              <a:buFontTx/>
              <a:buNone/>
              <a:tabLst>
                <a:tab pos="1371655" algn="l"/>
              </a:tabLst>
              <a:defRPr kumimoji="0" sz="7200" b="0" i="0" u="none" strike="noStrike" cap="none" spc="0" normalizeH="0" baseline="0">
                <a:ln w="3175">
                  <a:noFill/>
                </a:ln>
                <a:gradFill flip="none" rotWithShape="1">
                  <a:gsLst>
                    <a:gs pos="0">
                      <a:srgbClr val="C03BC4"/>
                    </a:gs>
                    <a:gs pos="99000">
                      <a:srgbClr val="0078D4"/>
                    </a:gs>
                  </a:gsLst>
                  <a:lin ang="13500000" scaled="1"/>
                  <a:tileRect/>
                </a:gradFill>
                <a:effectLst/>
                <a:uLnTx/>
                <a:uFillTx/>
                <a:latin typeface="+mj-lt"/>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37" rtl="0" eaLnBrk="1" fontAlgn="base" latinLnBrk="0" hangingPunct="1">
              <a:lnSpc>
                <a:spcPct val="100000"/>
              </a:lnSpc>
              <a:spcBef>
                <a:spcPct val="0"/>
              </a:spcBef>
              <a:spcAft>
                <a:spcPts val="0"/>
              </a:spcAft>
              <a:buClrTx/>
              <a:buSzTx/>
              <a:buFontTx/>
              <a:buNone/>
              <a:tabLst>
                <a:tab pos="1371655" algn="l"/>
              </a:tabLst>
              <a:defRPr/>
            </a:pPr>
            <a:r>
              <a:rPr lang="fr-fr" sz="1800">
                <a:solidFill>
                  <a:schemeClr val="accent2"/>
                </a:solidFill>
                <a:ea typeface="+mj-ea"/>
                <a:cs typeface="+mj-cs"/>
              </a:rPr>
              <a:t>Sécurité et gouvernance</a:t>
            </a:r>
            <a:endParaRPr kumimoji="0" lang="en-US" sz="1800" i="0" u="none" strike="noStrike" kern="1200" cap="none" spc="0" normalizeH="0" baseline="0" noProof="0">
              <a:ln w="3175">
                <a:noFill/>
              </a:ln>
              <a:solidFill>
                <a:schemeClr val="accent2"/>
              </a:solidFill>
              <a:effectLst/>
              <a:uLnTx/>
              <a:uFillTx/>
              <a:ea typeface="+mj-ea"/>
              <a:cs typeface="+mj-cs"/>
            </a:endParaRPr>
          </a:p>
        </p:txBody>
      </p:sp>
      <p:sp>
        <p:nvSpPr>
          <p:cNvPr id="36" name="TextBox 35">
            <a:extLst>
              <a:ext uri="{FF2B5EF4-FFF2-40B4-BE49-F238E27FC236}">
                <a16:creationId xmlns:a16="http://schemas.microsoft.com/office/drawing/2014/main" id="{740AEDE9-9701-29F5-40B8-3754A1B1903F}"/>
              </a:ext>
            </a:extLst>
          </p:cNvPr>
          <p:cNvSpPr txBox="1"/>
          <p:nvPr/>
        </p:nvSpPr>
        <p:spPr>
          <a:xfrm>
            <a:off x="4492895" y="4671798"/>
            <a:ext cx="3203787" cy="1138773"/>
          </a:xfrm>
          <a:prstGeom prst="rect">
            <a:avLst/>
          </a:prstGeom>
          <a:noFill/>
        </p:spPr>
        <p:txBody>
          <a:bodyPr wrap="square" lIns="0" tIns="0" rIns="0" bIns="0">
            <a:spAutoFit/>
          </a:bodyPr>
          <a:lstStyle/>
          <a:p>
            <a:pPr lvl="0" algn="ctr">
              <a:spcAft>
                <a:spcPts val="1200"/>
              </a:spcAft>
              <a:buNone/>
            </a:pPr>
            <a:r>
              <a:rPr lang="fr-fr" sz="1800"/>
              <a:t>Sécurité des données</a:t>
            </a:r>
          </a:p>
          <a:p>
            <a:pPr algn="ctr">
              <a:spcAft>
                <a:spcPts val="1200"/>
              </a:spcAft>
            </a:pPr>
            <a:r>
              <a:rPr lang="fr-fr" sz="1800"/>
              <a:t>Sécurité de l’IA</a:t>
            </a:r>
          </a:p>
          <a:p>
            <a:pPr algn="ctr">
              <a:spcAft>
                <a:spcPts val="1200"/>
              </a:spcAft>
            </a:pPr>
            <a:r>
              <a:rPr lang="fr-fr" sz="1800"/>
              <a:t>Conformité et confidentialité</a:t>
            </a:r>
          </a:p>
        </p:txBody>
      </p:sp>
      <p:sp>
        <p:nvSpPr>
          <p:cNvPr id="37" name="TextBox 36">
            <a:extLst>
              <a:ext uri="{FF2B5EF4-FFF2-40B4-BE49-F238E27FC236}">
                <a16:creationId xmlns:a16="http://schemas.microsoft.com/office/drawing/2014/main" id="{5A30A375-E684-9393-1F92-69BA1D397C90}"/>
              </a:ext>
            </a:extLst>
          </p:cNvPr>
          <p:cNvSpPr txBox="1">
            <a:spLocks/>
          </p:cNvSpPr>
          <p:nvPr/>
        </p:nvSpPr>
        <p:spPr>
          <a:xfrm>
            <a:off x="1726752" y="3654146"/>
            <a:ext cx="1924046"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437" fontAlgn="base">
              <a:lnSpc>
                <a:spcPct val="100000"/>
              </a:lnSpc>
              <a:spcBef>
                <a:spcPct val="0"/>
              </a:spcBef>
              <a:spcAft>
                <a:spcPts val="1200"/>
              </a:spcAft>
              <a:buClrTx/>
              <a:buSzTx/>
              <a:buFontTx/>
              <a:buNone/>
              <a:tabLst>
                <a:tab pos="1371655" algn="l"/>
              </a:tabLst>
              <a:defRPr kumimoji="0" sz="7200" b="0" i="0" u="none" strike="noStrike" cap="none" spc="0" normalizeH="0" baseline="0">
                <a:ln w="3175">
                  <a:noFill/>
                </a:ln>
                <a:gradFill flip="none" rotWithShape="1">
                  <a:gsLst>
                    <a:gs pos="0">
                      <a:srgbClr val="C03BC4"/>
                    </a:gs>
                    <a:gs pos="99000">
                      <a:srgbClr val="0078D4"/>
                    </a:gs>
                  </a:gsLst>
                  <a:lin ang="13500000" scaled="1"/>
                  <a:tileRect/>
                </a:gradFill>
                <a:effectLst/>
                <a:uLnTx/>
                <a:uFillTx/>
                <a:latin typeface="+mj-lt"/>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37" rtl="0" eaLnBrk="1" fontAlgn="base" latinLnBrk="0" hangingPunct="1">
              <a:lnSpc>
                <a:spcPct val="100000"/>
              </a:lnSpc>
              <a:spcBef>
                <a:spcPct val="0"/>
              </a:spcBef>
              <a:spcAft>
                <a:spcPts val="0"/>
              </a:spcAft>
              <a:buClrTx/>
              <a:buSzTx/>
              <a:buFontTx/>
              <a:buNone/>
              <a:tabLst>
                <a:tab pos="1371655" algn="l"/>
              </a:tabLst>
              <a:defRPr/>
            </a:pPr>
            <a:r>
              <a:rPr lang="fr-fr" sz="1800">
                <a:solidFill>
                  <a:schemeClr val="accent2"/>
                </a:solidFill>
                <a:ea typeface="+mj-ea"/>
                <a:cs typeface="+mj-cs"/>
              </a:rPr>
              <a:t>Contrôles </a:t>
            </a:r>
            <a:br>
              <a:rPr lang="fr-fr" sz="1800">
                <a:solidFill>
                  <a:schemeClr val="accent2"/>
                </a:solidFill>
                <a:ea typeface="+mj-ea"/>
                <a:cs typeface="+mj-cs"/>
              </a:rPr>
            </a:br>
            <a:r>
              <a:rPr lang="fr-fr" sz="1800">
                <a:solidFill>
                  <a:schemeClr val="accent2"/>
                </a:solidFill>
                <a:ea typeface="+mj-ea"/>
                <a:cs typeface="+mj-cs"/>
              </a:rPr>
              <a:t>de gestion</a:t>
            </a:r>
            <a:endParaRPr kumimoji="0" lang="en-US" sz="1800" i="0" u="none" strike="noStrike" kern="1200" cap="none" spc="0" normalizeH="0" baseline="0" noProof="0">
              <a:ln w="3175">
                <a:noFill/>
              </a:ln>
              <a:solidFill>
                <a:schemeClr val="accent2"/>
              </a:solidFill>
              <a:effectLst/>
              <a:uLnTx/>
              <a:uFillTx/>
              <a:ea typeface="+mj-ea"/>
              <a:cs typeface="+mj-cs"/>
            </a:endParaRPr>
          </a:p>
        </p:txBody>
      </p:sp>
      <p:sp>
        <p:nvSpPr>
          <p:cNvPr id="38" name="TextBox 37">
            <a:extLst>
              <a:ext uri="{FF2B5EF4-FFF2-40B4-BE49-F238E27FC236}">
                <a16:creationId xmlns:a16="http://schemas.microsoft.com/office/drawing/2014/main" id="{A5C0346F-D213-20A7-BD9D-4605C100A1D5}"/>
              </a:ext>
            </a:extLst>
          </p:cNvPr>
          <p:cNvSpPr txBox="1"/>
          <p:nvPr/>
        </p:nvSpPr>
        <p:spPr>
          <a:xfrm>
            <a:off x="1097764" y="4671798"/>
            <a:ext cx="3203787" cy="1399614"/>
          </a:xfrm>
          <a:prstGeom prst="rect">
            <a:avLst/>
          </a:prstGeom>
          <a:noFill/>
        </p:spPr>
        <p:txBody>
          <a:bodyPr wrap="square" lIns="0" tIns="0" rIns="0" bIns="0">
            <a:spAutoFit/>
          </a:bodyPr>
          <a:lstStyle/>
          <a:p>
            <a:pPr algn="ctr">
              <a:spcAft>
                <a:spcPts val="1200"/>
              </a:spcAft>
            </a:pPr>
            <a:r>
              <a:rPr lang="fr-fr"/>
              <a:t>Licences et mesure </a:t>
            </a:r>
            <a:br>
              <a:rPr lang="fr-fr"/>
            </a:br>
            <a:r>
              <a:rPr lang="fr-fr"/>
              <a:t>de l’utilisation</a:t>
            </a:r>
          </a:p>
          <a:p>
            <a:pPr algn="ctr">
              <a:spcAft>
                <a:spcPts val="1200"/>
              </a:spcAft>
            </a:pPr>
            <a:r>
              <a:rPr lang="fr-fr" sz="1800"/>
              <a:t>Cycle de vie des agents</a:t>
            </a:r>
          </a:p>
          <a:p>
            <a:pPr algn="ctr">
              <a:spcAft>
                <a:spcPts val="1200"/>
              </a:spcAft>
            </a:pPr>
            <a:r>
              <a:rPr lang="fr-fr"/>
              <a:t>Personnalisation</a:t>
            </a:r>
          </a:p>
        </p:txBody>
      </p:sp>
      <p:sp>
        <p:nvSpPr>
          <p:cNvPr id="39" name="TextBox 38">
            <a:extLst>
              <a:ext uri="{FF2B5EF4-FFF2-40B4-BE49-F238E27FC236}">
                <a16:creationId xmlns:a16="http://schemas.microsoft.com/office/drawing/2014/main" id="{B17AF164-B060-5BC1-7D74-69B9F0B5BE73}"/>
              </a:ext>
            </a:extLst>
          </p:cNvPr>
          <p:cNvSpPr txBox="1">
            <a:spLocks/>
          </p:cNvSpPr>
          <p:nvPr/>
        </p:nvSpPr>
        <p:spPr>
          <a:xfrm>
            <a:off x="8520645" y="3654146"/>
            <a:ext cx="1924046"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437" fontAlgn="base">
              <a:lnSpc>
                <a:spcPct val="100000"/>
              </a:lnSpc>
              <a:spcBef>
                <a:spcPct val="0"/>
              </a:spcBef>
              <a:spcAft>
                <a:spcPts val="1200"/>
              </a:spcAft>
              <a:buClrTx/>
              <a:buSzTx/>
              <a:buFontTx/>
              <a:buNone/>
              <a:tabLst>
                <a:tab pos="1371655" algn="l"/>
              </a:tabLst>
              <a:defRPr kumimoji="0" sz="7200" b="0" i="0" u="none" strike="noStrike" cap="none" spc="0" normalizeH="0" baseline="0">
                <a:ln w="3175">
                  <a:noFill/>
                </a:ln>
                <a:gradFill flip="none" rotWithShape="1">
                  <a:gsLst>
                    <a:gs pos="0">
                      <a:srgbClr val="C03BC4"/>
                    </a:gs>
                    <a:gs pos="99000">
                      <a:srgbClr val="0078D4"/>
                    </a:gs>
                  </a:gsLst>
                  <a:lin ang="13500000" scaled="1"/>
                  <a:tileRect/>
                </a:gradFill>
                <a:effectLst/>
                <a:uLnTx/>
                <a:uFillTx/>
                <a:latin typeface="+mj-lt"/>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37" rtl="0" eaLnBrk="1" fontAlgn="base" latinLnBrk="0" hangingPunct="1">
              <a:lnSpc>
                <a:spcPct val="100000"/>
              </a:lnSpc>
              <a:spcBef>
                <a:spcPct val="0"/>
              </a:spcBef>
              <a:spcAft>
                <a:spcPts val="0"/>
              </a:spcAft>
              <a:buClrTx/>
              <a:buSzTx/>
              <a:buFontTx/>
              <a:buNone/>
              <a:tabLst>
                <a:tab pos="1371655" algn="l"/>
              </a:tabLst>
              <a:defRPr/>
            </a:pPr>
            <a:r>
              <a:rPr lang="fr-fr" sz="1800">
                <a:solidFill>
                  <a:schemeClr val="accent2"/>
                </a:solidFill>
                <a:ea typeface="+mj-ea"/>
                <a:cs typeface="+mj-cs"/>
              </a:rPr>
              <a:t>Mesure et rapports</a:t>
            </a:r>
            <a:endParaRPr kumimoji="0" lang="en-US" sz="1800" i="0" u="none" strike="noStrike" kern="1200" cap="none" spc="0" normalizeH="0" baseline="0" noProof="0">
              <a:ln w="3175">
                <a:noFill/>
              </a:ln>
              <a:solidFill>
                <a:schemeClr val="accent2"/>
              </a:solidFill>
              <a:effectLst/>
              <a:uLnTx/>
              <a:uFillTx/>
              <a:ea typeface="+mj-ea"/>
              <a:cs typeface="+mj-cs"/>
            </a:endParaRPr>
          </a:p>
        </p:txBody>
      </p:sp>
      <p:sp>
        <p:nvSpPr>
          <p:cNvPr id="40" name="TextBox 39">
            <a:extLst>
              <a:ext uri="{FF2B5EF4-FFF2-40B4-BE49-F238E27FC236}">
                <a16:creationId xmlns:a16="http://schemas.microsoft.com/office/drawing/2014/main" id="{4BB70143-E7A0-FD26-55FA-5013CC17424A}"/>
              </a:ext>
            </a:extLst>
          </p:cNvPr>
          <p:cNvSpPr txBox="1"/>
          <p:nvPr/>
        </p:nvSpPr>
        <p:spPr>
          <a:xfrm>
            <a:off x="7880774" y="4671798"/>
            <a:ext cx="3203787" cy="1138773"/>
          </a:xfrm>
          <a:prstGeom prst="rect">
            <a:avLst/>
          </a:prstGeom>
          <a:noFill/>
        </p:spPr>
        <p:txBody>
          <a:bodyPr wrap="square" lIns="0" tIns="0" rIns="0" bIns="0">
            <a:spAutoFit/>
          </a:bodyPr>
          <a:lstStyle/>
          <a:p>
            <a:pPr algn="ctr">
              <a:spcAft>
                <a:spcPts val="1200"/>
              </a:spcAft>
            </a:pPr>
            <a:r>
              <a:rPr lang="fr-fr"/>
              <a:t>Préparation et adoption</a:t>
            </a:r>
          </a:p>
          <a:p>
            <a:pPr algn="ctr">
              <a:spcAft>
                <a:spcPts val="1200"/>
              </a:spcAft>
            </a:pPr>
            <a:r>
              <a:rPr lang="fr-fr"/>
              <a:t>Impact sur la productivité</a:t>
            </a:r>
          </a:p>
          <a:p>
            <a:pPr algn="ctr">
              <a:spcAft>
                <a:spcPts val="1200"/>
              </a:spcAft>
            </a:pPr>
            <a:r>
              <a:rPr lang="fr-fr"/>
              <a:t>Valeur commerciale et retour sur investissement</a:t>
            </a:r>
          </a:p>
        </p:txBody>
      </p:sp>
    </p:spTree>
    <p:extLst>
      <p:ext uri="{BB962C8B-B14F-4D97-AF65-F5344CB8AC3E}">
        <p14:creationId xmlns:p14="http://schemas.microsoft.com/office/powerpoint/2010/main" val="18383291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42" presetClass="path" presetSubtype="0" decel="100000" fill="hold" grpId="1" nodeType="withEffect">
                                  <p:stCondLst>
                                    <p:cond delay="200"/>
                                  </p:stCondLst>
                                  <p:childTnLst>
                                    <p:animMotion origin="layout" path="M -1.04167E-6 7.40741E-7 L -1.04167E-6 0.03542 " pathEditMode="relative" rAng="0" ptsTypes="AA">
                                      <p:cBhvr>
                                        <p:cTn id="9" dur="700" spd="-100000" fill="hold"/>
                                        <p:tgtEl>
                                          <p:spTgt spid="34"/>
                                        </p:tgtEl>
                                        <p:attrNameLst>
                                          <p:attrName>ppt_x</p:attrName>
                                          <p:attrName>ppt_y</p:attrName>
                                        </p:attrNameLst>
                                      </p:cBhvr>
                                      <p:rCtr x="0" y="1759"/>
                                    </p:animMotion>
                                  </p:childTnLst>
                                </p:cTn>
                              </p:par>
                              <p:par>
                                <p:cTn id="10" presetID="10" presetClass="entr" presetSubtype="0" fill="hold" nodeType="withEffect">
                                  <p:stCondLst>
                                    <p:cond delay="20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par>
                                <p:cTn id="13" presetID="42" presetClass="path" presetSubtype="0" decel="100000" fill="hold" nodeType="withEffect">
                                  <p:stCondLst>
                                    <p:cond delay="200"/>
                                  </p:stCondLst>
                                  <p:childTnLst>
                                    <p:animMotion origin="layout" path="M -1.04167E-6 7.40741E-7 L -1.04167E-6 0.03542 " pathEditMode="relative" rAng="0" ptsTypes="AA">
                                      <p:cBhvr>
                                        <p:cTn id="14" dur="700" spd="-100000" fill="hold"/>
                                        <p:tgtEl>
                                          <p:spTgt spid="33"/>
                                        </p:tgtEl>
                                        <p:attrNameLst>
                                          <p:attrName>ppt_x</p:attrName>
                                          <p:attrName>ppt_y</p:attrName>
                                        </p:attrNameLst>
                                      </p:cBhvr>
                                      <p:rCtr x="0" y="1759"/>
                                    </p:animMotion>
                                  </p:childTnLst>
                                </p:cTn>
                              </p:par>
                              <p:par>
                                <p:cTn id="15" presetID="10" presetClass="entr" presetSubtype="0" fill="hold" grpId="0" nodeType="withEffect">
                                  <p:stCondLst>
                                    <p:cond delay="20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par>
                                <p:cTn id="18" presetID="42" presetClass="path" presetSubtype="0" decel="100000" fill="hold" grpId="1" nodeType="withEffect">
                                  <p:stCondLst>
                                    <p:cond delay="200"/>
                                  </p:stCondLst>
                                  <p:childTnLst>
                                    <p:animMotion origin="layout" path="M -1.04167E-6 7.40741E-7 L -1.04167E-6 0.03542 " pathEditMode="relative" rAng="0" ptsTypes="AA">
                                      <p:cBhvr>
                                        <p:cTn id="19" dur="700" spd="-100000" fill="hold"/>
                                        <p:tgtEl>
                                          <p:spTgt spid="23"/>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par>
                                <p:cTn id="23" presetID="42" presetClass="path" presetSubtype="0" decel="100000" fill="hold" grpId="1" nodeType="withEffect">
                                  <p:stCondLst>
                                    <p:cond delay="200"/>
                                  </p:stCondLst>
                                  <p:childTnLst>
                                    <p:animMotion origin="layout" path="M -1.04167E-6 7.40741E-7 L -1.04167E-6 0.03542 " pathEditMode="relative" rAng="0" ptsTypes="AA">
                                      <p:cBhvr>
                                        <p:cTn id="24" dur="700" spd="-100000" fill="hold"/>
                                        <p:tgtEl>
                                          <p:spTgt spid="22"/>
                                        </p:tgtEl>
                                        <p:attrNameLst>
                                          <p:attrName>ppt_x</p:attrName>
                                          <p:attrName>ppt_y</p:attrName>
                                        </p:attrNameLst>
                                      </p:cBhvr>
                                      <p:rCtr x="0" y="1759"/>
                                    </p:animMotion>
                                  </p:childTnLst>
                                </p:cTn>
                              </p:par>
                              <p:par>
                                <p:cTn id="25" presetID="10" presetClass="entr" presetSubtype="0" fill="hold" grpId="0" nodeType="withEffect">
                                  <p:stCondLst>
                                    <p:cond delay="200"/>
                                  </p:stCondLst>
                                  <p:childTnLst>
                                    <p:set>
                                      <p:cBhvr>
                                        <p:cTn id="26" dur="1" fill="hold">
                                          <p:stCondLst>
                                            <p:cond delay="0"/>
                                          </p:stCondLst>
                                        </p:cTn>
                                        <p:tgtEl>
                                          <p:spTgt spid="30"/>
                                        </p:tgtEl>
                                        <p:attrNameLst>
                                          <p:attrName>style.visibility</p:attrName>
                                        </p:attrNameLst>
                                      </p:cBhvr>
                                      <p:to>
                                        <p:strVal val="visible"/>
                                      </p:to>
                                    </p:set>
                                    <p:animEffect transition="in" filter="fade">
                                      <p:cBhvr>
                                        <p:cTn id="27" dur="500"/>
                                        <p:tgtEl>
                                          <p:spTgt spid="30"/>
                                        </p:tgtEl>
                                      </p:cBhvr>
                                    </p:animEffect>
                                  </p:childTnLst>
                                </p:cTn>
                              </p:par>
                              <p:par>
                                <p:cTn id="28" presetID="42" presetClass="path" presetSubtype="0" decel="100000" fill="hold" grpId="1" nodeType="withEffect">
                                  <p:stCondLst>
                                    <p:cond delay="200"/>
                                  </p:stCondLst>
                                  <p:childTnLst>
                                    <p:animMotion origin="layout" path="M -1.04167E-6 7.40741E-7 L -1.04167E-6 0.03542 " pathEditMode="relative" rAng="0" ptsTypes="AA">
                                      <p:cBhvr>
                                        <p:cTn id="29" dur="700" spd="-100000" fill="hold"/>
                                        <p:tgtEl>
                                          <p:spTgt spid="30"/>
                                        </p:tgtEl>
                                        <p:attrNameLst>
                                          <p:attrName>ppt_x</p:attrName>
                                          <p:attrName>ppt_y</p:attrName>
                                        </p:attrNameLst>
                                      </p:cBhvr>
                                      <p:rCtr x="0" y="1759"/>
                                    </p:animMotion>
                                  </p:childTnLst>
                                </p:cTn>
                              </p:par>
                              <p:par>
                                <p:cTn id="30" presetID="10" presetClass="entr" presetSubtype="0" fill="hold" grpId="0" nodeType="withEffect">
                                  <p:stCondLst>
                                    <p:cond delay="20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par>
                                <p:cTn id="33" presetID="42" presetClass="path" presetSubtype="0" decel="100000" fill="hold" grpId="1" nodeType="withEffect">
                                  <p:stCondLst>
                                    <p:cond delay="200"/>
                                  </p:stCondLst>
                                  <p:childTnLst>
                                    <p:animMotion origin="layout" path="M -1.04167E-6 7.40741E-7 L -1.04167E-6 0.03542 " pathEditMode="relative" rAng="0" ptsTypes="AA">
                                      <p:cBhvr>
                                        <p:cTn id="34" dur="700" spd="-100000" fill="hold"/>
                                        <p:tgtEl>
                                          <p:spTgt spid="24"/>
                                        </p:tgtEl>
                                        <p:attrNameLst>
                                          <p:attrName>ppt_x</p:attrName>
                                          <p:attrName>ppt_y</p:attrName>
                                        </p:attrNameLst>
                                      </p:cBhvr>
                                      <p:rCtr x="0" y="1759"/>
                                    </p:animMotion>
                                  </p:childTnLst>
                                </p:cTn>
                              </p:par>
                              <p:par>
                                <p:cTn id="35" presetID="10" presetClass="entr" presetSubtype="0" fill="hold" grpId="0" nodeType="withEffect">
                                  <p:stCondLst>
                                    <p:cond delay="20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500"/>
                                        <p:tgtEl>
                                          <p:spTgt spid="35"/>
                                        </p:tgtEl>
                                      </p:cBhvr>
                                    </p:animEffect>
                                  </p:childTnLst>
                                </p:cTn>
                              </p:par>
                              <p:par>
                                <p:cTn id="38" presetID="42" presetClass="path" presetSubtype="0" decel="100000" fill="hold" grpId="1" nodeType="withEffect">
                                  <p:stCondLst>
                                    <p:cond delay="200"/>
                                  </p:stCondLst>
                                  <p:childTnLst>
                                    <p:animMotion origin="layout" path="M -1.04167E-6 7.40741E-7 L -1.04167E-6 0.03542 " pathEditMode="relative" rAng="0" ptsTypes="AA">
                                      <p:cBhvr>
                                        <p:cTn id="39" dur="700" spd="-100000" fill="hold"/>
                                        <p:tgtEl>
                                          <p:spTgt spid="35"/>
                                        </p:tgtEl>
                                        <p:attrNameLst>
                                          <p:attrName>ppt_x</p:attrName>
                                          <p:attrName>ppt_y</p:attrName>
                                        </p:attrNameLst>
                                      </p:cBhvr>
                                      <p:rCtr x="0" y="1759"/>
                                    </p:animMotion>
                                  </p:childTnLst>
                                </p:cTn>
                              </p:par>
                              <p:par>
                                <p:cTn id="40" presetID="10" presetClass="entr" presetSubtype="0" fill="hold" grpId="0" nodeType="withEffect">
                                  <p:stCondLst>
                                    <p:cond delay="200"/>
                                  </p:stCondLst>
                                  <p:childTnLst>
                                    <p:set>
                                      <p:cBhvr>
                                        <p:cTn id="41" dur="1" fill="hold">
                                          <p:stCondLst>
                                            <p:cond delay="0"/>
                                          </p:stCondLst>
                                        </p:cTn>
                                        <p:tgtEl>
                                          <p:spTgt spid="36"/>
                                        </p:tgtEl>
                                        <p:attrNameLst>
                                          <p:attrName>style.visibility</p:attrName>
                                        </p:attrNameLst>
                                      </p:cBhvr>
                                      <p:to>
                                        <p:strVal val="visible"/>
                                      </p:to>
                                    </p:set>
                                    <p:animEffect transition="in" filter="fade">
                                      <p:cBhvr>
                                        <p:cTn id="42" dur="500"/>
                                        <p:tgtEl>
                                          <p:spTgt spid="36"/>
                                        </p:tgtEl>
                                      </p:cBhvr>
                                    </p:animEffect>
                                  </p:childTnLst>
                                </p:cTn>
                              </p:par>
                              <p:par>
                                <p:cTn id="43" presetID="42" presetClass="path" presetSubtype="0" decel="100000" fill="hold" grpId="1" nodeType="withEffect">
                                  <p:stCondLst>
                                    <p:cond delay="200"/>
                                  </p:stCondLst>
                                  <p:childTnLst>
                                    <p:animMotion origin="layout" path="M -1.04167E-6 7.40741E-7 L -1.04167E-6 0.03542 " pathEditMode="relative" rAng="0" ptsTypes="AA">
                                      <p:cBhvr>
                                        <p:cTn id="44" dur="700" spd="-100000" fill="hold"/>
                                        <p:tgtEl>
                                          <p:spTgt spid="36"/>
                                        </p:tgtEl>
                                        <p:attrNameLst>
                                          <p:attrName>ppt_x</p:attrName>
                                          <p:attrName>ppt_y</p:attrName>
                                        </p:attrNameLst>
                                      </p:cBhvr>
                                      <p:rCtr x="0" y="1759"/>
                                    </p:animMotion>
                                  </p:childTnLst>
                                </p:cTn>
                              </p:par>
                              <p:par>
                                <p:cTn id="45" presetID="10" presetClass="entr" presetSubtype="0" fill="hold" grpId="0" nodeType="withEffect">
                                  <p:stCondLst>
                                    <p:cond delay="200"/>
                                  </p:stCondLst>
                                  <p:childTnLst>
                                    <p:set>
                                      <p:cBhvr>
                                        <p:cTn id="46" dur="1" fill="hold">
                                          <p:stCondLst>
                                            <p:cond delay="0"/>
                                          </p:stCondLst>
                                        </p:cTn>
                                        <p:tgtEl>
                                          <p:spTgt spid="25"/>
                                        </p:tgtEl>
                                        <p:attrNameLst>
                                          <p:attrName>style.visibility</p:attrName>
                                        </p:attrNameLst>
                                      </p:cBhvr>
                                      <p:to>
                                        <p:strVal val="visible"/>
                                      </p:to>
                                    </p:set>
                                    <p:animEffect transition="in" filter="fade">
                                      <p:cBhvr>
                                        <p:cTn id="47" dur="500"/>
                                        <p:tgtEl>
                                          <p:spTgt spid="25"/>
                                        </p:tgtEl>
                                      </p:cBhvr>
                                    </p:animEffect>
                                  </p:childTnLst>
                                </p:cTn>
                              </p:par>
                              <p:par>
                                <p:cTn id="48" presetID="42" presetClass="path" presetSubtype="0" decel="100000" fill="hold" grpId="1" nodeType="withEffect">
                                  <p:stCondLst>
                                    <p:cond delay="200"/>
                                  </p:stCondLst>
                                  <p:childTnLst>
                                    <p:animMotion origin="layout" path="M -1.04167E-6 7.40741E-7 L -1.04167E-6 0.03542 " pathEditMode="relative" rAng="0" ptsTypes="AA">
                                      <p:cBhvr>
                                        <p:cTn id="49" dur="700" spd="-100000" fill="hold"/>
                                        <p:tgtEl>
                                          <p:spTgt spid="25"/>
                                        </p:tgtEl>
                                        <p:attrNameLst>
                                          <p:attrName>ppt_x</p:attrName>
                                          <p:attrName>ppt_y</p:attrName>
                                        </p:attrNameLst>
                                      </p:cBhvr>
                                      <p:rCtr x="0" y="1759"/>
                                    </p:animMotion>
                                  </p:childTnLst>
                                </p:cTn>
                              </p:par>
                              <p:par>
                                <p:cTn id="50" presetID="10" presetClass="entr" presetSubtype="0" fill="hold" grpId="0" nodeType="withEffect">
                                  <p:stCondLst>
                                    <p:cond delay="200"/>
                                  </p:stCondLst>
                                  <p:childTnLst>
                                    <p:set>
                                      <p:cBhvr>
                                        <p:cTn id="51" dur="1" fill="hold">
                                          <p:stCondLst>
                                            <p:cond delay="0"/>
                                          </p:stCondLst>
                                        </p:cTn>
                                        <p:tgtEl>
                                          <p:spTgt spid="32"/>
                                        </p:tgtEl>
                                        <p:attrNameLst>
                                          <p:attrName>style.visibility</p:attrName>
                                        </p:attrNameLst>
                                      </p:cBhvr>
                                      <p:to>
                                        <p:strVal val="visible"/>
                                      </p:to>
                                    </p:set>
                                    <p:animEffect transition="in" filter="fade">
                                      <p:cBhvr>
                                        <p:cTn id="52" dur="500"/>
                                        <p:tgtEl>
                                          <p:spTgt spid="32"/>
                                        </p:tgtEl>
                                      </p:cBhvr>
                                    </p:animEffect>
                                  </p:childTnLst>
                                </p:cTn>
                              </p:par>
                              <p:par>
                                <p:cTn id="53" presetID="42" presetClass="path" presetSubtype="0" decel="100000" fill="hold" grpId="1" nodeType="withEffect">
                                  <p:stCondLst>
                                    <p:cond delay="200"/>
                                  </p:stCondLst>
                                  <p:childTnLst>
                                    <p:animMotion origin="layout" path="M -1.04167E-6 7.40741E-7 L -1.04167E-6 0.03542 " pathEditMode="relative" rAng="0" ptsTypes="AA">
                                      <p:cBhvr>
                                        <p:cTn id="54" dur="700" spd="-100000" fill="hold"/>
                                        <p:tgtEl>
                                          <p:spTgt spid="32"/>
                                        </p:tgtEl>
                                        <p:attrNameLst>
                                          <p:attrName>ppt_x</p:attrName>
                                          <p:attrName>ppt_y</p:attrName>
                                        </p:attrNameLst>
                                      </p:cBhvr>
                                      <p:rCtr x="0" y="1759"/>
                                    </p:animMotion>
                                  </p:childTnLst>
                                </p:cTn>
                              </p:par>
                              <p:par>
                                <p:cTn id="55" presetID="10" presetClass="entr" presetSubtype="0" fill="hold" grpId="0" nodeType="withEffect">
                                  <p:stCondLst>
                                    <p:cond delay="20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par>
                                <p:cTn id="58" presetID="42" presetClass="path" presetSubtype="0" decel="100000" fill="hold" grpId="1" nodeType="withEffect">
                                  <p:stCondLst>
                                    <p:cond delay="200"/>
                                  </p:stCondLst>
                                  <p:childTnLst>
                                    <p:animMotion origin="layout" path="M -1.04167E-6 7.40741E-7 L -1.04167E-6 0.03542 " pathEditMode="relative" rAng="0" ptsTypes="AA">
                                      <p:cBhvr>
                                        <p:cTn id="59" dur="700" spd="-100000" fill="hold"/>
                                        <p:tgtEl>
                                          <p:spTgt spid="28"/>
                                        </p:tgtEl>
                                        <p:attrNameLst>
                                          <p:attrName>ppt_x</p:attrName>
                                          <p:attrName>ppt_y</p:attrName>
                                        </p:attrNameLst>
                                      </p:cBhvr>
                                      <p:rCtr x="0" y="1759"/>
                                    </p:animMotion>
                                  </p:childTnLst>
                                </p:cTn>
                              </p:par>
                              <p:par>
                                <p:cTn id="60" presetID="10" presetClass="entr" presetSubtype="0" fill="hold" grpId="0" nodeType="withEffect">
                                  <p:stCondLst>
                                    <p:cond delay="200"/>
                                  </p:stCondLst>
                                  <p:childTnLst>
                                    <p:set>
                                      <p:cBhvr>
                                        <p:cTn id="61" dur="1" fill="hold">
                                          <p:stCondLst>
                                            <p:cond delay="0"/>
                                          </p:stCondLst>
                                        </p:cTn>
                                        <p:tgtEl>
                                          <p:spTgt spid="37"/>
                                        </p:tgtEl>
                                        <p:attrNameLst>
                                          <p:attrName>style.visibility</p:attrName>
                                        </p:attrNameLst>
                                      </p:cBhvr>
                                      <p:to>
                                        <p:strVal val="visible"/>
                                      </p:to>
                                    </p:set>
                                    <p:animEffect transition="in" filter="fade">
                                      <p:cBhvr>
                                        <p:cTn id="62" dur="500"/>
                                        <p:tgtEl>
                                          <p:spTgt spid="37"/>
                                        </p:tgtEl>
                                      </p:cBhvr>
                                    </p:animEffect>
                                  </p:childTnLst>
                                </p:cTn>
                              </p:par>
                              <p:par>
                                <p:cTn id="63" presetID="42" presetClass="path" presetSubtype="0" decel="100000" fill="hold" grpId="1" nodeType="withEffect">
                                  <p:stCondLst>
                                    <p:cond delay="200"/>
                                  </p:stCondLst>
                                  <p:childTnLst>
                                    <p:animMotion origin="layout" path="M -1.04167E-6 7.40741E-7 L -1.04167E-6 0.03542 " pathEditMode="relative" rAng="0" ptsTypes="AA">
                                      <p:cBhvr>
                                        <p:cTn id="64" dur="700" spd="-100000" fill="hold"/>
                                        <p:tgtEl>
                                          <p:spTgt spid="37"/>
                                        </p:tgtEl>
                                        <p:attrNameLst>
                                          <p:attrName>ppt_x</p:attrName>
                                          <p:attrName>ppt_y</p:attrName>
                                        </p:attrNameLst>
                                      </p:cBhvr>
                                      <p:rCtr x="0" y="1759"/>
                                    </p:animMotion>
                                  </p:childTnLst>
                                </p:cTn>
                              </p:par>
                              <p:par>
                                <p:cTn id="65" presetID="10" presetClass="entr" presetSubtype="0" fill="hold" grpId="0" nodeType="withEffect">
                                  <p:stCondLst>
                                    <p:cond delay="200"/>
                                  </p:stCondLst>
                                  <p:childTnLst>
                                    <p:set>
                                      <p:cBhvr>
                                        <p:cTn id="66" dur="1" fill="hold">
                                          <p:stCondLst>
                                            <p:cond delay="0"/>
                                          </p:stCondLst>
                                        </p:cTn>
                                        <p:tgtEl>
                                          <p:spTgt spid="38"/>
                                        </p:tgtEl>
                                        <p:attrNameLst>
                                          <p:attrName>style.visibility</p:attrName>
                                        </p:attrNameLst>
                                      </p:cBhvr>
                                      <p:to>
                                        <p:strVal val="visible"/>
                                      </p:to>
                                    </p:set>
                                    <p:animEffect transition="in" filter="fade">
                                      <p:cBhvr>
                                        <p:cTn id="67" dur="500"/>
                                        <p:tgtEl>
                                          <p:spTgt spid="38"/>
                                        </p:tgtEl>
                                      </p:cBhvr>
                                    </p:animEffect>
                                  </p:childTnLst>
                                </p:cTn>
                              </p:par>
                              <p:par>
                                <p:cTn id="68" presetID="42" presetClass="path" presetSubtype="0" decel="100000" fill="hold" grpId="1" nodeType="withEffect">
                                  <p:stCondLst>
                                    <p:cond delay="200"/>
                                  </p:stCondLst>
                                  <p:childTnLst>
                                    <p:animMotion origin="layout" path="M -1.04167E-6 7.40741E-7 L -1.04167E-6 0.03542 " pathEditMode="relative" rAng="0" ptsTypes="AA">
                                      <p:cBhvr>
                                        <p:cTn id="69" dur="700" spd="-100000" fill="hold"/>
                                        <p:tgtEl>
                                          <p:spTgt spid="38"/>
                                        </p:tgtEl>
                                        <p:attrNameLst>
                                          <p:attrName>ppt_x</p:attrName>
                                          <p:attrName>ppt_y</p:attrName>
                                        </p:attrNameLst>
                                      </p:cBhvr>
                                      <p:rCtr x="0" y="1759"/>
                                    </p:animMotion>
                                  </p:childTnLst>
                                </p:cTn>
                              </p:par>
                              <p:par>
                                <p:cTn id="70" presetID="10" presetClass="entr" presetSubtype="0" fill="hold" grpId="0" nodeType="withEffect">
                                  <p:stCondLst>
                                    <p:cond delay="200"/>
                                  </p:stCondLst>
                                  <p:childTnLst>
                                    <p:set>
                                      <p:cBhvr>
                                        <p:cTn id="71" dur="1" fill="hold">
                                          <p:stCondLst>
                                            <p:cond delay="0"/>
                                          </p:stCondLst>
                                        </p:cTn>
                                        <p:tgtEl>
                                          <p:spTgt spid="26"/>
                                        </p:tgtEl>
                                        <p:attrNameLst>
                                          <p:attrName>style.visibility</p:attrName>
                                        </p:attrNameLst>
                                      </p:cBhvr>
                                      <p:to>
                                        <p:strVal val="visible"/>
                                      </p:to>
                                    </p:set>
                                    <p:animEffect transition="in" filter="fade">
                                      <p:cBhvr>
                                        <p:cTn id="72" dur="500"/>
                                        <p:tgtEl>
                                          <p:spTgt spid="26"/>
                                        </p:tgtEl>
                                      </p:cBhvr>
                                    </p:animEffect>
                                  </p:childTnLst>
                                </p:cTn>
                              </p:par>
                              <p:par>
                                <p:cTn id="73" presetID="42" presetClass="path" presetSubtype="0" decel="100000" fill="hold" grpId="1" nodeType="withEffect">
                                  <p:stCondLst>
                                    <p:cond delay="200"/>
                                  </p:stCondLst>
                                  <p:childTnLst>
                                    <p:animMotion origin="layout" path="M -1.04167E-6 7.40741E-7 L -1.04167E-6 0.03542 " pathEditMode="relative" rAng="0" ptsTypes="AA">
                                      <p:cBhvr>
                                        <p:cTn id="74" dur="700" spd="-100000" fill="hold"/>
                                        <p:tgtEl>
                                          <p:spTgt spid="26"/>
                                        </p:tgtEl>
                                        <p:attrNameLst>
                                          <p:attrName>ppt_x</p:attrName>
                                          <p:attrName>ppt_y</p:attrName>
                                        </p:attrNameLst>
                                      </p:cBhvr>
                                      <p:rCtr x="0" y="1759"/>
                                    </p:animMotion>
                                  </p:childTnLst>
                                </p:cTn>
                              </p:par>
                              <p:par>
                                <p:cTn id="75" presetID="10" presetClass="entr" presetSubtype="0" fill="hold" nodeType="withEffect">
                                  <p:stCondLst>
                                    <p:cond delay="200"/>
                                  </p:stCondLst>
                                  <p:childTnLst>
                                    <p:set>
                                      <p:cBhvr>
                                        <p:cTn id="76" dur="1" fill="hold">
                                          <p:stCondLst>
                                            <p:cond delay="0"/>
                                          </p:stCondLst>
                                        </p:cTn>
                                        <p:tgtEl>
                                          <p:spTgt spid="3"/>
                                        </p:tgtEl>
                                        <p:attrNameLst>
                                          <p:attrName>style.visibility</p:attrName>
                                        </p:attrNameLst>
                                      </p:cBhvr>
                                      <p:to>
                                        <p:strVal val="visible"/>
                                      </p:to>
                                    </p:set>
                                    <p:animEffect transition="in" filter="fade">
                                      <p:cBhvr>
                                        <p:cTn id="77" dur="500"/>
                                        <p:tgtEl>
                                          <p:spTgt spid="3"/>
                                        </p:tgtEl>
                                      </p:cBhvr>
                                    </p:animEffect>
                                  </p:childTnLst>
                                </p:cTn>
                              </p:par>
                              <p:par>
                                <p:cTn id="78" presetID="42" presetClass="path" presetSubtype="0" decel="100000" fill="hold" nodeType="withEffect">
                                  <p:stCondLst>
                                    <p:cond delay="200"/>
                                  </p:stCondLst>
                                  <p:childTnLst>
                                    <p:animMotion origin="layout" path="M -1.04167E-6 7.40741E-7 L -1.04167E-6 0.03542 " pathEditMode="relative" rAng="0" ptsTypes="AA">
                                      <p:cBhvr>
                                        <p:cTn id="79" dur="700" spd="-100000" fill="hold"/>
                                        <p:tgtEl>
                                          <p:spTgt spid="3"/>
                                        </p:tgtEl>
                                        <p:attrNameLst>
                                          <p:attrName>ppt_x</p:attrName>
                                          <p:attrName>ppt_y</p:attrName>
                                        </p:attrNameLst>
                                      </p:cBhvr>
                                      <p:rCtr x="0" y="1759"/>
                                    </p:animMotion>
                                  </p:childTnLst>
                                </p:cTn>
                              </p:par>
                              <p:par>
                                <p:cTn id="80" presetID="10" presetClass="entr" presetSubtype="0" fill="hold" grpId="0" nodeType="withEffect">
                                  <p:stCondLst>
                                    <p:cond delay="200"/>
                                  </p:stCondLst>
                                  <p:childTnLst>
                                    <p:set>
                                      <p:cBhvr>
                                        <p:cTn id="81" dur="1" fill="hold">
                                          <p:stCondLst>
                                            <p:cond delay="0"/>
                                          </p:stCondLst>
                                        </p:cTn>
                                        <p:tgtEl>
                                          <p:spTgt spid="27"/>
                                        </p:tgtEl>
                                        <p:attrNameLst>
                                          <p:attrName>style.visibility</p:attrName>
                                        </p:attrNameLst>
                                      </p:cBhvr>
                                      <p:to>
                                        <p:strVal val="visible"/>
                                      </p:to>
                                    </p:set>
                                    <p:animEffect transition="in" filter="fade">
                                      <p:cBhvr>
                                        <p:cTn id="82" dur="500"/>
                                        <p:tgtEl>
                                          <p:spTgt spid="27"/>
                                        </p:tgtEl>
                                      </p:cBhvr>
                                    </p:animEffect>
                                  </p:childTnLst>
                                </p:cTn>
                              </p:par>
                              <p:par>
                                <p:cTn id="83" presetID="42" presetClass="path" presetSubtype="0" decel="100000" fill="hold" grpId="1" nodeType="withEffect">
                                  <p:stCondLst>
                                    <p:cond delay="200"/>
                                  </p:stCondLst>
                                  <p:childTnLst>
                                    <p:animMotion origin="layout" path="M -1.04167E-6 7.40741E-7 L -1.04167E-6 0.03542 " pathEditMode="relative" rAng="0" ptsTypes="AA">
                                      <p:cBhvr>
                                        <p:cTn id="84" dur="700" spd="-100000" fill="hold"/>
                                        <p:tgtEl>
                                          <p:spTgt spid="27"/>
                                        </p:tgtEl>
                                        <p:attrNameLst>
                                          <p:attrName>ppt_x</p:attrName>
                                          <p:attrName>ppt_y</p:attrName>
                                        </p:attrNameLst>
                                      </p:cBhvr>
                                      <p:rCtr x="0" y="1759"/>
                                    </p:animMotion>
                                  </p:childTnLst>
                                </p:cTn>
                              </p:par>
                              <p:par>
                                <p:cTn id="85" presetID="10" presetClass="entr" presetSubtype="0" fill="hold" grpId="0" nodeType="withEffect">
                                  <p:stCondLst>
                                    <p:cond delay="200"/>
                                  </p:stCondLst>
                                  <p:childTnLst>
                                    <p:set>
                                      <p:cBhvr>
                                        <p:cTn id="86" dur="1" fill="hold">
                                          <p:stCondLst>
                                            <p:cond delay="0"/>
                                          </p:stCondLst>
                                        </p:cTn>
                                        <p:tgtEl>
                                          <p:spTgt spid="40"/>
                                        </p:tgtEl>
                                        <p:attrNameLst>
                                          <p:attrName>style.visibility</p:attrName>
                                        </p:attrNameLst>
                                      </p:cBhvr>
                                      <p:to>
                                        <p:strVal val="visible"/>
                                      </p:to>
                                    </p:set>
                                    <p:animEffect transition="in" filter="fade">
                                      <p:cBhvr>
                                        <p:cTn id="87" dur="500"/>
                                        <p:tgtEl>
                                          <p:spTgt spid="40"/>
                                        </p:tgtEl>
                                      </p:cBhvr>
                                    </p:animEffect>
                                  </p:childTnLst>
                                </p:cTn>
                              </p:par>
                              <p:par>
                                <p:cTn id="88" presetID="42" presetClass="path" presetSubtype="0" decel="100000" fill="hold" grpId="1" nodeType="withEffect">
                                  <p:stCondLst>
                                    <p:cond delay="200"/>
                                  </p:stCondLst>
                                  <p:childTnLst>
                                    <p:animMotion origin="layout" path="M -1.04167E-6 7.40741E-7 L -1.04167E-6 0.03542 " pathEditMode="relative" rAng="0" ptsTypes="AA">
                                      <p:cBhvr>
                                        <p:cTn id="89" dur="700" spd="-100000" fill="hold"/>
                                        <p:tgtEl>
                                          <p:spTgt spid="40"/>
                                        </p:tgtEl>
                                        <p:attrNameLst>
                                          <p:attrName>ppt_x</p:attrName>
                                          <p:attrName>ppt_y</p:attrName>
                                        </p:attrNameLst>
                                      </p:cBhvr>
                                      <p:rCtr x="0" y="1759"/>
                                    </p:animMotion>
                                  </p:childTnLst>
                                </p:cTn>
                              </p:par>
                              <p:par>
                                <p:cTn id="90" presetID="10" presetClass="entr" presetSubtype="0" fill="hold" grpId="0" nodeType="withEffect">
                                  <p:stCondLst>
                                    <p:cond delay="200"/>
                                  </p:stCondLst>
                                  <p:childTnLst>
                                    <p:set>
                                      <p:cBhvr>
                                        <p:cTn id="91" dur="1" fill="hold">
                                          <p:stCondLst>
                                            <p:cond delay="0"/>
                                          </p:stCondLst>
                                        </p:cTn>
                                        <p:tgtEl>
                                          <p:spTgt spid="39"/>
                                        </p:tgtEl>
                                        <p:attrNameLst>
                                          <p:attrName>style.visibility</p:attrName>
                                        </p:attrNameLst>
                                      </p:cBhvr>
                                      <p:to>
                                        <p:strVal val="visible"/>
                                      </p:to>
                                    </p:set>
                                    <p:animEffect transition="in" filter="fade">
                                      <p:cBhvr>
                                        <p:cTn id="92" dur="500"/>
                                        <p:tgtEl>
                                          <p:spTgt spid="39"/>
                                        </p:tgtEl>
                                      </p:cBhvr>
                                    </p:animEffect>
                                  </p:childTnLst>
                                </p:cTn>
                              </p:par>
                              <p:par>
                                <p:cTn id="93" presetID="42" presetClass="path" presetSubtype="0" decel="100000" fill="hold" grpId="1" nodeType="withEffect">
                                  <p:stCondLst>
                                    <p:cond delay="200"/>
                                  </p:stCondLst>
                                  <p:childTnLst>
                                    <p:animMotion origin="layout" path="M -1.04167E-6 7.40741E-7 L -1.04167E-6 0.03542 " pathEditMode="relative" rAng="0" ptsTypes="AA">
                                      <p:cBhvr>
                                        <p:cTn id="94" dur="700" spd="-100000" fill="hold"/>
                                        <p:tgtEl>
                                          <p:spTgt spid="39"/>
                                        </p:tgtEl>
                                        <p:attrNameLst>
                                          <p:attrName>ppt_x</p:attrName>
                                          <p:attrName>ppt_y</p:attrName>
                                        </p:attrNameLst>
                                      </p:cBhvr>
                                      <p:rCtr x="0" y="1759"/>
                                    </p:animMotion>
                                  </p:childTnLst>
                                </p:cTn>
                              </p:par>
                              <p:par>
                                <p:cTn id="95" presetID="10" presetClass="entr" presetSubtype="0" fill="hold" grpId="0" nodeType="withEffect">
                                  <p:stCondLst>
                                    <p:cond delay="200"/>
                                  </p:stCondLst>
                                  <p:childTnLst>
                                    <p:set>
                                      <p:cBhvr>
                                        <p:cTn id="96" dur="1" fill="hold">
                                          <p:stCondLst>
                                            <p:cond delay="0"/>
                                          </p:stCondLst>
                                        </p:cTn>
                                        <p:tgtEl>
                                          <p:spTgt spid="31"/>
                                        </p:tgtEl>
                                        <p:attrNameLst>
                                          <p:attrName>style.visibility</p:attrName>
                                        </p:attrNameLst>
                                      </p:cBhvr>
                                      <p:to>
                                        <p:strVal val="visible"/>
                                      </p:to>
                                    </p:set>
                                    <p:animEffect transition="in" filter="fade">
                                      <p:cBhvr>
                                        <p:cTn id="97" dur="500"/>
                                        <p:tgtEl>
                                          <p:spTgt spid="31"/>
                                        </p:tgtEl>
                                      </p:cBhvr>
                                    </p:animEffect>
                                  </p:childTnLst>
                                </p:cTn>
                              </p:par>
                              <p:par>
                                <p:cTn id="98" presetID="42" presetClass="path" presetSubtype="0" decel="100000" fill="hold" grpId="1" nodeType="withEffect">
                                  <p:stCondLst>
                                    <p:cond delay="200"/>
                                  </p:stCondLst>
                                  <p:childTnLst>
                                    <p:animMotion origin="layout" path="M -1.04167E-6 7.40741E-7 L -1.04167E-6 0.03542 " pathEditMode="relative" rAng="0" ptsTypes="AA">
                                      <p:cBhvr>
                                        <p:cTn id="99" dur="700" spd="-100000" fill="hold"/>
                                        <p:tgtEl>
                                          <p:spTgt spid="31"/>
                                        </p:tgtEl>
                                        <p:attrNameLst>
                                          <p:attrName>ppt_x</p:attrName>
                                          <p:attrName>ppt_y</p:attrName>
                                        </p:attrNameLst>
                                      </p:cBhvr>
                                      <p:rCtr x="0" y="1759"/>
                                    </p:animMotion>
                                  </p:childTnLst>
                                </p:cTn>
                              </p:par>
                              <p:par>
                                <p:cTn id="100" presetID="10" presetClass="entr" presetSubtype="0" fill="hold" grpId="0" nodeType="withEffect">
                                  <p:stCondLst>
                                    <p:cond delay="200"/>
                                  </p:stCondLst>
                                  <p:childTnLst>
                                    <p:set>
                                      <p:cBhvr>
                                        <p:cTn id="101" dur="1" fill="hold">
                                          <p:stCondLst>
                                            <p:cond delay="0"/>
                                          </p:stCondLst>
                                        </p:cTn>
                                        <p:tgtEl>
                                          <p:spTgt spid="29"/>
                                        </p:tgtEl>
                                        <p:attrNameLst>
                                          <p:attrName>style.visibility</p:attrName>
                                        </p:attrNameLst>
                                      </p:cBhvr>
                                      <p:to>
                                        <p:strVal val="visible"/>
                                      </p:to>
                                    </p:set>
                                    <p:animEffect transition="in" filter="fade">
                                      <p:cBhvr>
                                        <p:cTn id="102" dur="500"/>
                                        <p:tgtEl>
                                          <p:spTgt spid="29"/>
                                        </p:tgtEl>
                                      </p:cBhvr>
                                    </p:animEffect>
                                  </p:childTnLst>
                                </p:cTn>
                              </p:par>
                              <p:par>
                                <p:cTn id="103" presetID="42" presetClass="path" presetSubtype="0" decel="100000" fill="hold" grpId="1" nodeType="withEffect">
                                  <p:stCondLst>
                                    <p:cond delay="200"/>
                                  </p:stCondLst>
                                  <p:childTnLst>
                                    <p:animMotion origin="layout" path="M -1.04167E-6 7.40741E-7 L -1.04167E-6 0.03542 " pathEditMode="relative" rAng="0" ptsTypes="AA">
                                      <p:cBhvr>
                                        <p:cTn id="104" dur="700" spd="-100000" fill="hold"/>
                                        <p:tgtEl>
                                          <p:spTgt spid="29"/>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2" grpId="1" animBg="1"/>
      <p:bldP spid="23" grpId="0" animBg="1"/>
      <p:bldP spid="23" grpId="1" animBg="1"/>
      <p:bldP spid="24" grpId="0" animBg="1"/>
      <p:bldP spid="24" grpId="1"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4" grpId="0"/>
      <p:bldP spid="34" grpId="1"/>
      <p:bldP spid="35" grpId="0"/>
      <p:bldP spid="35" grpId="1"/>
      <p:bldP spid="36" grpId="0"/>
      <p:bldP spid="36" grpId="1"/>
      <p:bldP spid="37" grpId="0"/>
      <p:bldP spid="37" grpId="1"/>
      <p:bldP spid="38" grpId="0"/>
      <p:bldP spid="38" grpId="1"/>
      <p:bldP spid="39" grpId="0"/>
      <p:bldP spid="39" grpId="1"/>
      <p:bldP spid="40" grpId="0"/>
      <p:bldP spid="40"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735EB-A140-C502-FB5E-014C6849EC42}"/>
              </a:ext>
            </a:extLst>
          </p:cNvPr>
          <p:cNvSpPr>
            <a:spLocks noGrp="1"/>
          </p:cNvSpPr>
          <p:nvPr>
            <p:ph type="title"/>
          </p:nvPr>
        </p:nvSpPr>
        <p:spPr>
          <a:xfrm>
            <a:off x="571499" y="2792795"/>
            <a:ext cx="4898275" cy="646331"/>
          </a:xfrm>
          <a:prstGeom prst="rect">
            <a:avLst/>
          </a:prstGeom>
        </p:spPr>
        <p:txBody>
          <a:bodyPr/>
          <a:lstStyle/>
          <a:p>
            <a:r>
              <a:rPr lang="fr-fr" spc="0"/>
              <a:t>Contrôles de gestion</a:t>
            </a:r>
          </a:p>
        </p:txBody>
      </p:sp>
    </p:spTree>
    <p:extLst>
      <p:ext uri="{BB962C8B-B14F-4D97-AF65-F5344CB8AC3E}">
        <p14:creationId xmlns:p14="http://schemas.microsoft.com/office/powerpoint/2010/main" val="193459793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14B9E8-DEBB-E692-4B57-8B1FCEC6A5E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56F421A-BFDF-7150-8A5C-7F9430D7A71F}"/>
              </a:ext>
            </a:extLst>
          </p:cNvPr>
          <p:cNvSpPr>
            <a:spLocks noGrp="1"/>
          </p:cNvSpPr>
          <p:nvPr>
            <p:ph type="title"/>
          </p:nvPr>
        </p:nvSpPr>
        <p:spPr/>
        <p:txBody>
          <a:bodyPr/>
          <a:lstStyle/>
          <a:p>
            <a:r>
              <a:rPr lang="fr-fr"/>
              <a:t>Registre des agents</a:t>
            </a:r>
          </a:p>
        </p:txBody>
      </p:sp>
      <p:sp>
        <p:nvSpPr>
          <p:cNvPr id="17" name="TextBox 16">
            <a:extLst>
              <a:ext uri="{FF2B5EF4-FFF2-40B4-BE49-F238E27FC236}">
                <a16:creationId xmlns:a16="http://schemas.microsoft.com/office/drawing/2014/main" id="{1B62883F-7E9A-E3AC-193E-AD6821209532}"/>
              </a:ext>
            </a:extLst>
          </p:cNvPr>
          <p:cNvSpPr txBox="1"/>
          <p:nvPr/>
        </p:nvSpPr>
        <p:spPr>
          <a:xfrm>
            <a:off x="557441" y="1784621"/>
            <a:ext cx="5704463" cy="4483279"/>
          </a:xfrm>
          <a:prstGeom prst="rect">
            <a:avLst/>
          </a:prstGeom>
          <a:noFill/>
        </p:spPr>
        <p:txBody>
          <a:bodyPr wrap="square">
            <a:spAutoFit/>
          </a:bodyPr>
          <a:lstStyle/>
          <a:p>
            <a:pPr marR="0" lvl="0" algn="l" defTabSz="457200" rtl="0" eaLnBrk="1" fontAlgn="auto" latinLnBrk="0" hangingPunct="1">
              <a:lnSpc>
                <a:spcPct val="100000"/>
              </a:lnSpc>
              <a:spcBef>
                <a:spcPts val="0"/>
              </a:spcBef>
              <a:spcAft>
                <a:spcPts val="800"/>
              </a:spcAft>
              <a:buClrTx/>
              <a:buSzTx/>
              <a:tabLst/>
              <a:defRPr/>
            </a:pPr>
            <a:r>
              <a:rPr kumimoji="0" lang="fr-fr" sz="1800" b="0" i="0" u="none" strike="noStrike" kern="1200" cap="none" spc="0" normalizeH="0" baseline="0" noProof="0">
                <a:ln>
                  <a:noFill/>
                </a:ln>
                <a:solidFill>
                  <a:schemeClr val="bg1"/>
                </a:solidFill>
                <a:effectLst/>
                <a:uLnTx/>
                <a:uFillTx/>
                <a:latin typeface="Segoe UI"/>
                <a:ea typeface="+mn-ea"/>
                <a:cs typeface="+mn-cs"/>
              </a:rPr>
              <a:t>Fournit une vue centralisée de tous les agents disponibles au sein de votre organisation et aide </a:t>
            </a:r>
            <a:br>
              <a:rPr kumimoji="0" lang="fr-fr" sz="1800" b="0" i="0" u="none" strike="noStrike" kern="1200" cap="none" spc="0" normalizeH="0" baseline="0" noProof="0">
                <a:ln>
                  <a:noFill/>
                </a:ln>
                <a:solidFill>
                  <a:schemeClr val="bg1"/>
                </a:solidFill>
                <a:effectLst/>
                <a:uLnTx/>
                <a:uFillTx/>
                <a:latin typeface="Segoe UI"/>
                <a:ea typeface="+mn-ea"/>
                <a:cs typeface="+mn-cs"/>
              </a:rPr>
            </a:br>
            <a:r>
              <a:rPr kumimoji="0" lang="fr-fr" sz="1800" b="0" i="0" u="none" strike="noStrike" kern="1200" cap="none" spc="0" normalizeH="0" baseline="0" noProof="0">
                <a:ln>
                  <a:noFill/>
                </a:ln>
                <a:solidFill>
                  <a:schemeClr val="bg1"/>
                </a:solidFill>
                <a:effectLst/>
                <a:uLnTx/>
                <a:uFillTx/>
                <a:latin typeface="Segoe UI"/>
                <a:ea typeface="+mn-ea"/>
                <a:cs typeface="+mn-cs"/>
              </a:rPr>
              <a:t>les administrateurs à surveiller, gérer et gouverner efficacement les agents.</a:t>
            </a:r>
          </a:p>
          <a:p>
            <a:pPr marR="0" lvl="0" algn="l" defTabSz="457200" rtl="0" eaLnBrk="1" fontAlgn="auto" latinLnBrk="0" hangingPunct="1">
              <a:lnSpc>
                <a:spcPct val="100000"/>
              </a:lnSpc>
              <a:spcBef>
                <a:spcPts val="0"/>
              </a:spcBef>
              <a:spcAft>
                <a:spcPts val="800"/>
              </a:spcAft>
              <a:buClrTx/>
              <a:buSzTx/>
              <a:tabLst/>
              <a:defRPr/>
            </a:pPr>
            <a:r>
              <a:rPr kumimoji="0" lang="fr-fr" sz="1800" b="0" i="0" u="none" strike="noStrike" kern="1200" cap="none" spc="0" normalizeH="0" baseline="0" noProof="0">
                <a:ln>
                  <a:noFill/>
                </a:ln>
                <a:solidFill>
                  <a:schemeClr val="bg1"/>
                </a:solidFill>
                <a:effectLst/>
                <a:uLnTx/>
                <a:uFillTx/>
                <a:latin typeface="Segoe UI"/>
                <a:ea typeface="+mn-ea"/>
                <a:cs typeface="+mn-cs"/>
              </a:rPr>
              <a:t>Le registre des agents répertorie tous les agents intégrés à Microsoft 365 Copilot, notamment :</a:t>
            </a:r>
          </a:p>
          <a:p>
            <a:pPr marL="285750" indent="-285750" defTabSz="457200">
              <a:spcAft>
                <a:spcPts val="800"/>
              </a:spcAft>
              <a:buFont typeface="Arial" panose="020B0604020202020204" pitchFamily="34" charset="0"/>
              <a:buChar char="•"/>
              <a:defRPr/>
            </a:pPr>
            <a:r>
              <a:rPr kumimoji="0" lang="fr-fr" sz="1600" b="1" i="0" u="none" strike="noStrike" kern="1200" cap="none" spc="0" normalizeH="0" baseline="0" noProof="0">
                <a:ln>
                  <a:noFill/>
                </a:ln>
                <a:solidFill>
                  <a:schemeClr val="bg1"/>
                </a:solidFill>
                <a:effectLst/>
                <a:uLnTx/>
                <a:uFillTx/>
                <a:latin typeface="Segoe UI"/>
                <a:ea typeface="+mn-ea"/>
                <a:cs typeface="+mn-cs"/>
              </a:rPr>
              <a:t>Agents Microsoft </a:t>
            </a:r>
            <a:r>
              <a:rPr kumimoji="0" lang="fr-fr" sz="1600" b="0" i="0" u="none" strike="noStrike" kern="1200" cap="none" spc="0" normalizeH="0" baseline="0" noProof="0">
                <a:ln>
                  <a:noFill/>
                </a:ln>
                <a:solidFill>
                  <a:schemeClr val="bg1"/>
                </a:solidFill>
                <a:effectLst/>
                <a:uLnTx/>
                <a:uFillTx/>
                <a:latin typeface="Segoe UI"/>
                <a:ea typeface="+mn-ea"/>
                <a:cs typeface="+mn-cs"/>
              </a:rPr>
              <a:t>– Créés et gérés par Microsoft.</a:t>
            </a:r>
          </a:p>
          <a:p>
            <a:pPr marL="285750" indent="-285750" defTabSz="457200">
              <a:spcAft>
                <a:spcPts val="800"/>
              </a:spcAft>
              <a:buFont typeface="Arial" panose="020B0604020202020204" pitchFamily="34" charset="0"/>
              <a:buChar char="•"/>
              <a:defRPr/>
            </a:pPr>
            <a:r>
              <a:rPr kumimoji="0" lang="fr-fr" sz="1600" b="1" i="0" u="none" strike="noStrike" kern="1200" cap="none" spc="0" normalizeH="0" baseline="0" noProof="0">
                <a:ln>
                  <a:noFill/>
                </a:ln>
                <a:solidFill>
                  <a:schemeClr val="bg1"/>
                </a:solidFill>
                <a:effectLst/>
                <a:uLnTx/>
                <a:uFillTx/>
                <a:latin typeface="Segoe UI"/>
                <a:ea typeface="+mn-ea"/>
                <a:cs typeface="+mn-cs"/>
              </a:rPr>
              <a:t>Agents développés par des partenaires externes </a:t>
            </a:r>
            <a:r>
              <a:rPr kumimoji="0" lang="fr-fr" sz="1600" b="0" i="0" u="none" strike="noStrike" kern="1200" cap="none" spc="0" normalizeH="0" baseline="0" noProof="0">
                <a:ln>
                  <a:noFill/>
                </a:ln>
                <a:solidFill>
                  <a:schemeClr val="bg1"/>
                </a:solidFill>
                <a:effectLst/>
                <a:uLnTx/>
                <a:uFillTx/>
                <a:latin typeface="Segoe UI"/>
                <a:ea typeface="+mn-ea"/>
                <a:cs typeface="+mn-cs"/>
              </a:rPr>
              <a:t>– Fournis par des développeurs non-Microsoft de confiance.</a:t>
            </a:r>
          </a:p>
          <a:p>
            <a:pPr marL="285750" indent="-285750" defTabSz="457200">
              <a:spcAft>
                <a:spcPts val="800"/>
              </a:spcAft>
              <a:buFont typeface="Arial" panose="020B0604020202020204" pitchFamily="34" charset="0"/>
              <a:buChar char="•"/>
              <a:defRPr/>
            </a:pPr>
            <a:r>
              <a:rPr kumimoji="0" lang="fr-fr" sz="1600" b="1" i="0" u="none" strike="noStrike" kern="1200" cap="none" spc="0" normalizeH="0" baseline="0" noProof="0">
                <a:ln>
                  <a:noFill/>
                </a:ln>
                <a:solidFill>
                  <a:schemeClr val="bg1"/>
                </a:solidFill>
                <a:effectLst/>
                <a:uLnTx/>
                <a:uFillTx/>
                <a:latin typeface="Segoe UI"/>
                <a:ea typeface="+mn-ea"/>
                <a:cs typeface="+mn-cs"/>
              </a:rPr>
              <a:t>Agents partagés par leur créateur </a:t>
            </a:r>
            <a:r>
              <a:rPr kumimoji="0" lang="fr-fr" sz="1600" b="0" i="0" u="none" strike="noStrike" kern="1200" cap="none" spc="0" normalizeH="0" baseline="0" noProof="0">
                <a:ln>
                  <a:noFill/>
                </a:ln>
                <a:solidFill>
                  <a:schemeClr val="bg1"/>
                </a:solidFill>
                <a:effectLst/>
                <a:uLnTx/>
                <a:uFillTx/>
                <a:latin typeface="Segoe UI"/>
                <a:ea typeface="+mn-ea"/>
                <a:cs typeface="+mn-cs"/>
              </a:rPr>
              <a:t>- Créés et partagés par des utilisateurs ou développeurs individuels au sein </a:t>
            </a:r>
            <a:br>
              <a:rPr kumimoji="0" lang="fr-fr" sz="1600" b="0" i="0" u="none" strike="noStrike" kern="1200" cap="none" spc="0" normalizeH="0" baseline="0" noProof="0">
                <a:ln>
                  <a:noFill/>
                </a:ln>
                <a:solidFill>
                  <a:schemeClr val="bg1"/>
                </a:solidFill>
                <a:effectLst/>
                <a:uLnTx/>
                <a:uFillTx/>
                <a:latin typeface="Segoe UI"/>
                <a:ea typeface="+mn-ea"/>
                <a:cs typeface="+mn-cs"/>
              </a:rPr>
            </a:br>
            <a:r>
              <a:rPr kumimoji="0" lang="fr-fr" sz="1600" b="0" i="0" u="none" strike="noStrike" kern="1200" cap="none" spc="0" normalizeH="0" baseline="0" noProof="0">
                <a:ln>
                  <a:noFill/>
                </a:ln>
                <a:solidFill>
                  <a:schemeClr val="bg1"/>
                </a:solidFill>
                <a:effectLst/>
                <a:uLnTx/>
                <a:uFillTx/>
                <a:latin typeface="Segoe UI"/>
                <a:ea typeface="+mn-ea"/>
                <a:cs typeface="+mn-cs"/>
              </a:rPr>
              <a:t>de votre organisation.</a:t>
            </a:r>
          </a:p>
          <a:p>
            <a:pPr marL="285750" indent="-285750" defTabSz="457200">
              <a:spcAft>
                <a:spcPts val="800"/>
              </a:spcAft>
              <a:buFont typeface="Arial" panose="020B0604020202020204" pitchFamily="34" charset="0"/>
              <a:buChar char="•"/>
              <a:defRPr/>
            </a:pPr>
            <a:r>
              <a:rPr kumimoji="0" lang="fr-fr" sz="1600" b="1" i="0" u="none" strike="noStrike" kern="1200" cap="none" spc="0" normalizeH="0" baseline="0" noProof="0">
                <a:ln>
                  <a:noFill/>
                </a:ln>
                <a:solidFill>
                  <a:schemeClr val="bg1"/>
                </a:solidFill>
                <a:effectLst/>
                <a:uLnTx/>
                <a:uFillTx/>
                <a:latin typeface="Segoe UI"/>
                <a:ea typeface="+mn-ea"/>
                <a:cs typeface="+mn-cs"/>
              </a:rPr>
              <a:t>Agents publiés par votre organisation </a:t>
            </a:r>
            <a:r>
              <a:rPr kumimoji="0" lang="fr-fr" sz="1600" b="0" i="0" u="none" strike="noStrike" kern="1200" cap="none" spc="0" normalizeH="0" baseline="0" noProof="0">
                <a:ln>
                  <a:noFill/>
                </a:ln>
                <a:solidFill>
                  <a:schemeClr val="bg1"/>
                </a:solidFill>
                <a:effectLst/>
                <a:uLnTx/>
                <a:uFillTx/>
                <a:latin typeface="Segoe UI"/>
                <a:ea typeface="+mn-ea"/>
                <a:cs typeface="+mn-cs"/>
              </a:rPr>
              <a:t>- Agents personnalisés approuvés et publiés par votre </a:t>
            </a:r>
            <a:br>
              <a:rPr kumimoji="0" lang="fr-fr" sz="1600" b="0" i="0" u="none" strike="noStrike" kern="1200" cap="none" spc="0" normalizeH="0" baseline="0" noProof="0">
                <a:ln>
                  <a:noFill/>
                </a:ln>
                <a:solidFill>
                  <a:schemeClr val="bg1"/>
                </a:solidFill>
                <a:effectLst/>
                <a:uLnTx/>
                <a:uFillTx/>
                <a:latin typeface="Segoe UI"/>
                <a:ea typeface="+mn-ea"/>
                <a:cs typeface="+mn-cs"/>
              </a:rPr>
            </a:br>
            <a:r>
              <a:rPr kumimoji="0" lang="fr-fr" sz="1600" b="0" i="0" u="none" strike="noStrike" kern="1200" cap="none" spc="0" normalizeH="0" baseline="0" noProof="0">
                <a:ln>
                  <a:noFill/>
                </a:ln>
                <a:solidFill>
                  <a:schemeClr val="bg1"/>
                </a:solidFill>
                <a:effectLst/>
                <a:uLnTx/>
                <a:uFillTx/>
                <a:latin typeface="Segoe UI"/>
                <a:ea typeface="+mn-ea"/>
                <a:cs typeface="+mn-cs"/>
              </a:rPr>
              <a:t>organisation pour un usage plus large.</a:t>
            </a:r>
          </a:p>
        </p:txBody>
      </p:sp>
      <p:pic>
        <p:nvPicPr>
          <p:cNvPr id="2" name="Picture 1">
            <a:extLst>
              <a:ext uri="{FF2B5EF4-FFF2-40B4-BE49-F238E27FC236}">
                <a16:creationId xmlns:a16="http://schemas.microsoft.com/office/drawing/2014/main" id="{D6F78504-542F-F11E-D532-4FD25D804461}"/>
              </a:ext>
            </a:extLst>
          </p:cNvPr>
          <p:cNvPicPr>
            <a:picLocks noChangeAspect="1"/>
          </p:cNvPicPr>
          <p:nvPr/>
        </p:nvPicPr>
        <p:blipFill>
          <a:blip r:embed="rId3"/>
          <a:stretch>
            <a:fillRect/>
          </a:stretch>
        </p:blipFill>
        <p:spPr>
          <a:xfrm>
            <a:off x="6532009" y="1784621"/>
            <a:ext cx="5458313" cy="3169343"/>
          </a:xfrm>
          <a:prstGeom prst="roundRect">
            <a:avLst>
              <a:gd name="adj" fmla="val 2291"/>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19623976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8ACD5A-9DE7-93EB-6C9D-2F461083F96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43087BA-7BB5-110F-A1B8-A9475168952C}"/>
              </a:ext>
            </a:extLst>
          </p:cNvPr>
          <p:cNvSpPr>
            <a:spLocks noGrp="1"/>
          </p:cNvSpPr>
          <p:nvPr>
            <p:ph type="title"/>
          </p:nvPr>
        </p:nvSpPr>
        <p:spPr/>
        <p:txBody>
          <a:bodyPr/>
          <a:lstStyle/>
          <a:p>
            <a:r>
              <a:rPr lang="fr-fr"/>
              <a:t>Approbation des administrateurs pour les agents</a:t>
            </a:r>
          </a:p>
        </p:txBody>
      </p:sp>
      <p:sp>
        <p:nvSpPr>
          <p:cNvPr id="17" name="TextBox 16">
            <a:extLst>
              <a:ext uri="{FF2B5EF4-FFF2-40B4-BE49-F238E27FC236}">
                <a16:creationId xmlns:a16="http://schemas.microsoft.com/office/drawing/2014/main" id="{8A4A73FF-DEDD-66DC-2D8C-717DF91172D7}"/>
              </a:ext>
            </a:extLst>
          </p:cNvPr>
          <p:cNvSpPr txBox="1"/>
          <p:nvPr/>
        </p:nvSpPr>
        <p:spPr>
          <a:xfrm>
            <a:off x="563190" y="1953599"/>
            <a:ext cx="4270984" cy="4616648"/>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1800"/>
              </a:spcAft>
              <a:buClrTx/>
              <a:buSzTx/>
              <a:buFontTx/>
              <a:buNone/>
              <a:tabLst/>
              <a:defRPr/>
            </a:pPr>
            <a:r>
              <a:rPr kumimoji="0" lang="fr-fr" sz="1700" b="0" i="0" u="none" strike="noStrike" kern="1200" cap="none" spc="0" normalizeH="0" baseline="0" noProof="0">
                <a:ln>
                  <a:noFill/>
                </a:ln>
                <a:solidFill>
                  <a:schemeClr val="bg1"/>
                </a:solidFill>
                <a:effectLst/>
                <a:uLnTx/>
                <a:uFillTx/>
                <a:latin typeface="Segoe UI"/>
                <a:ea typeface="+mn-ea"/>
                <a:cs typeface="+mn-cs"/>
              </a:rPr>
              <a:t>Les créateurs d’agents peuvent publier leurs agents créés dans Copilot Studio ou Agent Toolkit dans le catalogue d’applications </a:t>
            </a:r>
            <a:br>
              <a:rPr kumimoji="0" lang="fr-fr" sz="1700" b="0" i="0" u="none" strike="noStrike" kern="1200" cap="none" spc="0" normalizeH="0" baseline="0" noProof="0">
                <a:ln>
                  <a:noFill/>
                </a:ln>
                <a:solidFill>
                  <a:schemeClr val="bg1"/>
                </a:solidFill>
                <a:effectLst/>
                <a:uLnTx/>
                <a:uFillTx/>
                <a:latin typeface="Segoe UI"/>
                <a:ea typeface="+mn-ea"/>
                <a:cs typeface="+mn-cs"/>
              </a:rPr>
            </a:br>
            <a:r>
              <a:rPr kumimoji="0" lang="fr-fr" sz="1700" b="0" i="0" u="none" strike="noStrike" kern="1200" cap="none" spc="0" normalizeH="0" baseline="0" noProof="0">
                <a:ln>
                  <a:noFill/>
                </a:ln>
                <a:solidFill>
                  <a:schemeClr val="bg1"/>
                </a:solidFill>
                <a:effectLst/>
                <a:uLnTx/>
                <a:uFillTx/>
                <a:latin typeface="Segoe UI"/>
                <a:ea typeface="+mn-ea"/>
                <a:cs typeface="+mn-cs"/>
              </a:rPr>
              <a:t>du locataire</a:t>
            </a:r>
          </a:p>
          <a:p>
            <a:pPr marL="0" marR="0" lvl="0" indent="0" algn="l" defTabSz="457200" rtl="0" eaLnBrk="1" fontAlgn="auto" latinLnBrk="0" hangingPunct="1">
              <a:lnSpc>
                <a:spcPct val="100000"/>
              </a:lnSpc>
              <a:spcBef>
                <a:spcPts val="0"/>
              </a:spcBef>
              <a:spcAft>
                <a:spcPts val="1800"/>
              </a:spcAft>
              <a:buClrTx/>
              <a:buSzTx/>
              <a:buFontTx/>
              <a:buNone/>
              <a:tabLst/>
              <a:defRPr/>
            </a:pPr>
            <a:r>
              <a:rPr kumimoji="0" lang="fr-fr" sz="1700" b="0" i="0" u="none" strike="noStrike" kern="1200" cap="none" spc="0" normalizeH="0" baseline="0" noProof="0">
                <a:ln>
                  <a:noFill/>
                </a:ln>
                <a:solidFill>
                  <a:schemeClr val="bg1"/>
                </a:solidFill>
                <a:effectLst/>
                <a:uLnTx/>
                <a:uFillTx/>
                <a:latin typeface="Segoe UI"/>
                <a:ea typeface="+mn-ea"/>
                <a:cs typeface="+mn-cs"/>
              </a:rPr>
              <a:t>Les administrateurs doivent approuver </a:t>
            </a:r>
            <a:br>
              <a:rPr kumimoji="0" lang="fr-fr" sz="1700" b="0" i="0" u="none" strike="noStrike" kern="1200" cap="none" spc="0" normalizeH="0" baseline="0" noProof="0">
                <a:ln>
                  <a:noFill/>
                </a:ln>
                <a:solidFill>
                  <a:schemeClr val="bg1"/>
                </a:solidFill>
                <a:effectLst/>
                <a:uLnTx/>
                <a:uFillTx/>
                <a:latin typeface="Segoe UI"/>
                <a:ea typeface="+mn-ea"/>
                <a:cs typeface="+mn-cs"/>
              </a:rPr>
            </a:br>
            <a:r>
              <a:rPr kumimoji="0" lang="fr-fr" sz="1700" b="0" i="0" u="none" strike="noStrike" kern="1200" cap="none" spc="0" normalizeH="0" baseline="0" noProof="0">
                <a:ln>
                  <a:noFill/>
                </a:ln>
                <a:solidFill>
                  <a:schemeClr val="bg1"/>
                </a:solidFill>
                <a:effectLst/>
                <a:uLnTx/>
                <a:uFillTx/>
                <a:latin typeface="Segoe UI"/>
                <a:ea typeface="+mn-ea"/>
                <a:cs typeface="+mn-cs"/>
              </a:rPr>
              <a:t>ou refuser la publication dans le </a:t>
            </a:r>
            <a:r>
              <a:rPr kumimoji="0" lang="fr-fr" sz="1700" b="1" i="0" u="none" strike="noStrike" kern="1200" cap="none" spc="0" normalizeH="0" baseline="0" noProof="0">
                <a:ln>
                  <a:noFill/>
                </a:ln>
                <a:solidFill>
                  <a:schemeClr val="bg1"/>
                </a:solidFill>
                <a:effectLst/>
                <a:uLnTx/>
                <a:uFillTx/>
                <a:latin typeface="Segoe UI"/>
                <a:ea typeface="+mn-ea"/>
                <a:cs typeface="+mn-cs"/>
              </a:rPr>
              <a:t>Centre d’administration Microsoft 365</a:t>
            </a:r>
            <a:r>
              <a:rPr kumimoji="0" lang="fr-fr" sz="1700" b="0" i="0" u="none" strike="noStrike" kern="1200" cap="none" spc="0" normalizeH="0" baseline="0" noProof="0">
                <a:ln>
                  <a:noFill/>
                </a:ln>
                <a:solidFill>
                  <a:schemeClr val="bg1"/>
                </a:solidFill>
                <a:effectLst/>
                <a:uLnTx/>
                <a:uFillTx/>
                <a:latin typeface="Segoe UI"/>
                <a:ea typeface="+mn-ea"/>
                <a:cs typeface="+mn-cs"/>
              </a:rPr>
              <a:t> &gt; </a:t>
            </a:r>
            <a:br>
              <a:rPr kumimoji="0" lang="fr-fr" sz="1700" b="0" i="0" u="none" strike="noStrike" kern="1200" cap="none" spc="0" normalizeH="0" baseline="0" noProof="0">
                <a:ln>
                  <a:noFill/>
                </a:ln>
                <a:solidFill>
                  <a:schemeClr val="bg1"/>
                </a:solidFill>
                <a:effectLst/>
                <a:uLnTx/>
                <a:uFillTx/>
                <a:latin typeface="Segoe UI"/>
                <a:ea typeface="+mn-ea"/>
                <a:cs typeface="+mn-cs"/>
              </a:rPr>
            </a:br>
            <a:r>
              <a:rPr kumimoji="0" lang="fr-fr" sz="1700" b="1" i="0" u="none" strike="noStrike" kern="1200" cap="none" spc="0" normalizeH="0" baseline="0" noProof="0">
                <a:ln>
                  <a:noFill/>
                </a:ln>
                <a:solidFill>
                  <a:schemeClr val="bg1"/>
                </a:solidFill>
                <a:effectLst/>
                <a:uLnTx/>
                <a:uFillTx/>
                <a:latin typeface="Segoe UI"/>
                <a:ea typeface="+mn-ea"/>
                <a:cs typeface="+mn-cs"/>
              </a:rPr>
              <a:t>Agents</a:t>
            </a:r>
            <a:r>
              <a:rPr kumimoji="0" lang="fr-fr" sz="1700" b="0" i="0" u="none" strike="noStrike" kern="1200" cap="none" spc="0" normalizeH="0" baseline="0" noProof="0">
                <a:ln>
                  <a:noFill/>
                </a:ln>
                <a:solidFill>
                  <a:schemeClr val="bg1"/>
                </a:solidFill>
                <a:effectLst/>
                <a:uLnTx/>
                <a:uFillTx/>
                <a:latin typeface="Segoe UI"/>
                <a:ea typeface="+mn-ea"/>
                <a:cs typeface="+mn-cs"/>
              </a:rPr>
              <a:t> &gt; </a:t>
            </a:r>
            <a:r>
              <a:rPr kumimoji="0" lang="fr-fr" sz="1700" b="1" i="0" u="sng" strike="noStrike" kern="1200" cap="none" spc="0" normalizeH="0" baseline="0" noProof="0">
                <a:ln>
                  <a:noFill/>
                </a:ln>
                <a:solidFill>
                  <a:schemeClr val="bg1"/>
                </a:solidFill>
                <a:effectLst/>
                <a:uLnTx/>
                <a:uFillTx/>
                <a:latin typeface="Segoe UI"/>
                <a:ea typeface="+mn-ea"/>
                <a:cs typeface="+mn-cs"/>
              </a:rPr>
              <a:t>Demandes</a:t>
            </a:r>
          </a:p>
          <a:p>
            <a:pPr marL="0" marR="0" lvl="0" indent="0" algn="l" defTabSz="457200" rtl="0" eaLnBrk="1" fontAlgn="auto" latinLnBrk="0" hangingPunct="1">
              <a:lnSpc>
                <a:spcPct val="100000"/>
              </a:lnSpc>
              <a:spcBef>
                <a:spcPts val="0"/>
              </a:spcBef>
              <a:spcAft>
                <a:spcPts val="1800"/>
              </a:spcAft>
              <a:buClrTx/>
              <a:buSzTx/>
              <a:buFontTx/>
              <a:buNone/>
              <a:tabLst/>
              <a:defRPr/>
            </a:pPr>
            <a:r>
              <a:rPr kumimoji="0" lang="fr-fr" sz="1700" b="0" i="0" u="none" strike="noStrike" kern="1200" cap="none" spc="0" normalizeH="0" baseline="0" noProof="0">
                <a:ln>
                  <a:noFill/>
                </a:ln>
                <a:solidFill>
                  <a:schemeClr val="bg1"/>
                </a:solidFill>
                <a:effectLst/>
                <a:uLnTx/>
                <a:uFillTx/>
                <a:latin typeface="Segoe UI"/>
                <a:ea typeface="+mn-ea"/>
                <a:cs typeface="+mn-cs"/>
              </a:rPr>
              <a:t>La publication d’une nouvelle version de l’agent nécessite également l’approbation </a:t>
            </a:r>
            <a:br>
              <a:rPr kumimoji="0" lang="fr-fr" sz="1700" b="0" i="0" u="none" strike="noStrike" kern="1200" cap="none" spc="0" normalizeH="0" baseline="0" noProof="0">
                <a:ln>
                  <a:noFill/>
                </a:ln>
                <a:solidFill>
                  <a:schemeClr val="bg1"/>
                </a:solidFill>
                <a:effectLst/>
                <a:uLnTx/>
                <a:uFillTx/>
                <a:latin typeface="Segoe UI"/>
                <a:ea typeface="+mn-ea"/>
                <a:cs typeface="+mn-cs"/>
              </a:rPr>
            </a:br>
            <a:r>
              <a:rPr kumimoji="0" lang="fr-fr" sz="1700" b="0" i="0" u="none" strike="noStrike" kern="1200" cap="none" spc="0" normalizeH="0" baseline="0" noProof="0">
                <a:ln>
                  <a:noFill/>
                </a:ln>
                <a:solidFill>
                  <a:schemeClr val="bg1"/>
                </a:solidFill>
                <a:effectLst/>
                <a:uLnTx/>
                <a:uFillTx/>
                <a:latin typeface="Segoe UI"/>
                <a:ea typeface="+mn-ea"/>
                <a:cs typeface="+mn-cs"/>
              </a:rPr>
              <a:t>de l’administrateur</a:t>
            </a:r>
          </a:p>
          <a:p>
            <a:pPr marL="0" marR="0" lvl="0" indent="0" algn="l" defTabSz="457200" rtl="0" eaLnBrk="1" fontAlgn="auto" latinLnBrk="0" hangingPunct="1">
              <a:lnSpc>
                <a:spcPct val="100000"/>
              </a:lnSpc>
              <a:spcBef>
                <a:spcPts val="0"/>
              </a:spcBef>
              <a:spcAft>
                <a:spcPts val="1800"/>
              </a:spcAft>
              <a:buClrTx/>
              <a:buSzTx/>
              <a:buFontTx/>
              <a:buNone/>
              <a:tabLst/>
              <a:defRPr/>
            </a:pPr>
            <a:r>
              <a:rPr lang="fr-fr" sz="1700">
                <a:solidFill>
                  <a:schemeClr val="bg1"/>
                </a:solidFill>
                <a:latin typeface="Segoe UI"/>
              </a:rPr>
              <a:t>Les administrateurs peuvent également modifier le public cible de l’agent et définir les utilisateurs </a:t>
            </a:r>
            <a:r>
              <a:rPr lang="fr-FR" sz="1700">
                <a:solidFill>
                  <a:schemeClr val="bg1"/>
                </a:solidFill>
                <a:latin typeface="Segoe UI"/>
              </a:rPr>
              <a:t>pour lesquels</a:t>
            </a:r>
            <a:r>
              <a:rPr lang="fr-fr" sz="1700">
                <a:solidFill>
                  <a:schemeClr val="bg1"/>
                </a:solidFill>
                <a:latin typeface="Segoe UI"/>
              </a:rPr>
              <a:t> il est déployé après approbation</a:t>
            </a:r>
            <a:endParaRPr kumimoji="0" lang="en-US" sz="1700" b="0" i="0" u="none" strike="noStrike" kern="1200" cap="none" spc="0" normalizeH="0" baseline="0" noProof="0">
              <a:ln>
                <a:noFill/>
              </a:ln>
              <a:solidFill>
                <a:schemeClr val="bg1"/>
              </a:solidFill>
              <a:effectLst/>
              <a:uLnTx/>
              <a:uFillTx/>
              <a:latin typeface="Segoe UI"/>
              <a:ea typeface="+mn-ea"/>
              <a:cs typeface="+mn-cs"/>
            </a:endParaRPr>
          </a:p>
        </p:txBody>
      </p:sp>
      <p:pic>
        <p:nvPicPr>
          <p:cNvPr id="7" name="Picture 6">
            <a:extLst>
              <a:ext uri="{FF2B5EF4-FFF2-40B4-BE49-F238E27FC236}">
                <a16:creationId xmlns:a16="http://schemas.microsoft.com/office/drawing/2014/main" id="{044DEF75-32A9-9459-C3DE-532186BDD2CD}"/>
              </a:ext>
            </a:extLst>
          </p:cNvPr>
          <p:cNvPicPr>
            <a:picLocks noChangeAspect="1"/>
          </p:cNvPicPr>
          <p:nvPr/>
        </p:nvPicPr>
        <p:blipFill>
          <a:blip r:embed="rId3"/>
          <a:stretch>
            <a:fillRect/>
          </a:stretch>
        </p:blipFill>
        <p:spPr>
          <a:xfrm>
            <a:off x="8563411" y="1927311"/>
            <a:ext cx="3491143" cy="3003376"/>
          </a:xfrm>
          <a:prstGeom prst="roundRect">
            <a:avLst>
              <a:gd name="adj" fmla="val 4300"/>
            </a:avLst>
          </a:prstGeom>
          <a:solidFill>
            <a:srgbClr val="FFFFFF">
              <a:shade val="85000"/>
            </a:srgbClr>
          </a:solidFill>
          <a:ln>
            <a:noFill/>
          </a:ln>
          <a:effectLst>
            <a:reflection blurRad="12700" stA="38000" endPos="28000" dist="5000" dir="5400000" sy="-100000" algn="bl" rotWithShape="0"/>
          </a:effectLst>
        </p:spPr>
      </p:pic>
      <p:grpSp>
        <p:nvGrpSpPr>
          <p:cNvPr id="11" name="Group 10">
            <a:extLst>
              <a:ext uri="{FF2B5EF4-FFF2-40B4-BE49-F238E27FC236}">
                <a16:creationId xmlns:a16="http://schemas.microsoft.com/office/drawing/2014/main" id="{E7146EA9-7BC5-5C30-D0F9-ED29BEFDEEC8}"/>
              </a:ext>
            </a:extLst>
          </p:cNvPr>
          <p:cNvGrpSpPr/>
          <p:nvPr/>
        </p:nvGrpSpPr>
        <p:grpSpPr>
          <a:xfrm>
            <a:off x="4935526" y="1927312"/>
            <a:ext cx="3526533" cy="3003376"/>
            <a:chOff x="5200482" y="1494873"/>
            <a:chExt cx="3996291" cy="3303039"/>
          </a:xfrm>
        </p:grpSpPr>
        <p:pic>
          <p:nvPicPr>
            <p:cNvPr id="6" name="Picture 5">
              <a:extLst>
                <a:ext uri="{FF2B5EF4-FFF2-40B4-BE49-F238E27FC236}">
                  <a16:creationId xmlns:a16="http://schemas.microsoft.com/office/drawing/2014/main" id="{A9D2BC7A-E1E1-5881-EE58-C61D300FC26B}"/>
                </a:ext>
              </a:extLst>
            </p:cNvPr>
            <p:cNvPicPr>
              <a:picLocks noChangeAspect="1"/>
            </p:cNvPicPr>
            <p:nvPr/>
          </p:nvPicPr>
          <p:blipFill>
            <a:blip r:embed="rId4"/>
            <a:srcRect l="2479"/>
            <a:stretch>
              <a:fillRect/>
            </a:stretch>
          </p:blipFill>
          <p:spPr>
            <a:xfrm>
              <a:off x="5200482" y="1494873"/>
              <a:ext cx="3996291" cy="3303039"/>
            </a:xfrm>
            <a:prstGeom prst="roundRect">
              <a:avLst>
                <a:gd name="adj" fmla="val 4126"/>
              </a:avLst>
            </a:prstGeom>
            <a:solidFill>
              <a:srgbClr val="FFFFFF">
                <a:shade val="85000"/>
              </a:srgbClr>
            </a:solidFill>
            <a:ln>
              <a:noFill/>
            </a:ln>
            <a:effectLst>
              <a:reflection blurRad="12700" stA="38000" endPos="28000" dist="5000" dir="5400000" sy="-100000" algn="bl" rotWithShape="0"/>
            </a:effectLst>
          </p:spPr>
        </p:pic>
        <p:sp>
          <p:nvSpPr>
            <p:cNvPr id="20" name="Rectangle: Rounded Corners 19">
              <a:extLst>
                <a:ext uri="{FF2B5EF4-FFF2-40B4-BE49-F238E27FC236}">
                  <a16:creationId xmlns:a16="http://schemas.microsoft.com/office/drawing/2014/main" id="{99EA07F9-5096-860B-902F-92E5C6941989}"/>
                </a:ext>
                <a:ext uri="{C183D7F6-B498-43B3-948B-1728B52AA6E4}">
                  <adec:decorative xmlns:adec="http://schemas.microsoft.com/office/drawing/2017/decorative" val="1"/>
                </a:ext>
              </a:extLst>
            </p:cNvPr>
            <p:cNvSpPr/>
            <p:nvPr/>
          </p:nvSpPr>
          <p:spPr bwMode="auto">
            <a:xfrm>
              <a:off x="7168115" y="4120202"/>
              <a:ext cx="1083000" cy="419525"/>
            </a:xfrm>
            <a:prstGeom prst="roundRect">
              <a:avLst>
                <a:gd name="adj" fmla="val 15428"/>
              </a:avLst>
            </a:prstGeom>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FI" sz="2000" b="0" i="0" u="none" strike="noStrike" kern="1200" cap="none" spc="0" normalizeH="0" baseline="0" noProof="0" err="1">
                <a:ln>
                  <a:noFill/>
                </a:ln>
                <a:solidFill>
                  <a:srgbClr val="FFFFFF"/>
                </a:solidFill>
                <a:effectLst/>
                <a:uLnTx/>
                <a:uFillTx/>
                <a:latin typeface="Segoe UI Semibold"/>
                <a:ea typeface="+mn-ea"/>
                <a:cs typeface="Segoe UI" panose="020B0502040204020203" pitchFamily="34" charset="0"/>
              </a:endParaRPr>
            </a:p>
          </p:txBody>
        </p:sp>
      </p:grpSp>
    </p:spTree>
    <p:extLst>
      <p:ext uri="{BB962C8B-B14F-4D97-AF65-F5344CB8AC3E}">
        <p14:creationId xmlns:p14="http://schemas.microsoft.com/office/powerpoint/2010/main" val="212253964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ED6151-2BAA-BFA7-8424-D544207F595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18C194E-4A3E-D478-99E5-F451BAE56287}"/>
              </a:ext>
            </a:extLst>
          </p:cNvPr>
          <p:cNvSpPr>
            <a:spLocks noGrp="1"/>
          </p:cNvSpPr>
          <p:nvPr>
            <p:ph type="title"/>
          </p:nvPr>
        </p:nvSpPr>
        <p:spPr>
          <a:xfrm>
            <a:off x="429513" y="485481"/>
            <a:ext cx="11018520" cy="498598"/>
          </a:xfrm>
        </p:spPr>
        <p:txBody>
          <a:bodyPr/>
          <a:lstStyle/>
          <a:p>
            <a:r>
              <a:rPr lang="fr-fr"/>
              <a:t>Registre des agents - Métadonnées des agents</a:t>
            </a:r>
          </a:p>
        </p:txBody>
      </p:sp>
      <p:sp>
        <p:nvSpPr>
          <p:cNvPr id="5" name="Text Placeholder 14">
            <a:extLst>
              <a:ext uri="{FF2B5EF4-FFF2-40B4-BE49-F238E27FC236}">
                <a16:creationId xmlns:a16="http://schemas.microsoft.com/office/drawing/2014/main" id="{1A806BBE-DB6D-4C7A-38CA-1F332CBC7A50}"/>
              </a:ext>
            </a:extLst>
          </p:cNvPr>
          <p:cNvSpPr txBox="1">
            <a:spLocks/>
          </p:cNvSpPr>
          <p:nvPr/>
        </p:nvSpPr>
        <p:spPr>
          <a:xfrm>
            <a:off x="429513" y="1580101"/>
            <a:ext cx="6538446" cy="4841197"/>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3000"/>
              </a:lnSpc>
              <a:spcBef>
                <a:spcPts val="360"/>
              </a:spcBef>
              <a:spcAft>
                <a:spcPts val="600"/>
              </a:spcAft>
              <a:buClr>
                <a:srgbClr val="000000"/>
              </a:buClr>
              <a:buNone/>
              <a:defRPr/>
            </a:pPr>
            <a:r>
              <a:rPr lang="fr-fr" sz="2000">
                <a:solidFill>
                  <a:schemeClr val="bg1"/>
                </a:solidFill>
                <a:latin typeface="Segoe UI"/>
                <a:cs typeface="+mn-cs"/>
              </a:rPr>
              <a:t>Quand vous sélectionnez un agent dans le registre des agents, les métadonnées sont disponibles dans les onglets </a:t>
            </a:r>
            <a:r>
              <a:rPr lang="fr-fr" sz="2000" b="1">
                <a:solidFill>
                  <a:schemeClr val="bg1"/>
                </a:solidFill>
                <a:latin typeface="Segoe UI"/>
                <a:cs typeface="+mn-cs"/>
              </a:rPr>
              <a:t>Aperçu</a:t>
            </a:r>
            <a:r>
              <a:rPr lang="fr-fr" sz="2000">
                <a:solidFill>
                  <a:schemeClr val="bg1"/>
                </a:solidFill>
                <a:latin typeface="Segoe UI"/>
                <a:cs typeface="+mn-cs"/>
              </a:rPr>
              <a:t> et </a:t>
            </a:r>
            <a:r>
              <a:rPr lang="fr-fr" sz="2000" b="1">
                <a:solidFill>
                  <a:schemeClr val="bg1"/>
                </a:solidFill>
                <a:latin typeface="Segoe UI"/>
                <a:cs typeface="+mn-cs"/>
              </a:rPr>
              <a:t>Données et outils</a:t>
            </a:r>
            <a:r>
              <a:rPr lang="fr-fr" sz="2000">
                <a:solidFill>
                  <a:schemeClr val="bg1"/>
                </a:solidFill>
                <a:latin typeface="Segoe UI"/>
                <a:cs typeface="+mn-cs"/>
              </a:rPr>
              <a:t>.</a:t>
            </a:r>
          </a:p>
          <a:p>
            <a:pPr marL="0" indent="0">
              <a:lnSpc>
                <a:spcPct val="113000"/>
              </a:lnSpc>
              <a:spcBef>
                <a:spcPts val="360"/>
              </a:spcBef>
              <a:spcAft>
                <a:spcPts val="600"/>
              </a:spcAft>
              <a:buClr>
                <a:srgbClr val="000000"/>
              </a:buClr>
              <a:buNone/>
              <a:defRPr/>
            </a:pPr>
            <a:r>
              <a:rPr lang="fr-fr" sz="2000">
                <a:solidFill>
                  <a:schemeClr val="bg1"/>
                </a:solidFill>
                <a:latin typeface="Segoe UI"/>
                <a:cs typeface="+mn-cs"/>
              </a:rPr>
              <a:t>Les métadonnées incluent des informations telles que les capacités de l’agent, ses sources de données et ses actions personnalisées. Les sources de données peuvent inclure des fichiers ainsi que des sites OneDrive et SharePoint, ou des connecteurs Copilot (non disponibles pour les agents Foundry et les agents de moteur personnalisé).</a:t>
            </a:r>
          </a:p>
          <a:p>
            <a:pPr marL="0" indent="0">
              <a:lnSpc>
                <a:spcPct val="113000"/>
              </a:lnSpc>
              <a:spcBef>
                <a:spcPts val="360"/>
              </a:spcBef>
              <a:spcAft>
                <a:spcPts val="600"/>
              </a:spcAft>
              <a:buClr>
                <a:srgbClr val="000000"/>
              </a:buClr>
              <a:buNone/>
              <a:defRPr/>
            </a:pPr>
            <a:r>
              <a:rPr lang="fr-fr" sz="2000">
                <a:solidFill>
                  <a:schemeClr val="bg1"/>
                </a:solidFill>
                <a:latin typeface="Segoe UI"/>
                <a:cs typeface="+mn-cs"/>
              </a:rPr>
              <a:t>Les métadonnées concernent uniquement les agents, qui sont conçus pour effectuer des tâches spécifiques selon des règles et des configurations prédéfinies.</a:t>
            </a:r>
          </a:p>
        </p:txBody>
      </p:sp>
      <p:pic>
        <p:nvPicPr>
          <p:cNvPr id="3" name="Picture 2">
            <a:extLst>
              <a:ext uri="{FF2B5EF4-FFF2-40B4-BE49-F238E27FC236}">
                <a16:creationId xmlns:a16="http://schemas.microsoft.com/office/drawing/2014/main" id="{FBDAEB05-1A36-4F16-6DEF-2CC4EA77065F}"/>
              </a:ext>
            </a:extLst>
          </p:cNvPr>
          <p:cNvPicPr>
            <a:picLocks noChangeAspect="1"/>
          </p:cNvPicPr>
          <p:nvPr/>
        </p:nvPicPr>
        <p:blipFill>
          <a:blip r:embed="rId3"/>
          <a:stretch>
            <a:fillRect/>
          </a:stretch>
        </p:blipFill>
        <p:spPr>
          <a:xfrm>
            <a:off x="7705817" y="1441205"/>
            <a:ext cx="4056670" cy="4768366"/>
          </a:xfrm>
          <a:prstGeom prst="roundRect">
            <a:avLst>
              <a:gd name="adj" fmla="val 3473"/>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43082451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5EDB8B-3086-0898-0680-43784527E5A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9219F7A-C2EA-FCCB-FBAC-ADF3AEC4C186}"/>
              </a:ext>
            </a:extLst>
          </p:cNvPr>
          <p:cNvSpPr>
            <a:spLocks noGrp="1"/>
          </p:cNvSpPr>
          <p:nvPr>
            <p:ph type="title"/>
          </p:nvPr>
        </p:nvSpPr>
        <p:spPr>
          <a:xfrm>
            <a:off x="429513" y="485481"/>
            <a:ext cx="11018520" cy="498598"/>
          </a:xfrm>
        </p:spPr>
        <p:txBody>
          <a:bodyPr/>
          <a:lstStyle/>
          <a:p>
            <a:r>
              <a:rPr lang="fr-fr" sz="3000"/>
              <a:t>Registre des agents - Contrôles administrateur</a:t>
            </a:r>
          </a:p>
        </p:txBody>
      </p:sp>
      <p:sp>
        <p:nvSpPr>
          <p:cNvPr id="5" name="Text Placeholder 14">
            <a:extLst>
              <a:ext uri="{FF2B5EF4-FFF2-40B4-BE49-F238E27FC236}">
                <a16:creationId xmlns:a16="http://schemas.microsoft.com/office/drawing/2014/main" id="{DEA56406-A0E9-ADA5-F2D4-BED9514D2E49}"/>
              </a:ext>
            </a:extLst>
          </p:cNvPr>
          <p:cNvSpPr txBox="1">
            <a:spLocks/>
          </p:cNvSpPr>
          <p:nvPr/>
        </p:nvSpPr>
        <p:spPr>
          <a:xfrm>
            <a:off x="429513" y="1407824"/>
            <a:ext cx="8012122" cy="4878130"/>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3000"/>
              </a:lnSpc>
              <a:spcBef>
                <a:spcPts val="360"/>
              </a:spcBef>
              <a:spcAft>
                <a:spcPts val="600"/>
              </a:spcAft>
              <a:buClr>
                <a:srgbClr val="000000"/>
              </a:buClr>
              <a:buNone/>
              <a:defRPr/>
            </a:pPr>
            <a:r>
              <a:rPr lang="fr-fr" sz="1800" b="1">
                <a:solidFill>
                  <a:schemeClr val="bg1"/>
                </a:solidFill>
                <a:latin typeface="Segoe UI"/>
                <a:cs typeface="+mn-cs"/>
              </a:rPr>
              <a:t>Supprimer</a:t>
            </a:r>
            <a:r>
              <a:rPr lang="fr-fr" sz="1800">
                <a:solidFill>
                  <a:schemeClr val="bg1"/>
                </a:solidFill>
                <a:latin typeface="Segoe UI"/>
                <a:cs typeface="+mn-cs"/>
              </a:rPr>
              <a:t> - Retirer un agent déployé de tous les utilisateurs et du catalogue</a:t>
            </a:r>
          </a:p>
          <a:p>
            <a:pPr marL="0" indent="0">
              <a:lnSpc>
                <a:spcPct val="113000"/>
              </a:lnSpc>
              <a:spcBef>
                <a:spcPts val="360"/>
              </a:spcBef>
              <a:spcAft>
                <a:spcPts val="600"/>
              </a:spcAft>
              <a:buClr>
                <a:srgbClr val="000000"/>
              </a:buClr>
              <a:buNone/>
              <a:defRPr/>
            </a:pPr>
            <a:r>
              <a:rPr lang="fr-fr" sz="1800" b="1">
                <a:solidFill>
                  <a:schemeClr val="bg1"/>
                </a:solidFill>
                <a:latin typeface="Segoe UI"/>
                <a:cs typeface="+mn-cs"/>
              </a:rPr>
              <a:t>Supprimer définitivement</a:t>
            </a:r>
            <a:r>
              <a:rPr lang="fr-fr" sz="1800">
                <a:solidFill>
                  <a:schemeClr val="bg1"/>
                </a:solidFill>
                <a:latin typeface="Segoe UI"/>
                <a:cs typeface="+mn-cs"/>
              </a:rPr>
              <a:t> - Supprimer des agents directement depuis </a:t>
            </a:r>
            <a:br>
              <a:rPr lang="fr-fr" sz="1800">
                <a:solidFill>
                  <a:schemeClr val="bg1"/>
                </a:solidFill>
                <a:latin typeface="Segoe UI"/>
                <a:cs typeface="+mn-cs"/>
              </a:rPr>
            </a:br>
            <a:r>
              <a:rPr lang="fr-fr" sz="1800">
                <a:solidFill>
                  <a:schemeClr val="bg1"/>
                </a:solidFill>
                <a:latin typeface="Segoe UI"/>
                <a:cs typeface="+mn-cs"/>
              </a:rPr>
              <a:t>le centre d’administration Microsoft 365. Lorsqu’un agent est supprimé, Microsoft 365 le retire de l’inventaire et supprime tous les fichiers associés (agents Agent Builder)</a:t>
            </a:r>
          </a:p>
          <a:p>
            <a:pPr marL="0" indent="0">
              <a:lnSpc>
                <a:spcPct val="113000"/>
              </a:lnSpc>
              <a:spcBef>
                <a:spcPts val="360"/>
              </a:spcBef>
              <a:spcAft>
                <a:spcPts val="600"/>
              </a:spcAft>
              <a:buClr>
                <a:srgbClr val="000000"/>
              </a:buClr>
              <a:buNone/>
              <a:defRPr/>
            </a:pPr>
            <a:r>
              <a:rPr lang="fr-fr" sz="1800" b="1">
                <a:solidFill>
                  <a:schemeClr val="bg1"/>
                </a:solidFill>
                <a:latin typeface="Segoe UI"/>
                <a:cs typeface="+mn-cs"/>
              </a:rPr>
              <a:t>Bloquer</a:t>
            </a:r>
            <a:r>
              <a:rPr lang="fr-fr" sz="1800">
                <a:solidFill>
                  <a:schemeClr val="bg1"/>
                </a:solidFill>
                <a:latin typeface="Segoe UI"/>
                <a:cs typeface="+mn-cs"/>
              </a:rPr>
              <a:t> – Restreindre l’accès à un agent dans toute l’organisation, empêchant tout utilisateur de l’utiliser</a:t>
            </a:r>
          </a:p>
          <a:p>
            <a:pPr marL="0" indent="0">
              <a:lnSpc>
                <a:spcPct val="113000"/>
              </a:lnSpc>
              <a:spcBef>
                <a:spcPts val="360"/>
              </a:spcBef>
              <a:spcAft>
                <a:spcPts val="600"/>
              </a:spcAft>
              <a:buClr>
                <a:srgbClr val="000000"/>
              </a:buClr>
              <a:buNone/>
              <a:defRPr/>
            </a:pPr>
            <a:r>
              <a:rPr lang="fr-fr" sz="1800" b="1">
                <a:solidFill>
                  <a:schemeClr val="bg1"/>
                </a:solidFill>
                <a:latin typeface="Segoe UI"/>
                <a:cs typeface="+mn-cs"/>
              </a:rPr>
              <a:t>Réaffecter</a:t>
            </a:r>
            <a:r>
              <a:rPr lang="fr-fr" sz="1800">
                <a:solidFill>
                  <a:schemeClr val="bg1"/>
                </a:solidFill>
                <a:latin typeface="Segoe UI"/>
                <a:cs typeface="+mn-cs"/>
              </a:rPr>
              <a:t> - Attribuer un nouveau propriétaire aux agents sans propriétaire ou actifs (agents Agent Builder)</a:t>
            </a:r>
          </a:p>
          <a:p>
            <a:pPr marL="0" indent="0">
              <a:lnSpc>
                <a:spcPct val="113000"/>
              </a:lnSpc>
              <a:spcBef>
                <a:spcPts val="360"/>
              </a:spcBef>
              <a:spcAft>
                <a:spcPts val="600"/>
              </a:spcAft>
              <a:buClr>
                <a:srgbClr val="000000"/>
              </a:buClr>
              <a:buNone/>
              <a:defRPr/>
            </a:pPr>
            <a:r>
              <a:rPr lang="fr-fr" sz="1800" b="1">
                <a:solidFill>
                  <a:schemeClr val="bg1"/>
                </a:solidFill>
                <a:latin typeface="Segoe UI"/>
              </a:rPr>
              <a:t>Agents sans propriétaire </a:t>
            </a:r>
            <a:r>
              <a:rPr lang="fr-fr" sz="1800">
                <a:solidFill>
                  <a:schemeClr val="bg1"/>
                </a:solidFill>
                <a:latin typeface="Segoe UI"/>
              </a:rPr>
              <a:t>- Identifier les agents sans propriétaire actif </a:t>
            </a:r>
            <a:br>
              <a:rPr lang="fr-fr" sz="1800">
                <a:solidFill>
                  <a:schemeClr val="bg1"/>
                </a:solidFill>
                <a:latin typeface="Segoe UI"/>
              </a:rPr>
            </a:br>
            <a:r>
              <a:rPr lang="fr-fr" sz="1800">
                <a:solidFill>
                  <a:schemeClr val="bg1"/>
                </a:solidFill>
                <a:latin typeface="Segoe UI"/>
              </a:rPr>
              <a:t>et prendre des mesures pour les bloquer ou les supprimer </a:t>
            </a:r>
          </a:p>
          <a:p>
            <a:pPr marL="0" indent="0">
              <a:lnSpc>
                <a:spcPct val="113000"/>
              </a:lnSpc>
              <a:spcBef>
                <a:spcPts val="360"/>
              </a:spcBef>
              <a:spcAft>
                <a:spcPts val="600"/>
              </a:spcAft>
              <a:buClr>
                <a:srgbClr val="000000"/>
              </a:buClr>
              <a:buNone/>
              <a:defRPr/>
            </a:pPr>
            <a:r>
              <a:rPr lang="fr-fr" sz="1800" b="1">
                <a:solidFill>
                  <a:schemeClr val="bg1"/>
                </a:solidFill>
                <a:latin typeface="Segoe UI"/>
              </a:rPr>
              <a:t>Exporter l’inventaire </a:t>
            </a:r>
            <a:r>
              <a:rPr lang="fr-fr" sz="1800">
                <a:solidFill>
                  <a:schemeClr val="bg1"/>
                </a:solidFill>
                <a:latin typeface="Segoe UI"/>
              </a:rPr>
              <a:t>- Télécharger la liste complète des agents à des fins </a:t>
            </a:r>
            <a:br>
              <a:rPr lang="fr-fr" sz="1800">
                <a:solidFill>
                  <a:schemeClr val="bg1"/>
                </a:solidFill>
                <a:latin typeface="Segoe UI"/>
              </a:rPr>
            </a:br>
            <a:r>
              <a:rPr lang="fr-fr" sz="1800">
                <a:solidFill>
                  <a:schemeClr val="bg1"/>
                </a:solidFill>
                <a:latin typeface="Segoe UI"/>
              </a:rPr>
              <a:t>de création de rapports, d’audit ou de conformité</a:t>
            </a:r>
          </a:p>
        </p:txBody>
      </p:sp>
      <p:pic>
        <p:nvPicPr>
          <p:cNvPr id="2" name="Picture 1">
            <a:extLst>
              <a:ext uri="{FF2B5EF4-FFF2-40B4-BE49-F238E27FC236}">
                <a16:creationId xmlns:a16="http://schemas.microsoft.com/office/drawing/2014/main" id="{23613461-5D58-0B49-3080-4B120BF36163}"/>
              </a:ext>
            </a:extLst>
          </p:cNvPr>
          <p:cNvPicPr>
            <a:picLocks noChangeAspect="1"/>
          </p:cNvPicPr>
          <p:nvPr/>
        </p:nvPicPr>
        <p:blipFill>
          <a:blip r:embed="rId3"/>
          <a:srcRect r="25460"/>
          <a:stretch>
            <a:fillRect/>
          </a:stretch>
        </p:blipFill>
        <p:spPr>
          <a:xfrm>
            <a:off x="8588842" y="933946"/>
            <a:ext cx="3351664" cy="2835803"/>
          </a:xfrm>
          <a:prstGeom prst="roundRect">
            <a:avLst>
              <a:gd name="adj" fmla="val 4042"/>
            </a:avLst>
          </a:prstGeom>
          <a:solidFill>
            <a:srgbClr val="FFFFFF">
              <a:shade val="85000"/>
            </a:srgbClr>
          </a:solidFill>
          <a:ln>
            <a:noFill/>
          </a:ln>
          <a:effectLst>
            <a:reflection blurRad="12700" stA="38000" endPos="28000" dist="5000" dir="5400000" sy="-100000" algn="bl" rotWithShape="0"/>
          </a:effectLst>
        </p:spPr>
      </p:pic>
      <p:pic>
        <p:nvPicPr>
          <p:cNvPr id="6" name="Picture 5">
            <a:extLst>
              <a:ext uri="{FF2B5EF4-FFF2-40B4-BE49-F238E27FC236}">
                <a16:creationId xmlns:a16="http://schemas.microsoft.com/office/drawing/2014/main" id="{496D02EF-F277-3429-F614-372284879ABC}"/>
              </a:ext>
            </a:extLst>
          </p:cNvPr>
          <p:cNvPicPr>
            <a:picLocks noChangeAspect="1"/>
          </p:cNvPicPr>
          <p:nvPr/>
        </p:nvPicPr>
        <p:blipFill>
          <a:blip r:embed="rId4"/>
          <a:stretch>
            <a:fillRect/>
          </a:stretch>
        </p:blipFill>
        <p:spPr>
          <a:xfrm>
            <a:off x="8591112" y="3837953"/>
            <a:ext cx="3349393" cy="2657471"/>
          </a:xfrm>
          <a:prstGeom prst="roundRect">
            <a:avLst>
              <a:gd name="adj" fmla="val 3123"/>
            </a:avLst>
          </a:prstGeom>
          <a:solidFill>
            <a:srgbClr val="FFFFFF">
              <a:shade val="85000"/>
            </a:srgbClr>
          </a:solidFill>
          <a:ln>
            <a:noFill/>
          </a:ln>
          <a:effectLst>
            <a:reflection blurRad="12700" stA="38000" endPos="28000" dist="5000" dir="5400000" sy="-100000" algn="bl" rotWithShape="0"/>
          </a:effectLst>
        </p:spPr>
      </p:pic>
      <p:sp>
        <p:nvSpPr>
          <p:cNvPr id="3" name="Rectangle 2">
            <a:extLst>
              <a:ext uri="{FF2B5EF4-FFF2-40B4-BE49-F238E27FC236}">
                <a16:creationId xmlns:a16="http://schemas.microsoft.com/office/drawing/2014/main" id="{45248ADA-FB06-282A-2359-445F7E701A4A}"/>
              </a:ext>
            </a:extLst>
          </p:cNvPr>
          <p:cNvSpPr/>
          <p:nvPr/>
        </p:nvSpPr>
        <p:spPr bwMode="auto">
          <a:xfrm>
            <a:off x="9329530" y="1272209"/>
            <a:ext cx="927653" cy="384313"/>
          </a:xfrm>
          <a:prstGeom prst="rect">
            <a:avLst/>
          </a:prstGeom>
          <a:noFill/>
          <a:ln w="28575">
            <a:solidFill>
              <a:srgbClr val="EE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FI" sz="200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42722088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18E501-B1B9-BDF0-39C6-95A0B2D3887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39944FF-22CB-545D-6E96-3B592FC4323C}"/>
              </a:ext>
            </a:extLst>
          </p:cNvPr>
          <p:cNvSpPr>
            <a:spLocks noGrp="1"/>
          </p:cNvSpPr>
          <p:nvPr>
            <p:ph type="title"/>
          </p:nvPr>
        </p:nvSpPr>
        <p:spPr/>
        <p:txBody>
          <a:bodyPr/>
          <a:lstStyle/>
          <a:p>
            <a:r>
              <a:rPr lang="fr-fr"/>
              <a:t>Gérer qui peut utiliser les agents dans Copilot Chat</a:t>
            </a:r>
          </a:p>
        </p:txBody>
      </p:sp>
      <p:sp>
        <p:nvSpPr>
          <p:cNvPr id="17" name="TextBox 16">
            <a:extLst>
              <a:ext uri="{FF2B5EF4-FFF2-40B4-BE49-F238E27FC236}">
                <a16:creationId xmlns:a16="http://schemas.microsoft.com/office/drawing/2014/main" id="{FC31E23E-CFE5-3275-4B9A-0C2A90E7F92C}"/>
              </a:ext>
            </a:extLst>
          </p:cNvPr>
          <p:cNvSpPr txBox="1"/>
          <p:nvPr/>
        </p:nvSpPr>
        <p:spPr>
          <a:xfrm>
            <a:off x="557442" y="1784621"/>
            <a:ext cx="4919540" cy="4401205"/>
          </a:xfrm>
          <a:prstGeom prst="rect">
            <a:avLst/>
          </a:prstGeom>
          <a:noFill/>
        </p:spPr>
        <p:txBody>
          <a:bodyPr wrap="square">
            <a:spAutoFit/>
          </a:bodyPr>
          <a:lstStyle/>
          <a:p>
            <a:pPr marR="0" lvl="0" algn="l" defTabSz="457200" rtl="0" eaLnBrk="1" fontAlgn="auto" latinLnBrk="0" hangingPunct="1">
              <a:lnSpc>
                <a:spcPct val="100000"/>
              </a:lnSpc>
              <a:spcBef>
                <a:spcPts val="0"/>
              </a:spcBef>
              <a:spcAft>
                <a:spcPts val="800"/>
              </a:spcAft>
              <a:buClrTx/>
              <a:buSzTx/>
              <a:tabLst/>
              <a:defRPr/>
            </a:pPr>
            <a:r>
              <a:rPr kumimoji="0" lang="fr-fr" sz="2000" b="0" i="0" u="none" strike="noStrike" kern="1200" cap="none" spc="0" normalizeH="0" baseline="0" noProof="0">
                <a:ln>
                  <a:noFill/>
                </a:ln>
                <a:solidFill>
                  <a:schemeClr val="bg1"/>
                </a:solidFill>
                <a:effectLst/>
                <a:uLnTx/>
                <a:uFillTx/>
                <a:latin typeface="Segoe UI"/>
                <a:ea typeface="+mn-ea"/>
                <a:cs typeface="+mn-cs"/>
              </a:rPr>
              <a:t>Les administrateurs informatiques peuvent contrôler qui peut créer et utiliser des agents dans Copilot Chat</a:t>
            </a:r>
          </a:p>
          <a:p>
            <a:pPr marR="0" lvl="0" algn="l" defTabSz="457200" rtl="0" eaLnBrk="1" fontAlgn="auto" latinLnBrk="0" hangingPunct="1">
              <a:lnSpc>
                <a:spcPct val="100000"/>
              </a:lnSpc>
              <a:spcBef>
                <a:spcPts val="0"/>
              </a:spcBef>
              <a:spcAft>
                <a:spcPts val="800"/>
              </a:spcAft>
              <a:buClrTx/>
              <a:buSzTx/>
              <a:tabLst/>
              <a:defRPr/>
            </a:pPr>
            <a:r>
              <a:rPr lang="fr-fr" sz="2000">
                <a:solidFill>
                  <a:schemeClr val="bg1"/>
                </a:solidFill>
                <a:latin typeface="Segoe UI"/>
              </a:rPr>
              <a:t>Les options sont : </a:t>
            </a:r>
            <a:r>
              <a:rPr kumimoji="0" lang="fr-fr" sz="2000" b="0" i="0" u="none" strike="noStrike" kern="1200" cap="none" spc="0" normalizeH="0" baseline="0" noProof="0">
                <a:ln>
                  <a:noFill/>
                </a:ln>
                <a:solidFill>
                  <a:schemeClr val="bg1"/>
                </a:solidFill>
                <a:effectLst/>
                <a:uLnTx/>
                <a:uFillTx/>
                <a:latin typeface="Segoe UI"/>
                <a:ea typeface="+mn-ea"/>
                <a:cs typeface="+mn-cs"/>
              </a:rPr>
              <a:t>tous les utilisateurs, aucun utilisateur ou des groupes/ utilisateurs spécifiques</a:t>
            </a:r>
          </a:p>
          <a:p>
            <a:pPr defTabSz="457200">
              <a:spcAft>
                <a:spcPts val="800"/>
              </a:spcAft>
              <a:defRPr/>
            </a:pPr>
            <a:r>
              <a:rPr lang="fr-fr" sz="2000">
                <a:solidFill>
                  <a:schemeClr val="bg1"/>
                </a:solidFill>
                <a:latin typeface="Segoe UI"/>
              </a:rPr>
              <a:t>Ne concerne pas la gouvernance </a:t>
            </a:r>
            <a:br>
              <a:rPr lang="fr-fr" sz="2000">
                <a:solidFill>
                  <a:schemeClr val="bg1"/>
                </a:solidFill>
                <a:latin typeface="Segoe UI"/>
              </a:rPr>
            </a:br>
            <a:r>
              <a:rPr lang="fr-fr" sz="2000">
                <a:solidFill>
                  <a:schemeClr val="bg1"/>
                </a:solidFill>
                <a:latin typeface="Segoe UI"/>
              </a:rPr>
              <a:t>des agents SharePoint </a:t>
            </a:r>
          </a:p>
          <a:p>
            <a:pPr defTabSz="457200">
              <a:spcAft>
                <a:spcPts val="800"/>
              </a:spcAft>
              <a:defRPr/>
            </a:pPr>
            <a:r>
              <a:rPr lang="fr-fr" sz="2000">
                <a:solidFill>
                  <a:schemeClr val="bg1"/>
                </a:solidFill>
                <a:latin typeface="Segoe UI"/>
              </a:rPr>
              <a:t>Les agents Recherche, Analyste et Designer sont désormais disponibles </a:t>
            </a:r>
            <a:br>
              <a:rPr lang="fr-fr" sz="2000">
                <a:solidFill>
                  <a:schemeClr val="bg1"/>
                </a:solidFill>
                <a:latin typeface="Segoe UI"/>
              </a:rPr>
            </a:br>
            <a:r>
              <a:rPr lang="fr-fr" sz="2000">
                <a:solidFill>
                  <a:schemeClr val="bg1"/>
                </a:solidFill>
                <a:latin typeface="Segoe UI"/>
              </a:rPr>
              <a:t>pour tous les utilisateurs disposant </a:t>
            </a:r>
            <a:br>
              <a:rPr lang="fr-fr" sz="2000">
                <a:solidFill>
                  <a:schemeClr val="bg1"/>
                </a:solidFill>
                <a:latin typeface="Segoe UI"/>
              </a:rPr>
            </a:br>
            <a:r>
              <a:rPr lang="fr-fr" sz="2000">
                <a:solidFill>
                  <a:schemeClr val="bg1"/>
                </a:solidFill>
                <a:latin typeface="Segoe UI"/>
              </a:rPr>
              <a:t>d’une licence Copilot, même si les </a:t>
            </a:r>
            <a:br>
              <a:rPr lang="fr-fr" sz="2000">
                <a:solidFill>
                  <a:schemeClr val="bg1"/>
                </a:solidFill>
                <a:latin typeface="Segoe UI"/>
              </a:rPr>
            </a:br>
            <a:r>
              <a:rPr lang="fr-fr" sz="2000">
                <a:solidFill>
                  <a:schemeClr val="bg1"/>
                </a:solidFill>
                <a:latin typeface="Segoe UI"/>
              </a:rPr>
              <a:t>agents sont désactivés</a:t>
            </a:r>
          </a:p>
        </p:txBody>
      </p:sp>
      <p:pic>
        <p:nvPicPr>
          <p:cNvPr id="3" name="Picture 2">
            <a:extLst>
              <a:ext uri="{FF2B5EF4-FFF2-40B4-BE49-F238E27FC236}">
                <a16:creationId xmlns:a16="http://schemas.microsoft.com/office/drawing/2014/main" id="{661B1C09-CF9C-80C1-701F-D4BB210676ED}"/>
              </a:ext>
            </a:extLst>
          </p:cNvPr>
          <p:cNvPicPr>
            <a:picLocks noChangeAspect="1"/>
          </p:cNvPicPr>
          <p:nvPr/>
        </p:nvPicPr>
        <p:blipFill>
          <a:blip r:embed="rId3"/>
          <a:stretch>
            <a:fillRect/>
          </a:stretch>
        </p:blipFill>
        <p:spPr>
          <a:xfrm>
            <a:off x="5801162" y="1404592"/>
            <a:ext cx="4919541" cy="3701779"/>
          </a:xfrm>
          <a:prstGeom prst="roundRect">
            <a:avLst>
              <a:gd name="adj" fmla="val 1983"/>
            </a:avLst>
          </a:prstGeom>
          <a:solidFill>
            <a:srgbClr val="FFFFFF">
              <a:shade val="85000"/>
            </a:srgbClr>
          </a:solidFill>
          <a:ln>
            <a:noFill/>
          </a:ln>
          <a:effectLst>
            <a:reflection blurRad="12700" stA="38000" endPos="28000" dist="5000" dir="5400000" sy="-100000" algn="bl" rotWithShape="0"/>
          </a:effectLst>
        </p:spPr>
      </p:pic>
      <p:pic>
        <p:nvPicPr>
          <p:cNvPr id="5" name="Picture 4">
            <a:extLst>
              <a:ext uri="{FF2B5EF4-FFF2-40B4-BE49-F238E27FC236}">
                <a16:creationId xmlns:a16="http://schemas.microsoft.com/office/drawing/2014/main" id="{294BF231-DCB2-FE8B-A0EC-4ECB558C2C26}"/>
              </a:ext>
            </a:extLst>
          </p:cNvPr>
          <p:cNvPicPr>
            <a:picLocks noChangeAspect="1"/>
          </p:cNvPicPr>
          <p:nvPr/>
        </p:nvPicPr>
        <p:blipFill>
          <a:blip r:embed="rId4"/>
          <a:stretch>
            <a:fillRect/>
          </a:stretch>
        </p:blipFill>
        <p:spPr>
          <a:xfrm>
            <a:off x="9642763" y="4016001"/>
            <a:ext cx="2399756" cy="2514278"/>
          </a:xfrm>
          <a:prstGeom prst="roundRect">
            <a:avLst>
              <a:gd name="adj" fmla="val 3997"/>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99022966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212DF8-50FC-82F9-E64B-666D48287DB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42B8D78-B5DF-E6C9-4A14-5D247E8AE9F8}"/>
              </a:ext>
            </a:extLst>
          </p:cNvPr>
          <p:cNvSpPr>
            <a:spLocks noGrp="1"/>
          </p:cNvSpPr>
          <p:nvPr>
            <p:ph type="title"/>
          </p:nvPr>
        </p:nvSpPr>
        <p:spPr/>
        <p:txBody>
          <a:bodyPr/>
          <a:lstStyle/>
          <a:p>
            <a:r>
              <a:rPr lang="fr-fr"/>
              <a:t>Contrôler les types d’agents autorisés</a:t>
            </a:r>
          </a:p>
        </p:txBody>
      </p:sp>
      <p:sp>
        <p:nvSpPr>
          <p:cNvPr id="17" name="TextBox 16">
            <a:extLst>
              <a:ext uri="{FF2B5EF4-FFF2-40B4-BE49-F238E27FC236}">
                <a16:creationId xmlns:a16="http://schemas.microsoft.com/office/drawing/2014/main" id="{42DE0A07-3A4E-A5E9-5FAC-18514668D4BD}"/>
              </a:ext>
            </a:extLst>
          </p:cNvPr>
          <p:cNvSpPr txBox="1"/>
          <p:nvPr/>
        </p:nvSpPr>
        <p:spPr>
          <a:xfrm>
            <a:off x="557442" y="1784621"/>
            <a:ext cx="4939232" cy="3447098"/>
          </a:xfrm>
          <a:prstGeom prst="rect">
            <a:avLst/>
          </a:prstGeom>
          <a:noFill/>
        </p:spPr>
        <p:txBody>
          <a:bodyPr wrap="square">
            <a:spAutoFit/>
          </a:bodyPr>
          <a:lstStyle/>
          <a:p>
            <a:pPr marR="0" lvl="0" algn="l" defTabSz="457200" rtl="0" eaLnBrk="1" fontAlgn="auto" latinLnBrk="0" hangingPunct="1">
              <a:lnSpc>
                <a:spcPct val="100000"/>
              </a:lnSpc>
              <a:spcBef>
                <a:spcPts val="0"/>
              </a:spcBef>
              <a:spcAft>
                <a:spcPts val="800"/>
              </a:spcAft>
              <a:buClrTx/>
              <a:buSzTx/>
              <a:tabLst/>
              <a:defRPr/>
            </a:pPr>
            <a:r>
              <a:rPr kumimoji="0" lang="fr-fr" sz="2200" b="0" i="0" u="none" strike="noStrike" kern="1200" cap="none" spc="0" normalizeH="0" baseline="0" noProof="0">
                <a:ln>
                  <a:noFill/>
                </a:ln>
                <a:solidFill>
                  <a:schemeClr val="bg1"/>
                </a:solidFill>
                <a:effectLst/>
                <a:uLnTx/>
                <a:uFillTx/>
                <a:latin typeface="Segoe UI"/>
                <a:ea typeface="+mn-ea"/>
                <a:cs typeface="+mn-cs"/>
              </a:rPr>
              <a:t>Les administrateurs informatiques peuvent contrôler quels types d’agents les utilisateurs peuvent voir dans leur catalogue et ceux qui sont autorisés par défaut à être installés</a:t>
            </a:r>
          </a:p>
          <a:p>
            <a:pPr marL="285750" indent="-285750" defTabSz="457200">
              <a:spcAft>
                <a:spcPts val="800"/>
              </a:spcAft>
              <a:buFont typeface="Arial" panose="020B0604020202020204" pitchFamily="34" charset="0"/>
              <a:buChar char="•"/>
              <a:defRPr/>
            </a:pPr>
            <a:r>
              <a:rPr lang="fr-fr" sz="2200">
                <a:solidFill>
                  <a:schemeClr val="bg1"/>
                </a:solidFill>
                <a:latin typeface="Segoe UI"/>
              </a:rPr>
              <a:t>Créés par Microsoft (1P)</a:t>
            </a:r>
          </a:p>
          <a:p>
            <a:pPr marL="285750" indent="-285750" defTabSz="457200">
              <a:spcAft>
                <a:spcPts val="800"/>
              </a:spcAft>
              <a:buFont typeface="Arial" panose="020B0604020202020204" pitchFamily="34" charset="0"/>
              <a:buChar char="•"/>
              <a:defRPr/>
            </a:pPr>
            <a:r>
              <a:rPr lang="fr-fr" sz="2200">
                <a:solidFill>
                  <a:schemeClr val="bg1"/>
                </a:solidFill>
                <a:latin typeface="Segoe UI"/>
              </a:rPr>
              <a:t>Créés par des éditeurs externes (3P)</a:t>
            </a:r>
          </a:p>
          <a:p>
            <a:pPr marL="285750" indent="-285750" defTabSz="457200">
              <a:spcAft>
                <a:spcPts val="800"/>
              </a:spcAft>
              <a:buFont typeface="Arial" panose="020B0604020202020204" pitchFamily="34" charset="0"/>
              <a:buChar char="•"/>
              <a:defRPr/>
            </a:pPr>
            <a:r>
              <a:rPr lang="fr-fr" sz="2200">
                <a:solidFill>
                  <a:schemeClr val="bg1"/>
                </a:solidFill>
                <a:latin typeface="Segoe UI"/>
              </a:rPr>
              <a:t>Créés par l’organisation (personnalisés)</a:t>
            </a:r>
          </a:p>
        </p:txBody>
      </p:sp>
      <p:pic>
        <p:nvPicPr>
          <p:cNvPr id="5" name="Picture 4">
            <a:extLst>
              <a:ext uri="{FF2B5EF4-FFF2-40B4-BE49-F238E27FC236}">
                <a16:creationId xmlns:a16="http://schemas.microsoft.com/office/drawing/2014/main" id="{A27DD2E8-58D1-775E-61EA-177FB5FC6433}"/>
              </a:ext>
            </a:extLst>
          </p:cNvPr>
          <p:cNvPicPr>
            <a:picLocks noChangeAspect="1"/>
          </p:cNvPicPr>
          <p:nvPr/>
        </p:nvPicPr>
        <p:blipFill>
          <a:blip r:embed="rId3"/>
          <a:stretch>
            <a:fillRect/>
          </a:stretch>
        </p:blipFill>
        <p:spPr>
          <a:xfrm>
            <a:off x="5751033" y="1784621"/>
            <a:ext cx="6224038" cy="3054507"/>
          </a:xfrm>
          <a:prstGeom prst="roundRect">
            <a:avLst>
              <a:gd name="adj" fmla="val 2276"/>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66203708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20DFD9-67B8-6FF2-8FA4-44333E1B57F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55F39E4-1A60-B503-4C44-0F784EF4BB5C}"/>
              </a:ext>
            </a:extLst>
          </p:cNvPr>
          <p:cNvSpPr>
            <a:spLocks noGrp="1"/>
          </p:cNvSpPr>
          <p:nvPr>
            <p:ph type="title"/>
          </p:nvPr>
        </p:nvSpPr>
        <p:spPr/>
        <p:txBody>
          <a:bodyPr/>
          <a:lstStyle/>
          <a:p>
            <a:r>
              <a:rPr lang="fr-fr"/>
              <a:t>Contrôler le partage des agents dans Agent Builder</a:t>
            </a:r>
          </a:p>
        </p:txBody>
      </p:sp>
      <p:sp>
        <p:nvSpPr>
          <p:cNvPr id="17" name="TextBox 16">
            <a:extLst>
              <a:ext uri="{FF2B5EF4-FFF2-40B4-BE49-F238E27FC236}">
                <a16:creationId xmlns:a16="http://schemas.microsoft.com/office/drawing/2014/main" id="{5D8AB0A1-74A2-9366-C9B0-135556DBAC1C}"/>
              </a:ext>
            </a:extLst>
          </p:cNvPr>
          <p:cNvSpPr txBox="1"/>
          <p:nvPr/>
        </p:nvSpPr>
        <p:spPr>
          <a:xfrm>
            <a:off x="557442" y="1784621"/>
            <a:ext cx="5538558" cy="4606389"/>
          </a:xfrm>
          <a:prstGeom prst="rect">
            <a:avLst/>
          </a:prstGeom>
          <a:noFill/>
        </p:spPr>
        <p:txBody>
          <a:bodyPr wrap="square">
            <a:spAutoFit/>
          </a:bodyPr>
          <a:lstStyle/>
          <a:p>
            <a:pPr marR="0" lvl="0" algn="l" defTabSz="457200" rtl="0" eaLnBrk="1" fontAlgn="auto" latinLnBrk="0" hangingPunct="1">
              <a:lnSpc>
                <a:spcPct val="100000"/>
              </a:lnSpc>
              <a:spcBef>
                <a:spcPts val="0"/>
              </a:spcBef>
              <a:spcAft>
                <a:spcPts val="800"/>
              </a:spcAft>
              <a:buClrTx/>
              <a:buSzTx/>
              <a:tabLst/>
              <a:defRPr/>
            </a:pPr>
            <a:r>
              <a:rPr kumimoji="0" lang="fr-fr" sz="2000" b="0" i="0" u="none" strike="noStrike" kern="1200" cap="none" spc="0" normalizeH="0" baseline="0" noProof="0">
                <a:ln>
                  <a:noFill/>
                </a:ln>
                <a:solidFill>
                  <a:schemeClr val="bg1"/>
                </a:solidFill>
                <a:effectLst/>
                <a:uLnTx/>
                <a:uFillTx/>
                <a:latin typeface="Segoe UI"/>
                <a:ea typeface="+mn-ea"/>
                <a:cs typeface="+mn-cs"/>
              </a:rPr>
              <a:t>Les administrateurs informatiques peuvent contrôler qui peut partager des agents avec l’ensemble de l’organisation</a:t>
            </a:r>
          </a:p>
          <a:p>
            <a:pPr marR="0" lvl="0" algn="l" defTabSz="457200" rtl="0" eaLnBrk="1" fontAlgn="auto" latinLnBrk="0" hangingPunct="1">
              <a:lnSpc>
                <a:spcPct val="100000"/>
              </a:lnSpc>
              <a:spcBef>
                <a:spcPts val="0"/>
              </a:spcBef>
              <a:spcAft>
                <a:spcPts val="800"/>
              </a:spcAft>
              <a:buClrTx/>
              <a:buSzTx/>
              <a:tabLst/>
              <a:defRPr/>
            </a:pPr>
            <a:r>
              <a:rPr kumimoji="0" lang="fr-fr" sz="2000" b="0" i="0" u="none" strike="noStrike" kern="1200" cap="none" spc="0" normalizeH="0" baseline="0" noProof="0">
                <a:ln>
                  <a:noFill/>
                </a:ln>
                <a:solidFill>
                  <a:schemeClr val="bg1"/>
                </a:solidFill>
                <a:effectLst/>
                <a:uLnTx/>
                <a:uFillTx/>
                <a:latin typeface="Segoe UI"/>
                <a:ea typeface="+mn-ea"/>
                <a:cs typeface="+mn-cs"/>
              </a:rPr>
              <a:t>Les options sont : tous les utilisateurs, aucun utilisateur ou des groupes/utilisateurs spécifiques</a:t>
            </a:r>
          </a:p>
          <a:p>
            <a:pPr marR="0" lvl="0" algn="l" defTabSz="457200" rtl="0" eaLnBrk="1" fontAlgn="auto" latinLnBrk="0" hangingPunct="1">
              <a:lnSpc>
                <a:spcPct val="100000"/>
              </a:lnSpc>
              <a:spcBef>
                <a:spcPts val="0"/>
              </a:spcBef>
              <a:spcAft>
                <a:spcPts val="800"/>
              </a:spcAft>
              <a:buClrTx/>
              <a:buSzTx/>
              <a:tabLst/>
              <a:defRPr/>
            </a:pPr>
            <a:r>
              <a:rPr kumimoji="0" lang="fr-fr" sz="2000" b="0" i="0" u="none" strike="noStrike" kern="1200" cap="none" spc="0" normalizeH="0" baseline="0" noProof="0">
                <a:ln>
                  <a:noFill/>
                </a:ln>
                <a:solidFill>
                  <a:schemeClr val="bg1"/>
                </a:solidFill>
                <a:effectLst/>
                <a:uLnTx/>
                <a:uFillTx/>
                <a:latin typeface="Segoe UI"/>
                <a:ea typeface="+mn-ea"/>
                <a:cs typeface="+mn-cs"/>
              </a:rPr>
              <a:t>Les utilisateurs non autorisés peuvent uniquement générer :</a:t>
            </a:r>
          </a:p>
          <a:p>
            <a:pPr marL="285750" indent="-285750" defTabSz="457200">
              <a:spcAft>
                <a:spcPts val="800"/>
              </a:spcAft>
              <a:buFont typeface="Arial" panose="020B0604020202020204" pitchFamily="34" charset="0"/>
              <a:buChar char="•"/>
              <a:defRPr/>
            </a:pPr>
            <a:r>
              <a:rPr kumimoji="0" lang="fr-fr" sz="2000" b="0" i="0" u="none" strike="noStrike" kern="1200" cap="none" spc="0" normalizeH="0" baseline="0" noProof="0">
                <a:ln>
                  <a:noFill/>
                </a:ln>
                <a:solidFill>
                  <a:schemeClr val="bg1"/>
                </a:solidFill>
                <a:effectLst/>
                <a:uLnTx/>
                <a:uFillTx/>
                <a:latin typeface="Segoe UI"/>
                <a:ea typeface="+mn-ea"/>
                <a:cs typeface="+mn-cs"/>
              </a:rPr>
              <a:t>Des liens Persona </a:t>
            </a:r>
          </a:p>
          <a:p>
            <a:pPr marL="285750" indent="-285750" defTabSz="457200">
              <a:spcAft>
                <a:spcPts val="800"/>
              </a:spcAft>
              <a:buFont typeface="Arial" panose="020B0604020202020204" pitchFamily="34" charset="0"/>
              <a:buChar char="•"/>
              <a:defRPr/>
            </a:pPr>
            <a:r>
              <a:rPr kumimoji="0" lang="fr-fr" sz="2000" b="0" i="0" u="none" strike="noStrike" kern="1200" cap="none" spc="0" normalizeH="0" baseline="0" noProof="0">
                <a:ln>
                  <a:noFill/>
                </a:ln>
                <a:solidFill>
                  <a:schemeClr val="bg1"/>
                </a:solidFill>
                <a:effectLst/>
                <a:uLnTx/>
                <a:uFillTx/>
                <a:latin typeface="Segoe UI"/>
                <a:ea typeface="+mn-ea"/>
                <a:cs typeface="+mn-cs"/>
              </a:rPr>
              <a:t>Des liens qui fonctionnent avec des personnes spécifiques de l’organisation</a:t>
            </a:r>
          </a:p>
          <a:p>
            <a:pPr marL="285750" indent="-285750" defTabSz="457200">
              <a:spcAft>
                <a:spcPts val="800"/>
              </a:spcAft>
              <a:buFont typeface="Arial" panose="020B0604020202020204" pitchFamily="34" charset="0"/>
              <a:buChar char="•"/>
              <a:defRPr/>
            </a:pPr>
            <a:r>
              <a:rPr kumimoji="0" lang="fr-fr" sz="2000" b="0" i="0" u="none" strike="noStrike" kern="1200" cap="none" spc="0" normalizeH="0" baseline="0" noProof="0">
                <a:ln>
                  <a:noFill/>
                </a:ln>
                <a:solidFill>
                  <a:schemeClr val="bg1"/>
                </a:solidFill>
                <a:effectLst/>
                <a:uLnTx/>
                <a:uFillTx/>
                <a:latin typeface="Segoe UI"/>
                <a:ea typeface="+mn-ea"/>
                <a:cs typeface="+mn-cs"/>
              </a:rPr>
              <a:t>Ils ne peuvent pas générer de liens utilisables par tous les membres de l’organisation</a:t>
            </a:r>
          </a:p>
        </p:txBody>
      </p:sp>
      <p:pic>
        <p:nvPicPr>
          <p:cNvPr id="3" name="Picture 2">
            <a:extLst>
              <a:ext uri="{FF2B5EF4-FFF2-40B4-BE49-F238E27FC236}">
                <a16:creationId xmlns:a16="http://schemas.microsoft.com/office/drawing/2014/main" id="{105B659F-5127-178D-4929-199C9DC91E83}"/>
              </a:ext>
            </a:extLst>
          </p:cNvPr>
          <p:cNvPicPr>
            <a:picLocks noChangeAspect="1"/>
          </p:cNvPicPr>
          <p:nvPr/>
        </p:nvPicPr>
        <p:blipFill>
          <a:blip r:embed="rId3"/>
          <a:stretch>
            <a:fillRect/>
          </a:stretch>
        </p:blipFill>
        <p:spPr>
          <a:xfrm>
            <a:off x="6171059" y="1784621"/>
            <a:ext cx="5887377" cy="2951765"/>
          </a:xfrm>
          <a:prstGeom prst="roundRect">
            <a:avLst>
              <a:gd name="adj" fmla="val 338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93880707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6BE364DA-A19B-30EA-9B1B-320F7978267C}"/>
              </a:ext>
            </a:extLst>
          </p:cNvPr>
          <p:cNvSpPr txBox="1">
            <a:spLocks/>
          </p:cNvSpPr>
          <p:nvPr/>
        </p:nvSpPr>
        <p:spPr>
          <a:xfrm>
            <a:off x="861977" y="898294"/>
            <a:ext cx="4114800" cy="9971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fontAlgn="auto">
              <a:lnSpc>
                <a:spcPct val="90000"/>
              </a:lnSpc>
              <a:spcBef>
                <a:spcPct val="0"/>
              </a:spcBef>
              <a:spcAft>
                <a:spcPts val="0"/>
              </a:spcAft>
              <a:buClrTx/>
              <a:buSzPct val="90000"/>
              <a:tabLst/>
              <a:defRPr/>
            </a:pPr>
            <a:r>
              <a:rPr lang="fr-fr" sz="3600" b="0">
                <a:ln w="3175">
                  <a:noFill/>
                </a:ln>
                <a:solidFill>
                  <a:schemeClr val="bg1"/>
                </a:solidFill>
                <a:latin typeface="Segoe Sans Display Semibold" pitchFamily="2" charset="0"/>
                <a:cs typeface="Segoe Sans Display Semibold" pitchFamily="2" charset="0"/>
              </a:rPr>
              <a:t>Pendant la présentation</a:t>
            </a:r>
          </a:p>
        </p:txBody>
      </p:sp>
      <p:sp>
        <p:nvSpPr>
          <p:cNvPr id="7" name="TextBox 6">
            <a:extLst>
              <a:ext uri="{FF2B5EF4-FFF2-40B4-BE49-F238E27FC236}">
                <a16:creationId xmlns:a16="http://schemas.microsoft.com/office/drawing/2014/main" id="{04F19507-F8D1-A92F-0092-3D1FC7B67534}"/>
              </a:ext>
            </a:extLst>
          </p:cNvPr>
          <p:cNvSpPr txBox="1"/>
          <p:nvPr/>
        </p:nvSpPr>
        <p:spPr>
          <a:xfrm>
            <a:off x="1613676" y="2649378"/>
            <a:ext cx="3617169" cy="58221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fr-fr" sz="1800" b="0" i="0" u="none" strike="noStrike" kern="1200" cap="none" spc="0" normalizeH="0" noProof="0">
                <a:ln>
                  <a:noFill/>
                </a:ln>
                <a:solidFill>
                  <a:schemeClr val="bg1"/>
                </a:solidFill>
                <a:effectLst/>
                <a:uLnTx/>
                <a:uFillTx/>
                <a:ea typeface="+mn-ea"/>
                <a:cs typeface="Segoe UI Light" panose="020B0502040204020203" pitchFamily="34" charset="0"/>
              </a:rPr>
              <a:t>Nous couperons le son de votre microphone pour la première partie de l’appel d’aujourd’hui</a:t>
            </a:r>
          </a:p>
        </p:txBody>
      </p:sp>
      <p:sp>
        <p:nvSpPr>
          <p:cNvPr id="8" name="TextBox 7">
            <a:extLst>
              <a:ext uri="{FF2B5EF4-FFF2-40B4-BE49-F238E27FC236}">
                <a16:creationId xmlns:a16="http://schemas.microsoft.com/office/drawing/2014/main" id="{34C57B09-A016-CF69-732F-36AE6C88041B}"/>
              </a:ext>
            </a:extLst>
          </p:cNvPr>
          <p:cNvSpPr txBox="1"/>
          <p:nvPr/>
        </p:nvSpPr>
        <p:spPr>
          <a:xfrm>
            <a:off x="1613679" y="3838334"/>
            <a:ext cx="3393232" cy="119160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fr-fr" sz="1800" b="0" i="0" u="none" strike="noStrike" kern="1200" cap="none" spc="0" normalizeH="0" noProof="0">
                <a:ln>
                  <a:noFill/>
                </a:ln>
                <a:solidFill>
                  <a:schemeClr val="bg1"/>
                </a:solidFill>
                <a:effectLst/>
                <a:uLnTx/>
                <a:uFillTx/>
                <a:ea typeface="+mn-ea"/>
                <a:cs typeface="Segoe UI Light" panose="020B0502040204020203" pitchFamily="34" charset="0"/>
              </a:rPr>
              <a:t>Vous pourrez poser vos questions via le chat. Nous les traiterons toutes, en direct ou par la suite. Les questions courantes seront abordées à haute voix</a:t>
            </a:r>
          </a:p>
        </p:txBody>
      </p:sp>
      <p:pic>
        <p:nvPicPr>
          <p:cNvPr id="9" name="Graphic 8">
            <a:extLst>
              <a:ext uri="{FF2B5EF4-FFF2-40B4-BE49-F238E27FC236}">
                <a16:creationId xmlns:a16="http://schemas.microsoft.com/office/drawing/2014/main" id="{6C3F7F46-1559-08E6-598A-15137726ABDC}"/>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11177" y="2644616"/>
            <a:ext cx="576422" cy="576422"/>
          </a:xfrm>
          <a:prstGeom prst="rect">
            <a:avLst/>
          </a:prstGeom>
        </p:spPr>
      </p:pic>
      <p:sp>
        <p:nvSpPr>
          <p:cNvPr id="10" name="Graphic 15">
            <a:extLst>
              <a:ext uri="{FF2B5EF4-FFF2-40B4-BE49-F238E27FC236}">
                <a16:creationId xmlns:a16="http://schemas.microsoft.com/office/drawing/2014/main" id="{835636AA-5253-4436-44BF-0C11631D929B}"/>
              </a:ext>
              <a:ext uri="{C183D7F6-B498-43B3-948B-1728B52AA6E4}">
                <adec:decorative xmlns:adec="http://schemas.microsoft.com/office/drawing/2017/decorative" val="1"/>
              </a:ext>
            </a:extLst>
          </p:cNvPr>
          <p:cNvSpPr>
            <a:spLocks noChangeAspect="1"/>
          </p:cNvSpPr>
          <p:nvPr/>
        </p:nvSpPr>
        <p:spPr>
          <a:xfrm>
            <a:off x="811176" y="3838333"/>
            <a:ext cx="487787" cy="437720"/>
          </a:xfrm>
          <a:custGeom>
            <a:avLst/>
            <a:gdLst>
              <a:gd name="connsiteX0" fmla="*/ 111552 w 295982"/>
              <a:gd name="connsiteY0" fmla="*/ 0 h 265602"/>
              <a:gd name="connsiteX1" fmla="*/ 908 w 295982"/>
              <a:gd name="connsiteY1" fmla="*/ 110643 h 265602"/>
              <a:gd name="connsiteX2" fmla="*/ 11274 w 295982"/>
              <a:gd name="connsiteY2" fmla="*/ 157458 h 265602"/>
              <a:gd name="connsiteX3" fmla="*/ 590 w 295982"/>
              <a:gd name="connsiteY3" fmla="*/ 199374 h 265602"/>
              <a:gd name="connsiteX4" fmla="*/ 22774 w 295982"/>
              <a:gd name="connsiteY4" fmla="*/ 221862 h 265602"/>
              <a:gd name="connsiteX5" fmla="*/ 66009 w 295982"/>
              <a:gd name="connsiteY5" fmla="*/ 211505 h 265602"/>
              <a:gd name="connsiteX6" fmla="*/ 111552 w 295982"/>
              <a:gd name="connsiteY6" fmla="*/ 221286 h 265602"/>
              <a:gd name="connsiteX7" fmla="*/ 222195 w 295982"/>
              <a:gd name="connsiteY7" fmla="*/ 110643 h 265602"/>
              <a:gd name="connsiteX8" fmla="*/ 111552 w 295982"/>
              <a:gd name="connsiteY8" fmla="*/ 0 h 265602"/>
              <a:gd name="connsiteX9" fmla="*/ 23037 w 295982"/>
              <a:gd name="connsiteY9" fmla="*/ 110643 h 265602"/>
              <a:gd name="connsiteX10" fmla="*/ 111552 w 295982"/>
              <a:gd name="connsiteY10" fmla="*/ 22129 h 265602"/>
              <a:gd name="connsiteX11" fmla="*/ 200066 w 295982"/>
              <a:gd name="connsiteY11" fmla="*/ 110643 h 265602"/>
              <a:gd name="connsiteX12" fmla="*/ 111552 w 295982"/>
              <a:gd name="connsiteY12" fmla="*/ 199158 h 265602"/>
              <a:gd name="connsiteX13" fmla="*/ 72163 w 295982"/>
              <a:gd name="connsiteY13" fmla="*/ 189936 h 265602"/>
              <a:gd name="connsiteX14" fmla="*/ 68572 w 295982"/>
              <a:gd name="connsiteY14" fmla="*/ 188148 h 265602"/>
              <a:gd name="connsiteX15" fmla="*/ 64670 w 295982"/>
              <a:gd name="connsiteY15" fmla="*/ 189077 h 265602"/>
              <a:gd name="connsiteX16" fmla="*/ 23544 w 295982"/>
              <a:gd name="connsiteY16" fmla="*/ 198919 h 265602"/>
              <a:gd name="connsiteX17" fmla="*/ 33724 w 295982"/>
              <a:gd name="connsiteY17" fmla="*/ 158968 h 265602"/>
              <a:gd name="connsiteX18" fmla="*/ 34759 w 295982"/>
              <a:gd name="connsiteY18" fmla="*/ 154897 h 265602"/>
              <a:gd name="connsiteX19" fmla="*/ 32834 w 295982"/>
              <a:gd name="connsiteY19" fmla="*/ 151165 h 265602"/>
              <a:gd name="connsiteX20" fmla="*/ 23037 w 295982"/>
              <a:gd name="connsiteY20" fmla="*/ 110643 h 265602"/>
              <a:gd name="connsiteX21" fmla="*/ 185314 w 295982"/>
              <a:gd name="connsiteY21" fmla="*/ 265545 h 265602"/>
              <a:gd name="connsiteX22" fmla="*/ 110081 w 295982"/>
              <a:gd name="connsiteY22" fmla="*/ 236031 h 265602"/>
              <a:gd name="connsiteX23" fmla="*/ 111552 w 295982"/>
              <a:gd name="connsiteY23" fmla="*/ 236040 h 265602"/>
              <a:gd name="connsiteX24" fmla="*/ 142253 w 295982"/>
              <a:gd name="connsiteY24" fmla="*/ 232253 h 265602"/>
              <a:gd name="connsiteX25" fmla="*/ 185314 w 295982"/>
              <a:gd name="connsiteY25" fmla="*/ 243416 h 265602"/>
              <a:gd name="connsiteX26" fmla="*/ 224703 w 295982"/>
              <a:gd name="connsiteY26" fmla="*/ 234193 h 265602"/>
              <a:gd name="connsiteX27" fmla="*/ 228294 w 295982"/>
              <a:gd name="connsiteY27" fmla="*/ 232405 h 265602"/>
              <a:gd name="connsiteX28" fmla="*/ 232196 w 295982"/>
              <a:gd name="connsiteY28" fmla="*/ 233335 h 265602"/>
              <a:gd name="connsiteX29" fmla="*/ 272606 w 295982"/>
              <a:gd name="connsiteY29" fmla="*/ 242326 h 265602"/>
              <a:gd name="connsiteX30" fmla="*/ 263142 w 295982"/>
              <a:gd name="connsiteY30" fmla="*/ 203225 h 265602"/>
              <a:gd name="connsiteX31" fmla="*/ 262106 w 295982"/>
              <a:gd name="connsiteY31" fmla="*/ 199156 h 265602"/>
              <a:gd name="connsiteX32" fmla="*/ 264031 w 295982"/>
              <a:gd name="connsiteY32" fmla="*/ 195424 h 265602"/>
              <a:gd name="connsiteX33" fmla="*/ 273828 w 295982"/>
              <a:gd name="connsiteY33" fmla="*/ 154902 h 265602"/>
              <a:gd name="connsiteX34" fmla="*/ 233304 w 295982"/>
              <a:gd name="connsiteY34" fmla="*/ 80513 h 265602"/>
              <a:gd name="connsiteX35" fmla="*/ 221508 w 295982"/>
              <a:gd name="connsiteY35" fmla="*/ 50313 h 265602"/>
              <a:gd name="connsiteX36" fmla="*/ 295957 w 295982"/>
              <a:gd name="connsiteY36" fmla="*/ 154902 h 265602"/>
              <a:gd name="connsiteX37" fmla="*/ 285586 w 295982"/>
              <a:gd name="connsiteY37" fmla="*/ 201726 h 265602"/>
              <a:gd name="connsiteX38" fmla="*/ 295497 w 295982"/>
              <a:gd name="connsiteY38" fmla="*/ 243080 h 265602"/>
              <a:gd name="connsiteX39" fmla="*/ 273849 w 295982"/>
              <a:gd name="connsiteY39" fmla="*/ 265201 h 265602"/>
              <a:gd name="connsiteX40" fmla="*/ 230868 w 295982"/>
              <a:gd name="connsiteY40" fmla="*/ 255758 h 265602"/>
              <a:gd name="connsiteX41" fmla="*/ 185314 w 295982"/>
              <a:gd name="connsiteY41" fmla="*/ 265545 h 265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95982" h="265602">
                <a:moveTo>
                  <a:pt x="111552" y="0"/>
                </a:moveTo>
                <a:cubicBezTo>
                  <a:pt x="50445" y="0"/>
                  <a:pt x="908" y="49537"/>
                  <a:pt x="908" y="110643"/>
                </a:cubicBezTo>
                <a:cubicBezTo>
                  <a:pt x="908" y="127356"/>
                  <a:pt x="4621" y="143228"/>
                  <a:pt x="11274" y="157458"/>
                </a:cubicBezTo>
                <a:cubicBezTo>
                  <a:pt x="7527" y="172181"/>
                  <a:pt x="3340" y="188598"/>
                  <a:pt x="590" y="199374"/>
                </a:cubicBezTo>
                <a:cubicBezTo>
                  <a:pt x="-2848" y="212848"/>
                  <a:pt x="9285" y="225104"/>
                  <a:pt x="22774" y="221862"/>
                </a:cubicBezTo>
                <a:cubicBezTo>
                  <a:pt x="33841" y="219202"/>
                  <a:pt x="50851" y="215118"/>
                  <a:pt x="66009" y="211505"/>
                </a:cubicBezTo>
                <a:cubicBezTo>
                  <a:pt x="79911" y="217791"/>
                  <a:pt x="95336" y="221286"/>
                  <a:pt x="111552" y="221286"/>
                </a:cubicBezTo>
                <a:cubicBezTo>
                  <a:pt x="172658" y="221286"/>
                  <a:pt x="222195" y="171749"/>
                  <a:pt x="222195" y="110643"/>
                </a:cubicBezTo>
                <a:cubicBezTo>
                  <a:pt x="222195" y="49537"/>
                  <a:pt x="172658" y="0"/>
                  <a:pt x="111552" y="0"/>
                </a:cubicBezTo>
                <a:close/>
                <a:moveTo>
                  <a:pt x="23037" y="110643"/>
                </a:moveTo>
                <a:cubicBezTo>
                  <a:pt x="23037" y="61758"/>
                  <a:pt x="62666" y="22129"/>
                  <a:pt x="111552" y="22129"/>
                </a:cubicBezTo>
                <a:cubicBezTo>
                  <a:pt x="160437" y="22129"/>
                  <a:pt x="200066" y="61758"/>
                  <a:pt x="200066" y="110643"/>
                </a:cubicBezTo>
                <a:cubicBezTo>
                  <a:pt x="200066" y="159528"/>
                  <a:pt x="160437" y="199158"/>
                  <a:pt x="111552" y="199158"/>
                </a:cubicBezTo>
                <a:cubicBezTo>
                  <a:pt x="97378" y="199158"/>
                  <a:pt x="84013" y="195835"/>
                  <a:pt x="72163" y="189936"/>
                </a:cubicBezTo>
                <a:lnTo>
                  <a:pt x="68572" y="188148"/>
                </a:lnTo>
                <a:lnTo>
                  <a:pt x="64670" y="189077"/>
                </a:lnTo>
                <a:cubicBezTo>
                  <a:pt x="51057" y="192317"/>
                  <a:pt x="35330" y="196088"/>
                  <a:pt x="23544" y="198919"/>
                </a:cubicBezTo>
                <a:cubicBezTo>
                  <a:pt x="26476" y="187425"/>
                  <a:pt x="30358" y="172196"/>
                  <a:pt x="33724" y="158968"/>
                </a:cubicBezTo>
                <a:lnTo>
                  <a:pt x="34759" y="154897"/>
                </a:lnTo>
                <a:lnTo>
                  <a:pt x="32834" y="151165"/>
                </a:lnTo>
                <a:cubicBezTo>
                  <a:pt x="26576" y="139036"/>
                  <a:pt x="23037" y="125269"/>
                  <a:pt x="23037" y="110643"/>
                </a:cubicBezTo>
                <a:close/>
                <a:moveTo>
                  <a:pt x="185314" y="265545"/>
                </a:moveTo>
                <a:cubicBezTo>
                  <a:pt x="156261" y="265545"/>
                  <a:pt x="129823" y="254346"/>
                  <a:pt x="110081" y="236031"/>
                </a:cubicBezTo>
                <a:cubicBezTo>
                  <a:pt x="110571" y="236037"/>
                  <a:pt x="111061" y="236040"/>
                  <a:pt x="111552" y="236040"/>
                </a:cubicBezTo>
                <a:cubicBezTo>
                  <a:pt x="122144" y="236040"/>
                  <a:pt x="132429" y="234726"/>
                  <a:pt x="142253" y="232253"/>
                </a:cubicBezTo>
                <a:cubicBezTo>
                  <a:pt x="154999" y="239364"/>
                  <a:pt x="169684" y="243416"/>
                  <a:pt x="185314" y="243416"/>
                </a:cubicBezTo>
                <a:cubicBezTo>
                  <a:pt x="199487" y="243416"/>
                  <a:pt x="212852" y="240093"/>
                  <a:pt x="224703" y="234193"/>
                </a:cubicBezTo>
                <a:lnTo>
                  <a:pt x="228294" y="232405"/>
                </a:lnTo>
                <a:lnTo>
                  <a:pt x="232196" y="233335"/>
                </a:lnTo>
                <a:cubicBezTo>
                  <a:pt x="245791" y="236571"/>
                  <a:pt x="261186" y="239911"/>
                  <a:pt x="272606" y="242326"/>
                </a:cubicBezTo>
                <a:cubicBezTo>
                  <a:pt x="270024" y="231254"/>
                  <a:pt x="266502" y="216434"/>
                  <a:pt x="263142" y="203225"/>
                </a:cubicBezTo>
                <a:lnTo>
                  <a:pt x="262106" y="199156"/>
                </a:lnTo>
                <a:lnTo>
                  <a:pt x="264031" y="195424"/>
                </a:lnTo>
                <a:cubicBezTo>
                  <a:pt x="270289" y="183294"/>
                  <a:pt x="273828" y="169527"/>
                  <a:pt x="273828" y="154902"/>
                </a:cubicBezTo>
                <a:cubicBezTo>
                  <a:pt x="273828" y="123703"/>
                  <a:pt x="257689" y="96277"/>
                  <a:pt x="233304" y="80513"/>
                </a:cubicBezTo>
                <a:cubicBezTo>
                  <a:pt x="230673" y="69843"/>
                  <a:pt x="226675" y="59711"/>
                  <a:pt x="221508" y="50313"/>
                </a:cubicBezTo>
                <a:cubicBezTo>
                  <a:pt x="264840" y="65307"/>
                  <a:pt x="295957" y="106470"/>
                  <a:pt x="295957" y="154902"/>
                </a:cubicBezTo>
                <a:cubicBezTo>
                  <a:pt x="295957" y="171618"/>
                  <a:pt x="292242" y="187494"/>
                  <a:pt x="285586" y="201726"/>
                </a:cubicBezTo>
                <a:cubicBezTo>
                  <a:pt x="289320" y="216596"/>
                  <a:pt x="293100" y="232705"/>
                  <a:pt x="295497" y="243080"/>
                </a:cubicBezTo>
                <a:cubicBezTo>
                  <a:pt x="298512" y="256136"/>
                  <a:pt x="287014" y="267953"/>
                  <a:pt x="273849" y="265201"/>
                </a:cubicBezTo>
                <a:cubicBezTo>
                  <a:pt x="263121" y="262959"/>
                  <a:pt x="246267" y="259362"/>
                  <a:pt x="230868" y="255758"/>
                </a:cubicBezTo>
                <a:cubicBezTo>
                  <a:pt x="216964" y="262047"/>
                  <a:pt x="201534" y="265545"/>
                  <a:pt x="185314" y="265545"/>
                </a:cubicBez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Text Placeholder 2">
            <a:extLst>
              <a:ext uri="{FF2B5EF4-FFF2-40B4-BE49-F238E27FC236}">
                <a16:creationId xmlns:a16="http://schemas.microsoft.com/office/drawing/2014/main" id="{CBCAA3C6-D822-CC3B-5140-DE3F7E0071FE}"/>
              </a:ext>
            </a:extLst>
          </p:cNvPr>
          <p:cNvSpPr txBox="1">
            <a:spLocks/>
          </p:cNvSpPr>
          <p:nvPr/>
        </p:nvSpPr>
        <p:spPr>
          <a:xfrm>
            <a:off x="6954929" y="898294"/>
            <a:ext cx="4114800" cy="9971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fontAlgn="auto">
              <a:lnSpc>
                <a:spcPct val="90000"/>
              </a:lnSpc>
              <a:spcBef>
                <a:spcPct val="0"/>
              </a:spcBef>
              <a:spcAft>
                <a:spcPts val="0"/>
              </a:spcAft>
              <a:buClrTx/>
              <a:buSzPct val="90000"/>
              <a:tabLst/>
              <a:defRPr/>
            </a:pPr>
            <a:r>
              <a:rPr lang="fr-fr" sz="3600" b="0">
                <a:ln w="3175">
                  <a:noFill/>
                </a:ln>
                <a:gradFill flip="none" rotWithShape="1">
                  <a:gsLst>
                    <a:gs pos="14000">
                      <a:srgbClr val="94D8FE"/>
                    </a:gs>
                    <a:gs pos="100000">
                      <a:schemeClr val="bg1"/>
                    </a:gs>
                  </a:gsLst>
                  <a:lin ang="13500000" scaled="1"/>
                  <a:tileRect/>
                </a:gradFill>
                <a:latin typeface="Segoe Sans Display Semibold" pitchFamily="2" charset="0"/>
                <a:cs typeface="Segoe Sans Display Semibold" pitchFamily="2" charset="0"/>
              </a:rPr>
              <a:t>Après la présentation</a:t>
            </a:r>
          </a:p>
        </p:txBody>
      </p:sp>
      <p:sp>
        <p:nvSpPr>
          <p:cNvPr id="12" name="TextBox 11">
            <a:extLst>
              <a:ext uri="{FF2B5EF4-FFF2-40B4-BE49-F238E27FC236}">
                <a16:creationId xmlns:a16="http://schemas.microsoft.com/office/drawing/2014/main" id="{26684F27-9249-AD6C-E0CA-E961E296E004}"/>
              </a:ext>
            </a:extLst>
          </p:cNvPr>
          <p:cNvSpPr txBox="1"/>
          <p:nvPr/>
        </p:nvSpPr>
        <p:spPr>
          <a:xfrm>
            <a:off x="7579630" y="3838334"/>
            <a:ext cx="3262606" cy="646908"/>
          </a:xfrm>
          <a:prstGeom prst="rect">
            <a:avLst/>
          </a:prstGeom>
          <a:noFill/>
        </p:spPr>
        <p:txBody>
          <a:bodyPr wrap="square" lIns="0" tIns="0" rIns="0" bIns="0" rtlCol="0" anchor="t">
            <a:spAutoFit/>
          </a:bodyPr>
          <a:lstStyle/>
          <a:p>
            <a:pPr lvl="0" defTabSz="914400">
              <a:lnSpc>
                <a:spcPct val="110000"/>
              </a:lnSpc>
              <a:defRPr/>
            </a:pPr>
            <a:r>
              <a:rPr lang="fr-fr" sz="2000">
                <a:solidFill>
                  <a:schemeClr val="bg1"/>
                </a:solidFill>
                <a:cs typeface="Segoe UI Light" panose="020B0502040204020203" pitchFamily="34" charset="0"/>
              </a:rPr>
              <a:t>Micro ouvert</a:t>
            </a:r>
            <a:r>
              <a:rPr lang="fr-fr" sz="2000">
                <a:solidFill>
                  <a:schemeClr val="bg1"/>
                </a:solidFill>
                <a:cs typeface="Segoe UI Light" panose="020B0502040204020203" pitchFamily="34" charset="0"/>
                <a:sym typeface="Symbol" panose="05050102010706020507" pitchFamily="18" charset="2"/>
              </a:rPr>
              <a:t> - </a:t>
            </a:r>
            <a:r>
              <a:rPr lang="fr-fr" sz="2000">
                <a:solidFill>
                  <a:schemeClr val="bg1"/>
                </a:solidFill>
                <a:cs typeface="Segoe UI Light" panose="020B0502040204020203" pitchFamily="34" charset="0"/>
              </a:rPr>
              <a:t>Vous pourrez désactiver la sourdine et poser vos questions !</a:t>
            </a:r>
          </a:p>
        </p:txBody>
      </p:sp>
      <p:pic>
        <p:nvPicPr>
          <p:cNvPr id="13" name="Graphic 12">
            <a:extLst>
              <a:ext uri="{FF2B5EF4-FFF2-40B4-BE49-F238E27FC236}">
                <a16:creationId xmlns:a16="http://schemas.microsoft.com/office/drawing/2014/main" id="{65AB42F6-64BE-3215-F365-58F2561290E8}"/>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859597" y="3838333"/>
            <a:ext cx="576072" cy="576072"/>
          </a:xfrm>
          <a:prstGeom prst="rect">
            <a:avLst/>
          </a:prstGeom>
        </p:spPr>
      </p:pic>
      <p:pic>
        <p:nvPicPr>
          <p:cNvPr id="14" name="Graphic 13">
            <a:extLst>
              <a:ext uri="{FF2B5EF4-FFF2-40B4-BE49-F238E27FC236}">
                <a16:creationId xmlns:a16="http://schemas.microsoft.com/office/drawing/2014/main" id="{2297191D-BE1F-6D52-1EC6-D0DE1E9A1554}"/>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854311" y="2644616"/>
            <a:ext cx="581184" cy="581184"/>
          </a:xfrm>
          <a:prstGeom prst="rect">
            <a:avLst/>
          </a:prstGeom>
        </p:spPr>
      </p:pic>
      <p:sp>
        <p:nvSpPr>
          <p:cNvPr id="15" name="TextBox 14">
            <a:extLst>
              <a:ext uri="{FF2B5EF4-FFF2-40B4-BE49-F238E27FC236}">
                <a16:creationId xmlns:a16="http://schemas.microsoft.com/office/drawing/2014/main" id="{4A284CF6-D14F-DF56-1331-5EA56741FEEB}"/>
              </a:ext>
            </a:extLst>
          </p:cNvPr>
          <p:cNvSpPr txBox="1"/>
          <p:nvPr/>
        </p:nvSpPr>
        <p:spPr>
          <a:xfrm>
            <a:off x="7579628" y="2649378"/>
            <a:ext cx="4114800" cy="64690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fr-fr" sz="2000" b="0" i="0" u="none" strike="noStrike" kern="1200" cap="none" spc="0" normalizeH="0" noProof="0">
                <a:ln>
                  <a:noFill/>
                </a:ln>
                <a:solidFill>
                  <a:schemeClr val="bg1"/>
                </a:solidFill>
                <a:effectLst/>
                <a:uLnTx/>
                <a:uFillTx/>
                <a:ea typeface="+mn-ea"/>
                <a:cs typeface="Segoe UI Light" panose="020B0502040204020203" pitchFamily="34" charset="0"/>
              </a:rPr>
              <a:t>Vous pourrez lever la main, </a:t>
            </a:r>
            <a:br>
              <a:rPr kumimoji="0" lang="fr-fr" sz="2000" b="0" i="0" u="none" strike="noStrike" kern="1200" cap="none" spc="0" normalizeH="0" noProof="0">
                <a:ln>
                  <a:noFill/>
                </a:ln>
                <a:solidFill>
                  <a:schemeClr val="bg1"/>
                </a:solidFill>
                <a:effectLst/>
                <a:uLnTx/>
                <a:uFillTx/>
                <a:ea typeface="+mn-ea"/>
                <a:cs typeface="Segoe UI Light" panose="020B0502040204020203" pitchFamily="34" charset="0"/>
              </a:rPr>
            </a:br>
            <a:r>
              <a:rPr kumimoji="0" lang="fr-fr" sz="2000" b="0" i="0" u="none" strike="noStrike" kern="1200" cap="none" spc="0" normalizeH="0" noProof="0">
                <a:ln>
                  <a:noFill/>
                </a:ln>
                <a:solidFill>
                  <a:schemeClr val="bg1"/>
                </a:solidFill>
                <a:effectLst/>
                <a:uLnTx/>
                <a:uFillTx/>
                <a:ea typeface="+mn-ea"/>
                <a:cs typeface="Segoe UI Light" panose="020B0502040204020203" pitchFamily="34" charset="0"/>
              </a:rPr>
              <a:t>nous vous donnerons la parole</a:t>
            </a:r>
          </a:p>
        </p:txBody>
      </p:sp>
    </p:spTree>
    <p:extLst>
      <p:ext uri="{BB962C8B-B14F-4D97-AF65-F5344CB8AC3E}">
        <p14:creationId xmlns:p14="http://schemas.microsoft.com/office/powerpoint/2010/main" val="96936748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2EE2F4-9FF0-1A6E-107B-49DEE9E99CE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D18BFE6-56D1-7A31-49E1-261A38687734}"/>
              </a:ext>
            </a:extLst>
          </p:cNvPr>
          <p:cNvSpPr>
            <a:spLocks noGrp="1"/>
          </p:cNvSpPr>
          <p:nvPr>
            <p:ph type="title"/>
          </p:nvPr>
        </p:nvSpPr>
        <p:spPr/>
        <p:txBody>
          <a:bodyPr/>
          <a:lstStyle/>
          <a:p>
            <a:r>
              <a:rPr lang="fr-fr"/>
              <a:t>Agent Recherche - Configuration de l’utilisation </a:t>
            </a:r>
            <a:br>
              <a:rPr lang="fr-fr"/>
            </a:br>
            <a:r>
              <a:rPr lang="fr-fr"/>
              <a:t>de l’ordinateur</a:t>
            </a:r>
          </a:p>
        </p:txBody>
      </p:sp>
      <p:sp>
        <p:nvSpPr>
          <p:cNvPr id="17" name="TextBox 16">
            <a:extLst>
              <a:ext uri="{FF2B5EF4-FFF2-40B4-BE49-F238E27FC236}">
                <a16:creationId xmlns:a16="http://schemas.microsoft.com/office/drawing/2014/main" id="{B299AA93-EC8D-4DA0-0AF9-DBA5E43CB730}"/>
              </a:ext>
            </a:extLst>
          </p:cNvPr>
          <p:cNvSpPr txBox="1"/>
          <p:nvPr/>
        </p:nvSpPr>
        <p:spPr>
          <a:xfrm>
            <a:off x="557442" y="1784621"/>
            <a:ext cx="7166550" cy="4360168"/>
          </a:xfrm>
          <a:prstGeom prst="rect">
            <a:avLst/>
          </a:prstGeom>
          <a:noFill/>
        </p:spPr>
        <p:txBody>
          <a:bodyPr wrap="square">
            <a:spAutoFit/>
          </a:bodyPr>
          <a:lstStyle/>
          <a:p>
            <a:pPr marR="0" lvl="0" algn="l" defTabSz="457200" rtl="0" eaLnBrk="1" fontAlgn="auto" latinLnBrk="0" hangingPunct="1">
              <a:lnSpc>
                <a:spcPct val="100000"/>
              </a:lnSpc>
              <a:spcBef>
                <a:spcPts val="0"/>
              </a:spcBef>
              <a:spcAft>
                <a:spcPts val="800"/>
              </a:spcAft>
              <a:buClrTx/>
              <a:buSzTx/>
              <a:tabLst/>
              <a:defRPr/>
            </a:pPr>
            <a:r>
              <a:rPr kumimoji="0" lang="fr-fr" sz="1600" b="0" i="0" u="none" strike="noStrike" kern="1200" cap="none" spc="0" normalizeH="0" baseline="0" noProof="0">
                <a:ln>
                  <a:noFill/>
                </a:ln>
                <a:solidFill>
                  <a:schemeClr val="bg1"/>
                </a:solidFill>
                <a:effectLst/>
                <a:uLnTx/>
                <a:uFillTx/>
                <a:latin typeface="Segoe UI"/>
                <a:ea typeface="+mn-ea"/>
                <a:cs typeface="+mn-cs"/>
              </a:rPr>
              <a:t>Avec la fonctionnalité </a:t>
            </a:r>
            <a:r>
              <a:rPr kumimoji="0" lang="fr-fr" sz="1600" b="1" i="0" u="none" strike="noStrike" kern="1200" cap="none" spc="0" normalizeH="0" baseline="0" noProof="0">
                <a:ln>
                  <a:noFill/>
                </a:ln>
                <a:solidFill>
                  <a:schemeClr val="bg1"/>
                </a:solidFill>
                <a:effectLst/>
                <a:uLnTx/>
                <a:uFillTx/>
                <a:latin typeface="Segoe UI"/>
                <a:ea typeface="+mn-ea"/>
                <a:cs typeface="+mn-cs"/>
              </a:rPr>
              <a:t>Utilisation de l’ordinateur</a:t>
            </a:r>
            <a:r>
              <a:rPr kumimoji="0" lang="fr-fr" sz="1600" b="0" i="0" u="none" strike="noStrike" kern="1200" cap="none" spc="0" normalizeH="0" baseline="0" noProof="0">
                <a:ln>
                  <a:noFill/>
                </a:ln>
                <a:solidFill>
                  <a:schemeClr val="bg1"/>
                </a:solidFill>
                <a:effectLst/>
                <a:uLnTx/>
                <a:uFillTx/>
                <a:latin typeface="Segoe UI"/>
                <a:ea typeface="+mn-ea"/>
                <a:cs typeface="+mn-cs"/>
              </a:rPr>
              <a:t>, l’agent Recherche </a:t>
            </a:r>
            <a:br>
              <a:rPr kumimoji="0" lang="fr-fr" sz="1600" b="0" i="0" u="none" strike="noStrike" kern="1200" cap="none" spc="0" normalizeH="0" baseline="0" noProof="0">
                <a:ln>
                  <a:noFill/>
                </a:ln>
                <a:solidFill>
                  <a:schemeClr val="bg1"/>
                </a:solidFill>
                <a:effectLst/>
                <a:uLnTx/>
                <a:uFillTx/>
                <a:latin typeface="Segoe UI"/>
                <a:ea typeface="+mn-ea"/>
                <a:cs typeface="+mn-cs"/>
              </a:rPr>
            </a:br>
            <a:r>
              <a:rPr kumimoji="0" lang="fr-fr" sz="1600" b="0" i="0" u="none" strike="noStrike" kern="1200" cap="none" spc="0" normalizeH="0" baseline="0" noProof="0">
                <a:ln>
                  <a:noFill/>
                </a:ln>
                <a:solidFill>
                  <a:schemeClr val="bg1"/>
                </a:solidFill>
                <a:effectLst/>
                <a:uLnTx/>
                <a:uFillTx/>
                <a:latin typeface="Segoe UI"/>
                <a:ea typeface="+mn-ea"/>
                <a:cs typeface="+mn-cs"/>
              </a:rPr>
              <a:t>peut interagir en toute sécurité avec des contenus Web publics, restreints </a:t>
            </a:r>
            <a:br>
              <a:rPr kumimoji="0" lang="fr-fr" sz="1600" b="0" i="0" u="none" strike="noStrike" kern="1200" cap="none" spc="0" normalizeH="0" baseline="0" noProof="0">
                <a:ln>
                  <a:noFill/>
                </a:ln>
                <a:solidFill>
                  <a:schemeClr val="bg1"/>
                </a:solidFill>
                <a:effectLst/>
                <a:uLnTx/>
                <a:uFillTx/>
                <a:latin typeface="Segoe UI"/>
                <a:ea typeface="+mn-ea"/>
                <a:cs typeface="+mn-cs"/>
              </a:rPr>
            </a:br>
            <a:r>
              <a:rPr kumimoji="0" lang="fr-fr" sz="1600" b="0" i="0" u="none" strike="noStrike" kern="1200" cap="none" spc="0" normalizeH="0" baseline="0" noProof="0">
                <a:ln>
                  <a:noFill/>
                </a:ln>
                <a:solidFill>
                  <a:schemeClr val="bg1"/>
                </a:solidFill>
                <a:effectLst/>
                <a:uLnTx/>
                <a:uFillTx/>
                <a:latin typeface="Segoe UI"/>
                <a:ea typeface="+mn-ea"/>
                <a:cs typeface="+mn-cs"/>
              </a:rPr>
              <a:t>et interactifs grâce à un ordinateur virtuel. Il peut alors découvrir des informations plus approfondies, effectuer des actions et générer des rapports plus complets, basés à la fois sur les données de travail et sur le Web</a:t>
            </a:r>
          </a:p>
          <a:p>
            <a:pPr marR="0" lvl="0" algn="l" defTabSz="457200" rtl="0" eaLnBrk="1" fontAlgn="auto" latinLnBrk="0" hangingPunct="1">
              <a:lnSpc>
                <a:spcPct val="100000"/>
              </a:lnSpc>
              <a:spcBef>
                <a:spcPts val="0"/>
              </a:spcBef>
              <a:spcAft>
                <a:spcPts val="800"/>
              </a:spcAft>
              <a:buClrTx/>
              <a:buSzTx/>
              <a:tabLst/>
              <a:defRPr/>
            </a:pPr>
            <a:r>
              <a:rPr kumimoji="0" lang="fr-fr" sz="1400" b="0" i="0" u="sng" strike="noStrike" kern="1200" cap="none" spc="0" normalizeH="0" baseline="0" noProof="0">
                <a:ln>
                  <a:noFill/>
                </a:ln>
                <a:solidFill>
                  <a:schemeClr val="bg1"/>
                </a:solidFill>
                <a:effectLst/>
                <a:uLnTx/>
                <a:uFillTx/>
                <a:latin typeface="Segoe UI"/>
                <a:ea typeface="+mn-ea"/>
                <a:cs typeface="+mn-cs"/>
              </a:rPr>
              <a:t>Contrôles administrateur pour la fonctionnalité Utilisation de l’ordinateur</a:t>
            </a:r>
            <a:r>
              <a:rPr kumimoji="0" lang="fr-fr" sz="1400" b="0" i="0" u="none" strike="noStrike" kern="1200" cap="none" spc="0" normalizeH="0" baseline="0" noProof="0">
                <a:ln>
                  <a:noFill/>
                </a:ln>
                <a:solidFill>
                  <a:schemeClr val="bg1"/>
                </a:solidFill>
                <a:effectLst/>
                <a:uLnTx/>
                <a:uFillTx/>
                <a:latin typeface="Segoe UI"/>
                <a:ea typeface="+mn-ea"/>
                <a:cs typeface="+mn-cs"/>
              </a:rPr>
              <a:t> :</a:t>
            </a:r>
          </a:p>
          <a:p>
            <a:pPr marR="0" lvl="0" algn="l" defTabSz="457200" rtl="0" eaLnBrk="1" fontAlgn="auto" latinLnBrk="0" hangingPunct="1">
              <a:lnSpc>
                <a:spcPct val="100000"/>
              </a:lnSpc>
              <a:spcBef>
                <a:spcPts val="0"/>
              </a:spcBef>
              <a:spcAft>
                <a:spcPts val="400"/>
              </a:spcAft>
              <a:buClrTx/>
              <a:buSzTx/>
              <a:tabLst/>
              <a:defRPr/>
            </a:pPr>
            <a:r>
              <a:rPr kumimoji="0" lang="fr-fr" sz="1400" b="1" i="0" u="none" strike="noStrike" kern="1200" cap="none" spc="0" normalizeH="0" baseline="0" noProof="0">
                <a:ln>
                  <a:noFill/>
                </a:ln>
                <a:solidFill>
                  <a:schemeClr val="bg1"/>
                </a:solidFill>
                <a:effectLst/>
                <a:uLnTx/>
                <a:uFillTx/>
                <a:latin typeface="Segoe UI"/>
                <a:ea typeface="+mn-ea"/>
                <a:cs typeface="+mn-cs"/>
              </a:rPr>
              <a:t>Permettre à l’agent Recherche utilisant un ordinateur d’effectuer des actions </a:t>
            </a:r>
            <a:br>
              <a:rPr kumimoji="0" lang="fr-fr" sz="1400" b="1" i="0" u="none" strike="noStrike" kern="1200" cap="none" spc="0" normalizeH="0" baseline="0" noProof="0">
                <a:ln>
                  <a:noFill/>
                </a:ln>
                <a:solidFill>
                  <a:schemeClr val="bg1"/>
                </a:solidFill>
                <a:effectLst/>
                <a:uLnTx/>
                <a:uFillTx/>
                <a:latin typeface="Segoe UI"/>
                <a:ea typeface="+mn-ea"/>
                <a:cs typeface="+mn-cs"/>
              </a:rPr>
            </a:br>
            <a:r>
              <a:rPr kumimoji="0" lang="fr-fr" sz="1400" b="1" i="0" u="none" strike="noStrike" kern="1200" cap="none" spc="0" normalizeH="0" baseline="0" noProof="0">
                <a:ln>
                  <a:noFill/>
                </a:ln>
                <a:solidFill>
                  <a:schemeClr val="bg1"/>
                </a:solidFill>
                <a:effectLst/>
                <a:uLnTx/>
                <a:uFillTx/>
                <a:latin typeface="Segoe UI"/>
                <a:ea typeface="+mn-ea"/>
                <a:cs typeface="+mn-cs"/>
              </a:rPr>
              <a:t>au nom des utilisateurs</a:t>
            </a:r>
          </a:p>
          <a:p>
            <a:pPr marL="285750" indent="-285750" defTabSz="457200">
              <a:spcAft>
                <a:spcPts val="400"/>
              </a:spcAft>
              <a:buFont typeface="Arial" panose="020B0604020202020204" pitchFamily="34" charset="0"/>
              <a:buChar char="•"/>
              <a:defRPr/>
            </a:pPr>
            <a:r>
              <a:rPr kumimoji="0" lang="fr-fr" sz="1400" b="0" i="0" u="none" strike="noStrike" kern="1200" cap="none" spc="0" normalizeH="0" baseline="0" noProof="0">
                <a:ln>
                  <a:noFill/>
                </a:ln>
                <a:solidFill>
                  <a:schemeClr val="bg1"/>
                </a:solidFill>
                <a:effectLst/>
                <a:uLnTx/>
                <a:uFillTx/>
                <a:latin typeface="Segoe UI"/>
                <a:ea typeface="+mn-ea"/>
                <a:cs typeface="+mn-cs"/>
              </a:rPr>
              <a:t>Autoriser pour tous les utilisateurs de votre organisation</a:t>
            </a:r>
          </a:p>
          <a:p>
            <a:pPr marL="285750" indent="-285750" defTabSz="457200">
              <a:spcAft>
                <a:spcPts val="400"/>
              </a:spcAft>
              <a:buFont typeface="Arial" panose="020B0604020202020204" pitchFamily="34" charset="0"/>
              <a:buChar char="•"/>
              <a:defRPr/>
            </a:pPr>
            <a:r>
              <a:rPr kumimoji="0" lang="fr-fr" sz="1400" b="0" i="0" u="none" strike="noStrike" kern="1200" cap="none" spc="0" normalizeH="0" baseline="0" noProof="0">
                <a:ln>
                  <a:noFill/>
                </a:ln>
                <a:solidFill>
                  <a:schemeClr val="bg1"/>
                </a:solidFill>
                <a:effectLst/>
                <a:uLnTx/>
                <a:uFillTx/>
                <a:latin typeface="Segoe UI"/>
                <a:ea typeface="+mn-ea"/>
                <a:cs typeface="+mn-cs"/>
              </a:rPr>
              <a:t>Ne pas autoriser</a:t>
            </a:r>
          </a:p>
          <a:p>
            <a:pPr marL="285750" indent="-285750" defTabSz="457200">
              <a:spcAft>
                <a:spcPts val="400"/>
              </a:spcAft>
              <a:buFont typeface="Arial" panose="020B0604020202020204" pitchFamily="34" charset="0"/>
              <a:buChar char="•"/>
              <a:defRPr/>
            </a:pPr>
            <a:r>
              <a:rPr kumimoji="0" lang="fr-fr" sz="1400" b="0" i="0" u="none" strike="noStrike" kern="1200" cap="none" spc="0" normalizeH="0" baseline="0" noProof="0">
                <a:ln>
                  <a:noFill/>
                </a:ln>
                <a:solidFill>
                  <a:schemeClr val="bg1"/>
                </a:solidFill>
                <a:effectLst/>
                <a:uLnTx/>
                <a:uFillTx/>
                <a:latin typeface="Segoe UI"/>
                <a:ea typeface="+mn-ea"/>
                <a:cs typeface="+mn-cs"/>
              </a:rPr>
              <a:t>Autoriser uniquement des utilisateurs et groupes spécifiques</a:t>
            </a:r>
          </a:p>
          <a:p>
            <a:pPr lvl="0" defTabSz="457200">
              <a:spcAft>
                <a:spcPts val="800"/>
              </a:spcAft>
              <a:defRPr/>
            </a:pPr>
            <a:r>
              <a:rPr lang="fr-fr" sz="1400" b="1">
                <a:solidFill>
                  <a:schemeClr val="bg1"/>
                </a:solidFill>
                <a:latin typeface="Segoe UI"/>
              </a:rPr>
              <a:t>Permettre à l’agent Recherche d’accéder aux données de travail</a:t>
            </a:r>
          </a:p>
          <a:p>
            <a:pPr lvl="0" defTabSz="457200">
              <a:spcAft>
                <a:spcPts val="400"/>
              </a:spcAft>
              <a:defRPr/>
            </a:pPr>
            <a:r>
              <a:rPr lang="fr-fr" sz="1400" b="1">
                <a:solidFill>
                  <a:schemeClr val="bg1"/>
                </a:solidFill>
                <a:latin typeface="Segoe UI"/>
              </a:rPr>
              <a:t>Choisir les sites Web autorisés pour l’utilisation de l’ordinateur</a:t>
            </a:r>
          </a:p>
          <a:p>
            <a:pPr marL="285750" indent="-285750" defTabSz="457200">
              <a:spcAft>
                <a:spcPts val="400"/>
              </a:spcAft>
              <a:buFont typeface="Arial" panose="020B0604020202020204" pitchFamily="34" charset="0"/>
              <a:buChar char="•"/>
              <a:defRPr/>
            </a:pPr>
            <a:r>
              <a:rPr lang="fr-fr" sz="1400">
                <a:solidFill>
                  <a:schemeClr val="bg1"/>
                </a:solidFill>
                <a:latin typeface="Segoe UI"/>
              </a:rPr>
              <a:t>Tous les sites Web</a:t>
            </a:r>
          </a:p>
          <a:p>
            <a:pPr marL="285750" indent="-285750" defTabSz="457200">
              <a:spcAft>
                <a:spcPts val="400"/>
              </a:spcAft>
              <a:buFont typeface="Arial" panose="020B0604020202020204" pitchFamily="34" charset="0"/>
              <a:buChar char="•"/>
              <a:defRPr/>
            </a:pPr>
            <a:r>
              <a:rPr lang="fr-fr" sz="1400">
                <a:solidFill>
                  <a:schemeClr val="bg1"/>
                </a:solidFill>
                <a:latin typeface="Segoe UI"/>
              </a:rPr>
              <a:t>Autoriser certaines URL ou certains domaines</a:t>
            </a:r>
          </a:p>
          <a:p>
            <a:pPr marL="285750" indent="-285750" defTabSz="457200">
              <a:spcAft>
                <a:spcPts val="400"/>
              </a:spcAft>
              <a:buFont typeface="Arial" panose="020B0604020202020204" pitchFamily="34" charset="0"/>
              <a:buChar char="•"/>
              <a:defRPr/>
            </a:pPr>
            <a:r>
              <a:rPr lang="fr-fr" sz="1400">
                <a:solidFill>
                  <a:schemeClr val="bg1"/>
                </a:solidFill>
                <a:latin typeface="Segoe UI"/>
              </a:rPr>
              <a:t>Exclure certaines URL ou certains domaines</a:t>
            </a:r>
          </a:p>
        </p:txBody>
      </p:sp>
      <p:pic>
        <p:nvPicPr>
          <p:cNvPr id="2" name="Picture 1">
            <a:extLst>
              <a:ext uri="{FF2B5EF4-FFF2-40B4-BE49-F238E27FC236}">
                <a16:creationId xmlns:a16="http://schemas.microsoft.com/office/drawing/2014/main" id="{58A68645-28B4-02E3-42C7-F3FCB57DC3BF}"/>
              </a:ext>
            </a:extLst>
          </p:cNvPr>
          <p:cNvPicPr>
            <a:picLocks noChangeAspect="1"/>
          </p:cNvPicPr>
          <p:nvPr/>
        </p:nvPicPr>
        <p:blipFill>
          <a:blip r:embed="rId3"/>
          <a:stretch>
            <a:fillRect/>
          </a:stretch>
        </p:blipFill>
        <p:spPr>
          <a:xfrm>
            <a:off x="7830148" y="1849168"/>
            <a:ext cx="4092202" cy="4185872"/>
          </a:xfrm>
          <a:prstGeom prst="roundRect">
            <a:avLst>
              <a:gd name="adj" fmla="val 3452"/>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52049335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7B00EC-911C-BB83-4B2F-EE8C4E1922D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F645C71-16F2-03E1-D425-C9D58DCA01E5}"/>
              </a:ext>
            </a:extLst>
          </p:cNvPr>
          <p:cNvSpPr>
            <a:spLocks noGrp="1"/>
          </p:cNvSpPr>
          <p:nvPr>
            <p:ph type="title"/>
          </p:nvPr>
        </p:nvSpPr>
        <p:spPr/>
        <p:txBody>
          <a:bodyPr/>
          <a:lstStyle/>
          <a:p>
            <a:r>
              <a:rPr lang="fr-fr"/>
              <a:t>Agents connectés</a:t>
            </a:r>
          </a:p>
        </p:txBody>
      </p:sp>
      <p:sp>
        <p:nvSpPr>
          <p:cNvPr id="17" name="TextBox 16">
            <a:extLst>
              <a:ext uri="{FF2B5EF4-FFF2-40B4-BE49-F238E27FC236}">
                <a16:creationId xmlns:a16="http://schemas.microsoft.com/office/drawing/2014/main" id="{12448232-D4E4-1B47-6828-18E3E785FE0C}"/>
              </a:ext>
            </a:extLst>
          </p:cNvPr>
          <p:cNvSpPr txBox="1"/>
          <p:nvPr/>
        </p:nvSpPr>
        <p:spPr>
          <a:xfrm>
            <a:off x="557441" y="1784621"/>
            <a:ext cx="5924381" cy="4298613"/>
          </a:xfrm>
          <a:prstGeom prst="rect">
            <a:avLst/>
          </a:prstGeom>
          <a:noFill/>
        </p:spPr>
        <p:txBody>
          <a:bodyPr wrap="square">
            <a:spAutoFit/>
          </a:bodyPr>
          <a:lstStyle/>
          <a:p>
            <a:pPr marR="0" lvl="0" algn="l" defTabSz="457200" rtl="0" eaLnBrk="1" fontAlgn="auto" latinLnBrk="0" hangingPunct="1">
              <a:lnSpc>
                <a:spcPct val="100000"/>
              </a:lnSpc>
              <a:spcBef>
                <a:spcPts val="0"/>
              </a:spcBef>
              <a:spcAft>
                <a:spcPts val="800"/>
              </a:spcAft>
              <a:buClrTx/>
              <a:buSzTx/>
              <a:tabLst/>
              <a:defRPr/>
            </a:pPr>
            <a:r>
              <a:rPr kumimoji="0" lang="fr-fr" sz="2000" b="0" i="0" u="none" strike="noStrike" kern="1200" cap="none" spc="0" normalizeH="0" baseline="0" noProof="0">
                <a:ln>
                  <a:noFill/>
                </a:ln>
                <a:solidFill>
                  <a:schemeClr val="bg1"/>
                </a:solidFill>
                <a:effectLst/>
                <a:uLnTx/>
                <a:uFillTx/>
                <a:latin typeface="Segoe UI"/>
                <a:ea typeface="+mn-ea"/>
                <a:cs typeface="+mn-cs"/>
              </a:rPr>
              <a:t>L’administrateur peut configurer des </a:t>
            </a:r>
            <a:r>
              <a:rPr kumimoji="0" lang="fr-fr" sz="2000" b="1" i="0" u="none" strike="noStrike" kern="1200" cap="none" spc="0" normalizeH="0" baseline="0" noProof="0">
                <a:ln>
                  <a:noFill/>
                </a:ln>
                <a:solidFill>
                  <a:schemeClr val="bg1"/>
                </a:solidFill>
                <a:effectLst/>
                <a:uLnTx/>
                <a:uFillTx/>
                <a:latin typeface="Segoe UI"/>
                <a:ea typeface="+mn-ea"/>
                <a:cs typeface="+mn-cs"/>
              </a:rPr>
              <a:t>agents connectés </a:t>
            </a:r>
            <a:r>
              <a:rPr kumimoji="0" lang="fr-fr" sz="2000" b="0" i="0" u="none" strike="noStrike" kern="1200" cap="none" spc="0" normalizeH="0" baseline="0" noProof="0">
                <a:ln>
                  <a:noFill/>
                </a:ln>
                <a:solidFill>
                  <a:schemeClr val="bg1"/>
                </a:solidFill>
                <a:effectLst/>
                <a:uLnTx/>
                <a:uFillTx/>
                <a:latin typeface="Segoe UI"/>
                <a:ea typeface="+mn-ea"/>
                <a:cs typeface="+mn-cs"/>
              </a:rPr>
              <a:t>pour les agents </a:t>
            </a:r>
            <a:r>
              <a:rPr kumimoji="0" lang="fr-fr" sz="2000" b="1" i="0" u="none" strike="noStrike" kern="1200" cap="none" spc="0" normalizeH="0" baseline="0" noProof="0">
                <a:ln>
                  <a:noFill/>
                </a:ln>
                <a:solidFill>
                  <a:schemeClr val="bg1"/>
                </a:solidFill>
                <a:effectLst/>
                <a:uLnTx/>
                <a:uFillTx/>
                <a:latin typeface="Segoe UI"/>
                <a:ea typeface="+mn-ea"/>
                <a:cs typeface="+mn-cs"/>
              </a:rPr>
              <a:t>Recherche</a:t>
            </a:r>
            <a:r>
              <a:rPr kumimoji="0" lang="fr-fr" sz="2000" b="0" i="0" u="none" strike="noStrike" kern="1200" cap="none" spc="0" normalizeH="0" baseline="0" noProof="0">
                <a:ln>
                  <a:noFill/>
                </a:ln>
                <a:solidFill>
                  <a:schemeClr val="bg1"/>
                </a:solidFill>
                <a:effectLst/>
                <a:uLnTx/>
                <a:uFillTx/>
                <a:latin typeface="Segoe UI"/>
                <a:ea typeface="+mn-ea"/>
                <a:cs typeface="+mn-cs"/>
              </a:rPr>
              <a:t> ou </a:t>
            </a:r>
            <a:r>
              <a:rPr kumimoji="0" lang="fr-fr" sz="2000" b="1" i="0" u="none" strike="noStrike" kern="1200" cap="none" spc="0" normalizeH="0" baseline="0" noProof="0">
                <a:ln>
                  <a:noFill/>
                </a:ln>
                <a:solidFill>
                  <a:schemeClr val="bg1"/>
                </a:solidFill>
                <a:effectLst/>
                <a:uLnTx/>
                <a:uFillTx/>
                <a:latin typeface="Segoe UI"/>
                <a:ea typeface="+mn-ea"/>
                <a:cs typeface="+mn-cs"/>
              </a:rPr>
              <a:t>Ventes</a:t>
            </a:r>
          </a:p>
          <a:p>
            <a:pPr marR="0" lvl="0" algn="l" defTabSz="457200" rtl="0" eaLnBrk="1" fontAlgn="auto" latinLnBrk="0" hangingPunct="1">
              <a:lnSpc>
                <a:spcPct val="100000"/>
              </a:lnSpc>
              <a:spcBef>
                <a:spcPts val="0"/>
              </a:spcBef>
              <a:spcAft>
                <a:spcPts val="800"/>
              </a:spcAft>
              <a:buClrTx/>
              <a:buSzTx/>
              <a:tabLst/>
              <a:defRPr/>
            </a:pPr>
            <a:r>
              <a:rPr kumimoji="0" lang="fr-fr" sz="2000" b="0" i="0" u="none" strike="noStrike" kern="1200" cap="none" spc="0" normalizeH="0" baseline="0" noProof="0">
                <a:ln>
                  <a:noFill/>
                </a:ln>
                <a:solidFill>
                  <a:schemeClr val="bg1"/>
                </a:solidFill>
                <a:effectLst/>
                <a:uLnTx/>
                <a:uFillTx/>
                <a:latin typeface="Segoe UI"/>
                <a:ea typeface="+mn-ea"/>
                <a:cs typeface="+mn-cs"/>
              </a:rPr>
              <a:t>L’onglet </a:t>
            </a:r>
            <a:r>
              <a:rPr kumimoji="0" lang="fr-fr" sz="2000" b="1" i="0" u="none" strike="noStrike" kern="1200" cap="none" spc="0" normalizeH="0" baseline="0" noProof="0">
                <a:ln>
                  <a:noFill/>
                </a:ln>
                <a:solidFill>
                  <a:schemeClr val="bg1"/>
                </a:solidFill>
                <a:effectLst/>
                <a:uLnTx/>
                <a:uFillTx/>
                <a:latin typeface="Segoe UI"/>
                <a:ea typeface="+mn-ea"/>
                <a:cs typeface="+mn-cs"/>
              </a:rPr>
              <a:t>Agents connectés </a:t>
            </a:r>
            <a:r>
              <a:rPr kumimoji="0" lang="fr-fr" sz="2000" b="0" i="0" u="none" strike="noStrike" kern="1200" cap="none" spc="0" normalizeH="0" baseline="0" noProof="0">
                <a:ln>
                  <a:noFill/>
                </a:ln>
                <a:solidFill>
                  <a:schemeClr val="bg1"/>
                </a:solidFill>
                <a:effectLst/>
                <a:uLnTx/>
                <a:uFillTx/>
                <a:latin typeface="Segoe UI"/>
                <a:ea typeface="+mn-ea"/>
                <a:cs typeface="+mn-cs"/>
              </a:rPr>
              <a:t>permet aux administrateurs de lier des agents supplémentaires capables de fournir des informations et des réponses lorsque les utilisateurs interagissent </a:t>
            </a:r>
            <a:br>
              <a:rPr kumimoji="0" lang="fr-fr" sz="2000" b="0" i="0" u="none" strike="noStrike" kern="1200" cap="none" spc="0" normalizeH="0" baseline="0" noProof="0">
                <a:ln>
                  <a:noFill/>
                </a:ln>
                <a:solidFill>
                  <a:schemeClr val="bg1"/>
                </a:solidFill>
                <a:effectLst/>
                <a:uLnTx/>
                <a:uFillTx/>
                <a:latin typeface="Segoe UI"/>
                <a:ea typeface="+mn-ea"/>
                <a:cs typeface="+mn-cs"/>
              </a:rPr>
            </a:br>
            <a:r>
              <a:rPr kumimoji="0" lang="fr-fr" sz="2000" b="0" i="0" u="none" strike="noStrike" kern="1200" cap="none" spc="0" normalizeH="0" baseline="0" noProof="0">
                <a:ln>
                  <a:noFill/>
                </a:ln>
                <a:solidFill>
                  <a:schemeClr val="bg1"/>
                </a:solidFill>
                <a:effectLst/>
                <a:uLnTx/>
                <a:uFillTx/>
                <a:latin typeface="Segoe UI"/>
                <a:ea typeface="+mn-ea"/>
                <a:cs typeface="+mn-cs"/>
              </a:rPr>
              <a:t>avec l’agent Recherche. Cela permet d’étendre </a:t>
            </a:r>
            <a:br>
              <a:rPr kumimoji="0" lang="fr-fr" sz="2000" b="0" i="0" u="none" strike="noStrike" kern="1200" cap="none" spc="0" normalizeH="0" baseline="0" noProof="0">
                <a:ln>
                  <a:noFill/>
                </a:ln>
                <a:solidFill>
                  <a:schemeClr val="bg1"/>
                </a:solidFill>
                <a:effectLst/>
                <a:uLnTx/>
                <a:uFillTx/>
                <a:latin typeface="Segoe UI"/>
                <a:ea typeface="+mn-ea"/>
                <a:cs typeface="+mn-cs"/>
              </a:rPr>
            </a:br>
            <a:r>
              <a:rPr kumimoji="0" lang="fr-fr" sz="2000" b="0" i="0" u="none" strike="noStrike" kern="1200" cap="none" spc="0" normalizeH="0" baseline="0" noProof="0">
                <a:ln>
                  <a:noFill/>
                </a:ln>
                <a:solidFill>
                  <a:schemeClr val="bg1"/>
                </a:solidFill>
                <a:effectLst/>
                <a:uLnTx/>
                <a:uFillTx/>
                <a:latin typeface="Segoe UI"/>
                <a:ea typeface="+mn-ea"/>
                <a:cs typeface="+mn-cs"/>
              </a:rPr>
              <a:t>les capacités des agents Recherche</a:t>
            </a:r>
            <a:r>
              <a:rPr lang="fr-fr" sz="2000">
                <a:solidFill>
                  <a:schemeClr val="bg1"/>
                </a:solidFill>
                <a:latin typeface="Segoe UI"/>
              </a:rPr>
              <a:t> </a:t>
            </a:r>
            <a:r>
              <a:rPr kumimoji="0" lang="fr-fr" sz="2000" b="0" i="0" u="none" strike="noStrike" kern="1200" cap="none" spc="0" normalizeH="0" baseline="0" noProof="0">
                <a:ln>
                  <a:noFill/>
                </a:ln>
                <a:solidFill>
                  <a:schemeClr val="bg1"/>
                </a:solidFill>
                <a:effectLst/>
                <a:uLnTx/>
                <a:uFillTx/>
                <a:latin typeface="Segoe UI"/>
                <a:ea typeface="+mn-ea"/>
                <a:cs typeface="+mn-cs"/>
              </a:rPr>
              <a:t>et des agents Ventes en mobilisant d’autres agents au sein </a:t>
            </a:r>
            <a:br>
              <a:rPr kumimoji="0" lang="fr-fr" sz="2000" b="0" i="0" u="none" strike="noStrike" kern="1200" cap="none" spc="0" normalizeH="0" baseline="0" noProof="0">
                <a:ln>
                  <a:noFill/>
                </a:ln>
                <a:solidFill>
                  <a:schemeClr val="bg1"/>
                </a:solidFill>
                <a:effectLst/>
                <a:uLnTx/>
                <a:uFillTx/>
                <a:latin typeface="Segoe UI"/>
                <a:ea typeface="+mn-ea"/>
                <a:cs typeface="+mn-cs"/>
              </a:rPr>
            </a:br>
            <a:r>
              <a:rPr kumimoji="0" lang="fr-fr" sz="2000" b="0" i="0" u="none" strike="noStrike" kern="1200" cap="none" spc="0" normalizeH="0" baseline="0" noProof="0">
                <a:ln>
                  <a:noFill/>
                </a:ln>
                <a:solidFill>
                  <a:schemeClr val="bg1"/>
                </a:solidFill>
                <a:effectLst/>
                <a:uLnTx/>
                <a:uFillTx/>
                <a:latin typeface="Segoe UI"/>
                <a:ea typeface="+mn-ea"/>
                <a:cs typeface="+mn-cs"/>
              </a:rPr>
              <a:t>de votre organisation.</a:t>
            </a:r>
          </a:p>
          <a:p>
            <a:pPr marR="0" lvl="0" algn="l" defTabSz="457200" rtl="0" eaLnBrk="1" fontAlgn="auto" latinLnBrk="0" hangingPunct="1">
              <a:lnSpc>
                <a:spcPct val="100000"/>
              </a:lnSpc>
              <a:spcBef>
                <a:spcPts val="0"/>
              </a:spcBef>
              <a:spcAft>
                <a:spcPts val="800"/>
              </a:spcAft>
              <a:buClrTx/>
              <a:buSzTx/>
              <a:tabLst/>
              <a:defRPr/>
            </a:pPr>
            <a:r>
              <a:rPr kumimoji="0" lang="fr-fr" sz="2000" b="0" i="0" u="none" strike="noStrike" kern="1200" cap="none" spc="0" normalizeH="0" baseline="0" noProof="0">
                <a:ln>
                  <a:noFill/>
                </a:ln>
                <a:solidFill>
                  <a:schemeClr val="bg1"/>
                </a:solidFill>
                <a:effectLst/>
                <a:uLnTx/>
                <a:uFillTx/>
                <a:latin typeface="Segoe UI"/>
                <a:ea typeface="+mn-ea"/>
                <a:cs typeface="+mn-cs"/>
              </a:rPr>
              <a:t>Jusqu’à 10 agents peuvent être connectés par </a:t>
            </a:r>
            <a:br>
              <a:rPr kumimoji="0" lang="fr-fr" sz="2000" b="0" i="0" u="none" strike="noStrike" kern="1200" cap="none" spc="0" normalizeH="0" baseline="0" noProof="0">
                <a:ln>
                  <a:noFill/>
                </a:ln>
                <a:solidFill>
                  <a:schemeClr val="bg1"/>
                </a:solidFill>
                <a:effectLst/>
                <a:uLnTx/>
                <a:uFillTx/>
                <a:latin typeface="Segoe UI"/>
                <a:ea typeface="+mn-ea"/>
                <a:cs typeface="+mn-cs"/>
              </a:rPr>
            </a:br>
            <a:r>
              <a:rPr kumimoji="0" lang="fr-fr" sz="2000" b="0" i="0" u="none" strike="noStrike" kern="1200" cap="none" spc="0" normalizeH="0" baseline="0" noProof="0">
                <a:ln>
                  <a:noFill/>
                </a:ln>
                <a:solidFill>
                  <a:schemeClr val="bg1"/>
                </a:solidFill>
                <a:effectLst/>
                <a:uLnTx/>
                <a:uFillTx/>
                <a:latin typeface="Segoe UI"/>
                <a:ea typeface="+mn-ea"/>
                <a:cs typeface="+mn-cs"/>
              </a:rPr>
              <a:t>les administrateurs, en excluant ceux ajoutés </a:t>
            </a:r>
            <a:br>
              <a:rPr kumimoji="0" lang="fr-fr" sz="2000" b="0" i="0" u="none" strike="noStrike" kern="1200" cap="none" spc="0" normalizeH="0" baseline="0" noProof="0">
                <a:ln>
                  <a:noFill/>
                </a:ln>
                <a:solidFill>
                  <a:schemeClr val="bg1"/>
                </a:solidFill>
                <a:effectLst/>
                <a:uLnTx/>
                <a:uFillTx/>
                <a:latin typeface="Segoe UI"/>
                <a:ea typeface="+mn-ea"/>
                <a:cs typeface="+mn-cs"/>
              </a:rPr>
            </a:br>
            <a:r>
              <a:rPr kumimoji="0" lang="fr-fr" sz="2000" b="0" i="0" u="none" strike="noStrike" kern="1200" cap="none" spc="0" normalizeH="0" baseline="0" noProof="0">
                <a:ln>
                  <a:noFill/>
                </a:ln>
                <a:solidFill>
                  <a:schemeClr val="bg1"/>
                </a:solidFill>
                <a:effectLst/>
                <a:uLnTx/>
                <a:uFillTx/>
                <a:latin typeface="Segoe UI"/>
                <a:ea typeface="+mn-ea"/>
                <a:cs typeface="+mn-cs"/>
              </a:rPr>
              <a:t>par le créateur de l’agent.</a:t>
            </a:r>
          </a:p>
        </p:txBody>
      </p:sp>
      <p:pic>
        <p:nvPicPr>
          <p:cNvPr id="7" name="Picture 6">
            <a:extLst>
              <a:ext uri="{FF2B5EF4-FFF2-40B4-BE49-F238E27FC236}">
                <a16:creationId xmlns:a16="http://schemas.microsoft.com/office/drawing/2014/main" id="{6EAEC0C6-15FA-1A7D-5E44-5B5E77CAC4BD}"/>
              </a:ext>
            </a:extLst>
          </p:cNvPr>
          <p:cNvPicPr>
            <a:picLocks noChangeAspect="1"/>
          </p:cNvPicPr>
          <p:nvPr/>
        </p:nvPicPr>
        <p:blipFill>
          <a:blip r:embed="rId3"/>
          <a:stretch>
            <a:fillRect/>
          </a:stretch>
        </p:blipFill>
        <p:spPr>
          <a:xfrm>
            <a:off x="6676465" y="1784621"/>
            <a:ext cx="5306845" cy="3261941"/>
          </a:xfrm>
          <a:prstGeom prst="roundRect">
            <a:avLst>
              <a:gd name="adj" fmla="val 4230"/>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54564450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9FAF3E-E1AC-6671-FA32-6756C2E6BD6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A490EEE-2DC3-C7AE-642F-5FB185227F95}"/>
              </a:ext>
            </a:extLst>
          </p:cNvPr>
          <p:cNvSpPr>
            <a:spLocks noGrp="1"/>
          </p:cNvSpPr>
          <p:nvPr>
            <p:ph type="title"/>
          </p:nvPr>
        </p:nvSpPr>
        <p:spPr>
          <a:xfrm>
            <a:off x="429513" y="485481"/>
            <a:ext cx="11018520" cy="498598"/>
          </a:xfrm>
        </p:spPr>
        <p:txBody>
          <a:bodyPr/>
          <a:lstStyle/>
          <a:p>
            <a:r>
              <a:rPr lang="fr-fr"/>
              <a:t>Outils</a:t>
            </a:r>
          </a:p>
        </p:txBody>
      </p:sp>
      <p:sp>
        <p:nvSpPr>
          <p:cNvPr id="5" name="Text Placeholder 14">
            <a:extLst>
              <a:ext uri="{FF2B5EF4-FFF2-40B4-BE49-F238E27FC236}">
                <a16:creationId xmlns:a16="http://schemas.microsoft.com/office/drawing/2014/main" id="{1818BA8E-64E7-8333-888E-F03944B2D71D}"/>
              </a:ext>
            </a:extLst>
          </p:cNvPr>
          <p:cNvSpPr txBox="1">
            <a:spLocks/>
          </p:cNvSpPr>
          <p:nvPr/>
        </p:nvSpPr>
        <p:spPr>
          <a:xfrm>
            <a:off x="356905" y="1924346"/>
            <a:ext cx="5233997" cy="2144498"/>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3000"/>
              </a:lnSpc>
              <a:spcBef>
                <a:spcPts val="360"/>
              </a:spcBef>
              <a:spcAft>
                <a:spcPts val="600"/>
              </a:spcAft>
              <a:buClr>
                <a:srgbClr val="000000"/>
              </a:buClr>
              <a:buNone/>
              <a:defRPr/>
            </a:pPr>
            <a:r>
              <a:rPr lang="fr-fr" sz="2400">
                <a:solidFill>
                  <a:schemeClr val="bg1"/>
                </a:solidFill>
                <a:latin typeface="Segoe UI"/>
                <a:cs typeface="+mn-cs"/>
              </a:rPr>
              <a:t>Les outils déterminent la manière dont un modèle IA interagit avec les données des utilisateurs, les outils et les flux de travail. Ils garantissent que les requêtes, les réponses et les actions sont traitées de manière cohérente, sécurisée et transparente.</a:t>
            </a:r>
          </a:p>
        </p:txBody>
      </p:sp>
      <p:pic>
        <p:nvPicPr>
          <p:cNvPr id="8" name="Picture 7">
            <a:extLst>
              <a:ext uri="{FF2B5EF4-FFF2-40B4-BE49-F238E27FC236}">
                <a16:creationId xmlns:a16="http://schemas.microsoft.com/office/drawing/2014/main" id="{815EC0EF-6AE6-23DC-2356-3512D2117947}"/>
              </a:ext>
            </a:extLst>
          </p:cNvPr>
          <p:cNvPicPr>
            <a:picLocks noChangeAspect="1"/>
          </p:cNvPicPr>
          <p:nvPr/>
        </p:nvPicPr>
        <p:blipFill>
          <a:blip r:embed="rId3"/>
          <a:stretch>
            <a:fillRect/>
          </a:stretch>
        </p:blipFill>
        <p:spPr>
          <a:xfrm>
            <a:off x="5798658" y="1773329"/>
            <a:ext cx="6036437" cy="4599190"/>
          </a:xfrm>
          <a:prstGeom prst="roundRect">
            <a:avLst>
              <a:gd name="adj" fmla="val 2707"/>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4948609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EFBC62-E6D6-52DB-DFE5-B98FAA0C93D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04BB079-A0DA-E7E3-8D57-81EC7BB8FCC6}"/>
              </a:ext>
            </a:extLst>
          </p:cNvPr>
          <p:cNvSpPr>
            <a:spLocks noGrp="1"/>
          </p:cNvSpPr>
          <p:nvPr>
            <p:ph type="title"/>
          </p:nvPr>
        </p:nvSpPr>
        <p:spPr/>
        <p:txBody>
          <a:bodyPr/>
          <a:lstStyle/>
          <a:p>
            <a:r>
              <a:rPr lang="fr-fr"/>
              <a:t>Gérer l’épinglage des agents</a:t>
            </a:r>
          </a:p>
        </p:txBody>
      </p:sp>
      <p:sp>
        <p:nvSpPr>
          <p:cNvPr id="17" name="TextBox 16">
            <a:extLst>
              <a:ext uri="{FF2B5EF4-FFF2-40B4-BE49-F238E27FC236}">
                <a16:creationId xmlns:a16="http://schemas.microsoft.com/office/drawing/2014/main" id="{D38A545C-5C5A-1A4D-3D3E-2AE85ADF4F36}"/>
              </a:ext>
            </a:extLst>
          </p:cNvPr>
          <p:cNvSpPr txBox="1"/>
          <p:nvPr/>
        </p:nvSpPr>
        <p:spPr>
          <a:xfrm>
            <a:off x="563188" y="1953599"/>
            <a:ext cx="5837611" cy="4001095"/>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1200"/>
              </a:spcAft>
              <a:buClrTx/>
              <a:buSzTx/>
              <a:buFontTx/>
              <a:buNone/>
              <a:tabLst/>
              <a:defRPr/>
            </a:pPr>
            <a:r>
              <a:rPr kumimoji="0" lang="fr-fr" sz="2200" b="0" i="0" u="none" strike="noStrike" kern="1200" cap="none" spc="-20" normalizeH="0" noProof="0">
                <a:ln>
                  <a:noFill/>
                </a:ln>
                <a:solidFill>
                  <a:schemeClr val="bg1"/>
                </a:solidFill>
                <a:effectLst/>
                <a:uLnTx/>
                <a:uFillTx/>
                <a:latin typeface="Segoe UI"/>
                <a:ea typeface="+mn-ea"/>
                <a:cs typeface="+mn-cs"/>
              </a:rPr>
              <a:t>L’épinglage des agents est une fonctionnalité qui permet aux administrateurs de présélectionner et d’épingler jusqu’à trois agents pour les utilisateurs finaux de Microsoft 365 Copilot. </a:t>
            </a:r>
          </a:p>
          <a:p>
            <a:pPr marL="0" marR="0" lvl="0" indent="0" algn="l" defTabSz="457200" rtl="0" eaLnBrk="1" fontAlgn="auto" latinLnBrk="0" hangingPunct="1">
              <a:lnSpc>
                <a:spcPct val="100000"/>
              </a:lnSpc>
              <a:spcBef>
                <a:spcPts val="0"/>
              </a:spcBef>
              <a:spcAft>
                <a:spcPts val="1200"/>
              </a:spcAft>
              <a:buClrTx/>
              <a:buSzTx/>
              <a:buFontTx/>
              <a:buNone/>
              <a:tabLst/>
              <a:defRPr/>
            </a:pPr>
            <a:r>
              <a:rPr kumimoji="0" lang="fr-fr" sz="2200" b="0" i="0" u="none" strike="noStrike" kern="1200" cap="none" spc="0" normalizeH="0" baseline="0" noProof="0">
                <a:ln>
                  <a:noFill/>
                </a:ln>
                <a:solidFill>
                  <a:schemeClr val="bg1"/>
                </a:solidFill>
                <a:effectLst/>
                <a:uLnTx/>
                <a:uFillTx/>
                <a:latin typeface="Segoe UI"/>
                <a:ea typeface="+mn-ea"/>
                <a:cs typeface="+mn-cs"/>
              </a:rPr>
              <a:t>L’administrateur épingle l’agent afin qu’il soit automatiquement affiché dans l’interface Copilot de l’utilisateur final, sans intervention de l’utilisateur. </a:t>
            </a:r>
          </a:p>
          <a:p>
            <a:pPr marL="0" marR="0" lvl="0" indent="0" algn="l" defTabSz="457200" rtl="0" eaLnBrk="1" fontAlgn="auto" latinLnBrk="0" hangingPunct="1">
              <a:lnSpc>
                <a:spcPct val="100000"/>
              </a:lnSpc>
              <a:spcBef>
                <a:spcPts val="0"/>
              </a:spcBef>
              <a:spcAft>
                <a:spcPts val="1200"/>
              </a:spcAft>
              <a:buClrTx/>
              <a:buSzTx/>
              <a:buFontTx/>
              <a:buNone/>
              <a:tabLst/>
              <a:defRPr/>
            </a:pPr>
            <a:r>
              <a:rPr kumimoji="0" lang="fr-fr" sz="2200" b="0" i="0" u="none" strike="noStrike" kern="1200" cap="none" spc="0" normalizeH="0" baseline="0" noProof="0">
                <a:ln>
                  <a:noFill/>
                </a:ln>
                <a:solidFill>
                  <a:schemeClr val="bg1"/>
                </a:solidFill>
                <a:effectLst/>
                <a:uLnTx/>
                <a:uFillTx/>
                <a:latin typeface="Segoe UI"/>
                <a:ea typeface="+mn-ea"/>
                <a:cs typeface="+mn-cs"/>
              </a:rPr>
              <a:t>L’agent est ainsi facilement accessible </a:t>
            </a:r>
            <a:br>
              <a:rPr kumimoji="0" lang="fr-fr" sz="2200" b="0" i="0" u="none" strike="noStrike" kern="1200" cap="none" spc="0" normalizeH="0" baseline="0" noProof="0">
                <a:ln>
                  <a:noFill/>
                </a:ln>
                <a:solidFill>
                  <a:schemeClr val="bg1"/>
                </a:solidFill>
                <a:effectLst/>
                <a:uLnTx/>
                <a:uFillTx/>
                <a:latin typeface="Segoe UI"/>
                <a:ea typeface="+mn-ea"/>
                <a:cs typeface="+mn-cs"/>
              </a:rPr>
            </a:br>
            <a:r>
              <a:rPr kumimoji="0" lang="fr-fr" sz="2200" b="0" i="0" u="none" strike="noStrike" kern="1200" cap="none" spc="0" normalizeH="0" baseline="0" noProof="0">
                <a:ln>
                  <a:noFill/>
                </a:ln>
                <a:solidFill>
                  <a:schemeClr val="bg1"/>
                </a:solidFill>
                <a:effectLst/>
                <a:uLnTx/>
                <a:uFillTx/>
                <a:latin typeface="Segoe UI"/>
                <a:ea typeface="+mn-ea"/>
                <a:cs typeface="+mn-cs"/>
              </a:rPr>
              <a:t>à l’utilisateur dans l’interface Copilot.</a:t>
            </a:r>
            <a:endParaRPr kumimoji="0" lang="en-US" sz="2200" b="0" i="0" u="none" strike="noStrike" kern="1200" cap="none" spc="0" normalizeH="0" baseline="0" noProof="0">
              <a:ln>
                <a:noFill/>
              </a:ln>
              <a:solidFill>
                <a:schemeClr val="bg1"/>
              </a:solidFill>
              <a:effectLst/>
              <a:uLnTx/>
              <a:uFillTx/>
              <a:latin typeface="Segoe UI"/>
              <a:ea typeface="+mn-ea"/>
              <a:cs typeface="+mn-cs"/>
            </a:endParaRPr>
          </a:p>
        </p:txBody>
      </p:sp>
      <p:pic>
        <p:nvPicPr>
          <p:cNvPr id="5" name="Picture 4">
            <a:extLst>
              <a:ext uri="{FF2B5EF4-FFF2-40B4-BE49-F238E27FC236}">
                <a16:creationId xmlns:a16="http://schemas.microsoft.com/office/drawing/2014/main" id="{476663D2-CCCA-C337-3B78-BBCDAA3D5BE7}"/>
              </a:ext>
            </a:extLst>
          </p:cNvPr>
          <p:cNvPicPr>
            <a:picLocks noChangeAspect="1"/>
          </p:cNvPicPr>
          <p:nvPr/>
        </p:nvPicPr>
        <p:blipFill>
          <a:blip r:embed="rId3"/>
          <a:stretch>
            <a:fillRect/>
          </a:stretch>
        </p:blipFill>
        <p:spPr>
          <a:xfrm>
            <a:off x="6575164" y="1685107"/>
            <a:ext cx="5424953" cy="3944983"/>
          </a:xfrm>
          <a:prstGeom prst="roundRect">
            <a:avLst>
              <a:gd name="adj" fmla="val 1866"/>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29362894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750E19-21D3-1356-2AC3-D61820DD069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6CE1156-C9DF-A45C-AA78-3B7CD419B9B6}"/>
              </a:ext>
            </a:extLst>
          </p:cNvPr>
          <p:cNvSpPr>
            <a:spLocks noGrp="1"/>
          </p:cNvSpPr>
          <p:nvPr>
            <p:ph type="title"/>
          </p:nvPr>
        </p:nvSpPr>
        <p:spPr/>
        <p:txBody>
          <a:bodyPr/>
          <a:lstStyle/>
          <a:p>
            <a:r>
              <a:rPr lang="fr-fr"/>
              <a:t>Politiques de facturation à l’utilisation</a:t>
            </a:r>
          </a:p>
        </p:txBody>
      </p:sp>
      <p:sp>
        <p:nvSpPr>
          <p:cNvPr id="17" name="TextBox 16">
            <a:extLst>
              <a:ext uri="{FF2B5EF4-FFF2-40B4-BE49-F238E27FC236}">
                <a16:creationId xmlns:a16="http://schemas.microsoft.com/office/drawing/2014/main" id="{97A5E9FF-F08C-8B9A-FC4F-32F799BAECD4}"/>
              </a:ext>
            </a:extLst>
          </p:cNvPr>
          <p:cNvSpPr txBox="1"/>
          <p:nvPr/>
        </p:nvSpPr>
        <p:spPr>
          <a:xfrm>
            <a:off x="563188" y="1749203"/>
            <a:ext cx="5826854" cy="3862596"/>
          </a:xfrm>
          <a:prstGeom prst="rect">
            <a:avLst/>
          </a:prstGeom>
          <a:noFill/>
        </p:spPr>
        <p:txBody>
          <a:bodyPr wrap="square" lIns="0" tIns="0" rIns="0" bIns="0" anchor="t">
            <a:spAutoFit/>
          </a:bodyPr>
          <a:lstStyle/>
          <a:p>
            <a:pPr>
              <a:spcAft>
                <a:spcPts val="1200"/>
              </a:spcAft>
            </a:pPr>
            <a:r>
              <a:rPr lang="fr-fr" sz="2100">
                <a:solidFill>
                  <a:schemeClr val="bg1"/>
                </a:solidFill>
              </a:rPr>
              <a:t>Les administrateurs peuvent configurer </a:t>
            </a:r>
            <a:r>
              <a:rPr lang="fr-fr" sz="2100" b="1">
                <a:solidFill>
                  <a:schemeClr val="bg1"/>
                </a:solidFill>
              </a:rPr>
              <a:t>des politiques de facturation à l’utilisation</a:t>
            </a:r>
            <a:r>
              <a:rPr lang="fr-fr" sz="2100">
                <a:solidFill>
                  <a:schemeClr val="bg1"/>
                </a:solidFill>
              </a:rPr>
              <a:t> Copilot pour </a:t>
            </a:r>
            <a:r>
              <a:rPr lang="fr-fr" sz="2100" u="sng">
                <a:solidFill>
                  <a:schemeClr val="bg1"/>
                </a:solidFill>
              </a:rPr>
              <a:t>Microsoft 365 Copilot Chat</a:t>
            </a:r>
            <a:r>
              <a:rPr lang="fr-fr" sz="2100">
                <a:solidFill>
                  <a:schemeClr val="bg1"/>
                </a:solidFill>
              </a:rPr>
              <a:t> et </a:t>
            </a:r>
            <a:r>
              <a:rPr lang="fr-fr" sz="2100" u="sng">
                <a:solidFill>
                  <a:schemeClr val="bg1"/>
                </a:solidFill>
              </a:rPr>
              <a:t>les agents SharePoint</a:t>
            </a:r>
            <a:r>
              <a:rPr lang="fr-fr" sz="2100">
                <a:solidFill>
                  <a:schemeClr val="bg1"/>
                </a:solidFill>
              </a:rPr>
              <a:t> dans le centre d’administration M365</a:t>
            </a:r>
          </a:p>
          <a:p>
            <a:pPr>
              <a:spcAft>
                <a:spcPts val="1200"/>
              </a:spcAft>
            </a:pPr>
            <a:r>
              <a:rPr lang="fr-fr" sz="2100">
                <a:solidFill>
                  <a:schemeClr val="bg1"/>
                </a:solidFill>
              </a:rPr>
              <a:t>Nécessite un abonnement Azure et des groupes de ressources créés pour les politiques</a:t>
            </a:r>
          </a:p>
          <a:p>
            <a:pPr>
              <a:spcAft>
                <a:spcPts val="1200"/>
              </a:spcAft>
            </a:pPr>
            <a:r>
              <a:rPr lang="fr-fr" sz="2100">
                <a:solidFill>
                  <a:schemeClr val="bg1"/>
                </a:solidFill>
              </a:rPr>
              <a:t>Possibilité de créer des politiques pour tous </a:t>
            </a:r>
            <a:br>
              <a:rPr lang="fr-fr" sz="2100">
                <a:solidFill>
                  <a:schemeClr val="bg1"/>
                </a:solidFill>
              </a:rPr>
            </a:br>
            <a:r>
              <a:rPr lang="fr-fr" sz="2100">
                <a:solidFill>
                  <a:schemeClr val="bg1"/>
                </a:solidFill>
              </a:rPr>
              <a:t>les utilisateurs et/ou pour différents groupes d’utilisateurs, de manière </a:t>
            </a:r>
            <a:r>
              <a:rPr lang="fr-fr" sz="2100" b="1">
                <a:solidFill>
                  <a:schemeClr val="bg1"/>
                </a:solidFill>
              </a:rPr>
              <a:t>« départementale »</a:t>
            </a:r>
            <a:r>
              <a:rPr lang="fr-fr" sz="2100">
                <a:solidFill>
                  <a:schemeClr val="bg1"/>
                </a:solidFill>
              </a:rPr>
              <a:t>, </a:t>
            </a:r>
            <a:br>
              <a:rPr lang="fr-fr" sz="2100">
                <a:solidFill>
                  <a:schemeClr val="bg1"/>
                </a:solidFill>
              </a:rPr>
            </a:br>
            <a:r>
              <a:rPr lang="fr-fr" sz="2100">
                <a:solidFill>
                  <a:schemeClr val="bg1"/>
                </a:solidFill>
              </a:rPr>
              <a:t>en s’appuyant sur des groupes M365 ou des groupes de sécurité</a:t>
            </a:r>
          </a:p>
        </p:txBody>
      </p:sp>
      <p:pic>
        <p:nvPicPr>
          <p:cNvPr id="5" name="Picture 4">
            <a:extLst>
              <a:ext uri="{FF2B5EF4-FFF2-40B4-BE49-F238E27FC236}">
                <a16:creationId xmlns:a16="http://schemas.microsoft.com/office/drawing/2014/main" id="{8001C22A-405D-593E-6919-FAE12DDE6F8D}"/>
              </a:ext>
            </a:extLst>
          </p:cNvPr>
          <p:cNvPicPr>
            <a:picLocks noChangeAspect="1"/>
          </p:cNvPicPr>
          <p:nvPr/>
        </p:nvPicPr>
        <p:blipFill>
          <a:blip r:embed="rId3"/>
          <a:stretch>
            <a:fillRect/>
          </a:stretch>
        </p:blipFill>
        <p:spPr>
          <a:xfrm>
            <a:off x="7396223" y="1320877"/>
            <a:ext cx="4581981" cy="1933160"/>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89E826E3-9DB2-7B13-467A-2EDDBF642292}"/>
              </a:ext>
            </a:extLst>
          </p:cNvPr>
          <p:cNvPicPr>
            <a:picLocks noChangeAspect="1"/>
          </p:cNvPicPr>
          <p:nvPr/>
        </p:nvPicPr>
        <p:blipFill>
          <a:blip r:embed="rId4"/>
          <a:stretch>
            <a:fillRect/>
          </a:stretch>
        </p:blipFill>
        <p:spPr>
          <a:xfrm>
            <a:off x="6941040" y="2500913"/>
            <a:ext cx="2143161" cy="2703612"/>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BC690056-482D-8AC8-BA99-A17AA3542161}"/>
              </a:ext>
            </a:extLst>
          </p:cNvPr>
          <p:cNvPicPr>
            <a:picLocks noChangeAspect="1"/>
          </p:cNvPicPr>
          <p:nvPr/>
        </p:nvPicPr>
        <p:blipFill>
          <a:blip r:embed="rId5"/>
          <a:stretch>
            <a:fillRect/>
          </a:stretch>
        </p:blipFill>
        <p:spPr>
          <a:xfrm>
            <a:off x="8923896" y="3426585"/>
            <a:ext cx="2143161" cy="1604309"/>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42D9D121-3FFE-62F6-6D1F-C3394D6DA465}"/>
              </a:ext>
            </a:extLst>
          </p:cNvPr>
          <p:cNvPicPr>
            <a:picLocks noChangeAspect="1"/>
          </p:cNvPicPr>
          <p:nvPr/>
        </p:nvPicPr>
        <p:blipFill>
          <a:blip r:embed="rId6"/>
          <a:stretch>
            <a:fillRect/>
          </a:stretch>
        </p:blipFill>
        <p:spPr>
          <a:xfrm>
            <a:off x="9421793" y="4941071"/>
            <a:ext cx="2661991" cy="153055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4926413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1C66C6-52F5-7479-C90A-1579C6ABA8C0}"/>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7123A47F-2D59-40D1-C9C5-002046747C7A}"/>
              </a:ext>
            </a:extLst>
          </p:cNvPr>
          <p:cNvPicPr>
            <a:picLocks noChangeAspect="1"/>
          </p:cNvPicPr>
          <p:nvPr/>
        </p:nvPicPr>
        <p:blipFill>
          <a:blip r:embed="rId3"/>
          <a:stretch>
            <a:fillRect/>
          </a:stretch>
        </p:blipFill>
        <p:spPr>
          <a:xfrm>
            <a:off x="7042188" y="1749203"/>
            <a:ext cx="4075157" cy="2453555"/>
          </a:xfrm>
          <a:prstGeom prst="roundRect">
            <a:avLst>
              <a:gd name="adj" fmla="val 3706"/>
            </a:avLst>
          </a:prstGeom>
          <a:solidFill>
            <a:srgbClr val="FFFFFF">
              <a:shade val="85000"/>
            </a:srgbClr>
          </a:solidFill>
          <a:ln>
            <a:noFill/>
          </a:ln>
          <a:effectLst>
            <a:reflection blurRad="12700" stA="38000" endPos="28000" dist="5000" dir="5400000" sy="-100000" algn="bl" rotWithShape="0"/>
          </a:effectLst>
        </p:spPr>
      </p:pic>
      <p:sp>
        <p:nvSpPr>
          <p:cNvPr id="4" name="Title 3">
            <a:extLst>
              <a:ext uri="{FF2B5EF4-FFF2-40B4-BE49-F238E27FC236}">
                <a16:creationId xmlns:a16="http://schemas.microsoft.com/office/drawing/2014/main" id="{AFD56CE6-0A14-20E1-52A3-195BB54FA9EA}"/>
              </a:ext>
            </a:extLst>
          </p:cNvPr>
          <p:cNvSpPr>
            <a:spLocks noGrp="1"/>
          </p:cNvSpPr>
          <p:nvPr>
            <p:ph type="title"/>
          </p:nvPr>
        </p:nvSpPr>
        <p:spPr>
          <a:xfrm>
            <a:off x="588263" y="485481"/>
            <a:ext cx="10734161" cy="498598"/>
          </a:xfrm>
        </p:spPr>
        <p:txBody>
          <a:bodyPr/>
          <a:lstStyle/>
          <a:p>
            <a:r>
              <a:rPr lang="fr-fr" sz="3200"/>
              <a:t>Utiliser la capacité de crédits </a:t>
            </a:r>
            <a:r>
              <a:rPr lang="fr-fr" sz="3200" err="1"/>
              <a:t>Copilot</a:t>
            </a:r>
            <a:r>
              <a:rPr lang="fr-fr" sz="3200"/>
              <a:t> dans les politiques de facturation</a:t>
            </a:r>
          </a:p>
        </p:txBody>
      </p:sp>
      <p:sp>
        <p:nvSpPr>
          <p:cNvPr id="17" name="TextBox 16">
            <a:extLst>
              <a:ext uri="{FF2B5EF4-FFF2-40B4-BE49-F238E27FC236}">
                <a16:creationId xmlns:a16="http://schemas.microsoft.com/office/drawing/2014/main" id="{1367C0AE-2BBE-A737-6F9E-9025733C0D06}"/>
              </a:ext>
            </a:extLst>
          </p:cNvPr>
          <p:cNvSpPr txBox="1"/>
          <p:nvPr/>
        </p:nvSpPr>
        <p:spPr>
          <a:xfrm>
            <a:off x="563188" y="1749203"/>
            <a:ext cx="5231556" cy="4462760"/>
          </a:xfrm>
          <a:prstGeom prst="rect">
            <a:avLst/>
          </a:prstGeom>
          <a:noFill/>
        </p:spPr>
        <p:txBody>
          <a:bodyPr wrap="square" lIns="0" tIns="0" rIns="0" bIns="0" anchor="t">
            <a:spAutoFit/>
          </a:bodyPr>
          <a:lstStyle/>
          <a:p>
            <a:pPr>
              <a:spcAft>
                <a:spcPts val="1200"/>
              </a:spcAft>
            </a:pPr>
            <a:r>
              <a:rPr lang="fr-fr" sz="2000">
                <a:solidFill>
                  <a:schemeClr val="bg1"/>
                </a:solidFill>
              </a:rPr>
              <a:t>Les administrateurs peuvent configurer </a:t>
            </a:r>
            <a:r>
              <a:rPr lang="fr-fr" sz="2000" b="1">
                <a:solidFill>
                  <a:schemeClr val="bg1"/>
                </a:solidFill>
              </a:rPr>
              <a:t>Copilot Chat </a:t>
            </a:r>
            <a:r>
              <a:rPr lang="fr-fr" sz="2000">
                <a:solidFill>
                  <a:schemeClr val="bg1"/>
                </a:solidFill>
              </a:rPr>
              <a:t>et </a:t>
            </a:r>
            <a:r>
              <a:rPr lang="fr-fr" sz="2000" b="1">
                <a:solidFill>
                  <a:schemeClr val="bg1"/>
                </a:solidFill>
              </a:rPr>
              <a:t>SharePoint</a:t>
            </a:r>
            <a:r>
              <a:rPr lang="fr-fr" sz="2000">
                <a:solidFill>
                  <a:schemeClr val="bg1"/>
                </a:solidFill>
              </a:rPr>
              <a:t> en mode paiement à l’utilisation pour consommer </a:t>
            </a:r>
            <a:br>
              <a:rPr lang="fr-fr" sz="2000">
                <a:solidFill>
                  <a:schemeClr val="bg1"/>
                </a:solidFill>
              </a:rPr>
            </a:br>
            <a:r>
              <a:rPr lang="fr-fr" sz="2000">
                <a:solidFill>
                  <a:schemeClr val="bg1"/>
                </a:solidFill>
              </a:rPr>
              <a:t>la capacité de crédits Copilot</a:t>
            </a:r>
          </a:p>
          <a:p>
            <a:pPr>
              <a:spcAft>
                <a:spcPts val="1200"/>
              </a:spcAft>
            </a:pPr>
            <a:r>
              <a:rPr lang="fr-fr" sz="2000">
                <a:solidFill>
                  <a:schemeClr val="bg1"/>
                </a:solidFill>
              </a:rPr>
              <a:t>Cela permet aux organisations d’</a:t>
            </a:r>
            <a:r>
              <a:rPr lang="fr-fr" sz="2000" b="1">
                <a:solidFill>
                  <a:schemeClr val="bg1"/>
                </a:solidFill>
              </a:rPr>
              <a:t>utiliser en priorité les crédits prépayés</a:t>
            </a:r>
            <a:r>
              <a:rPr lang="fr-fr" sz="2000">
                <a:solidFill>
                  <a:schemeClr val="bg1"/>
                </a:solidFill>
              </a:rPr>
              <a:t> avant de passer à la facturation à l’utilisation</a:t>
            </a:r>
          </a:p>
          <a:p>
            <a:pPr>
              <a:spcAft>
                <a:spcPts val="1200"/>
              </a:spcAft>
            </a:pPr>
            <a:r>
              <a:rPr lang="fr-fr" sz="2000">
                <a:solidFill>
                  <a:schemeClr val="bg1"/>
                </a:solidFill>
              </a:rPr>
              <a:t>Lorsque les crédits sont épuisés, la facturation bascule en mode paiement à l’utilisation afin de maintenir le service actif</a:t>
            </a:r>
          </a:p>
          <a:p>
            <a:pPr>
              <a:spcAft>
                <a:spcPts val="1200"/>
              </a:spcAft>
            </a:pPr>
            <a:r>
              <a:rPr lang="fr-fr" sz="2000">
                <a:solidFill>
                  <a:schemeClr val="bg1"/>
                </a:solidFill>
              </a:rPr>
              <a:t>Les crédits sont attribués à l’environnement Microsoft 365 Copilot Chat dans le </a:t>
            </a:r>
            <a:r>
              <a:rPr lang="fr-fr" sz="2000" b="1">
                <a:solidFill>
                  <a:schemeClr val="bg1"/>
                </a:solidFill>
              </a:rPr>
              <a:t>centre d’administration Power Platform</a:t>
            </a:r>
          </a:p>
        </p:txBody>
      </p:sp>
      <p:pic>
        <p:nvPicPr>
          <p:cNvPr id="7" name="Picture 6">
            <a:extLst>
              <a:ext uri="{FF2B5EF4-FFF2-40B4-BE49-F238E27FC236}">
                <a16:creationId xmlns:a16="http://schemas.microsoft.com/office/drawing/2014/main" id="{5D20AE50-8BCE-E57D-946E-DCA97F120776}"/>
              </a:ext>
            </a:extLst>
          </p:cNvPr>
          <p:cNvPicPr>
            <a:picLocks noChangeAspect="1"/>
          </p:cNvPicPr>
          <p:nvPr/>
        </p:nvPicPr>
        <p:blipFill>
          <a:blip r:embed="rId4"/>
          <a:stretch>
            <a:fillRect/>
          </a:stretch>
        </p:blipFill>
        <p:spPr>
          <a:xfrm>
            <a:off x="9079766" y="4331554"/>
            <a:ext cx="2950430" cy="198997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 name="Picture 5">
            <a:extLst>
              <a:ext uri="{FF2B5EF4-FFF2-40B4-BE49-F238E27FC236}">
                <a16:creationId xmlns:a16="http://schemas.microsoft.com/office/drawing/2014/main" id="{1FB6D2AE-0EF3-AFF0-65C6-DB630905C81A}"/>
              </a:ext>
            </a:extLst>
          </p:cNvPr>
          <p:cNvPicPr>
            <a:picLocks noChangeAspect="1"/>
          </p:cNvPicPr>
          <p:nvPr/>
        </p:nvPicPr>
        <p:blipFill>
          <a:blip r:embed="rId5"/>
          <a:stretch>
            <a:fillRect/>
          </a:stretch>
        </p:blipFill>
        <p:spPr>
          <a:xfrm>
            <a:off x="6096000" y="4331554"/>
            <a:ext cx="2792308" cy="147859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43902702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6E876-C4E1-E9A0-DBEF-3495C09DBDB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F065C81-2C23-5D1A-E399-D94CF66C28BC}"/>
              </a:ext>
            </a:extLst>
          </p:cNvPr>
          <p:cNvSpPr>
            <a:spLocks noGrp="1"/>
          </p:cNvSpPr>
          <p:nvPr>
            <p:ph type="title"/>
          </p:nvPr>
        </p:nvSpPr>
        <p:spPr/>
        <p:txBody>
          <a:bodyPr/>
          <a:lstStyle/>
          <a:p>
            <a:r>
              <a:rPr lang="fr-fr"/>
              <a:t>Limites budgétaires des forfaits de facturation dans le MAC</a:t>
            </a:r>
          </a:p>
        </p:txBody>
      </p:sp>
      <p:sp>
        <p:nvSpPr>
          <p:cNvPr id="17" name="TextBox 16">
            <a:extLst>
              <a:ext uri="{FF2B5EF4-FFF2-40B4-BE49-F238E27FC236}">
                <a16:creationId xmlns:a16="http://schemas.microsoft.com/office/drawing/2014/main" id="{BE9705C9-4BA5-46F9-F96A-A3D1D061731B}"/>
              </a:ext>
            </a:extLst>
          </p:cNvPr>
          <p:cNvSpPr txBox="1"/>
          <p:nvPr/>
        </p:nvSpPr>
        <p:spPr>
          <a:xfrm>
            <a:off x="563188" y="1749203"/>
            <a:ext cx="4433355" cy="4524315"/>
          </a:xfrm>
          <a:prstGeom prst="rect">
            <a:avLst/>
          </a:prstGeom>
          <a:noFill/>
        </p:spPr>
        <p:txBody>
          <a:bodyPr wrap="square" lIns="0" tIns="0" rIns="0" bIns="0" anchor="t">
            <a:spAutoFit/>
          </a:bodyPr>
          <a:lstStyle/>
          <a:p>
            <a:pPr>
              <a:spcAft>
                <a:spcPts val="1200"/>
              </a:spcAft>
            </a:pPr>
            <a:r>
              <a:rPr lang="fr-fr" sz="2400">
                <a:solidFill>
                  <a:schemeClr val="bg1"/>
                </a:solidFill>
              </a:rPr>
              <a:t>Les administrateurs peuvent également configurer des limites budgétaires pour les forfaits </a:t>
            </a:r>
            <a:br>
              <a:rPr lang="fr-fr" sz="2400">
                <a:solidFill>
                  <a:schemeClr val="bg1"/>
                </a:solidFill>
              </a:rPr>
            </a:br>
            <a:r>
              <a:rPr lang="fr-fr" sz="2400">
                <a:solidFill>
                  <a:schemeClr val="bg1"/>
                </a:solidFill>
              </a:rPr>
              <a:t>de facturation dans le MAC</a:t>
            </a:r>
          </a:p>
          <a:p>
            <a:pPr>
              <a:spcAft>
                <a:spcPts val="1200"/>
              </a:spcAft>
            </a:pPr>
            <a:r>
              <a:rPr lang="fr-fr" sz="2400">
                <a:solidFill>
                  <a:schemeClr val="bg1"/>
                </a:solidFill>
              </a:rPr>
              <a:t>Envoyer des alertes par e-mail </a:t>
            </a:r>
            <a:br>
              <a:rPr lang="fr-fr" sz="2400">
                <a:solidFill>
                  <a:schemeClr val="bg1"/>
                </a:solidFill>
              </a:rPr>
            </a:br>
            <a:r>
              <a:rPr lang="fr-fr" sz="2400">
                <a:solidFill>
                  <a:schemeClr val="bg1"/>
                </a:solidFill>
              </a:rPr>
              <a:t>à des groupes spécifiques lorsque l’utilisation atteint un pourcentage défini du budget</a:t>
            </a:r>
          </a:p>
          <a:p>
            <a:pPr>
              <a:spcAft>
                <a:spcPts val="1200"/>
              </a:spcAft>
            </a:pPr>
            <a:r>
              <a:rPr lang="fr-fr" sz="2400">
                <a:solidFill>
                  <a:schemeClr val="bg1"/>
                </a:solidFill>
              </a:rPr>
              <a:t>Consulter les dépenses mensuelles</a:t>
            </a:r>
          </a:p>
          <a:p>
            <a:pPr>
              <a:spcAft>
                <a:spcPts val="1200"/>
              </a:spcAft>
            </a:pPr>
            <a:endParaRPr lang="en-US" sz="2400">
              <a:solidFill>
                <a:schemeClr val="bg1"/>
              </a:solidFill>
            </a:endParaRPr>
          </a:p>
        </p:txBody>
      </p:sp>
      <p:pic>
        <p:nvPicPr>
          <p:cNvPr id="6" name="Picture 5">
            <a:extLst>
              <a:ext uri="{FF2B5EF4-FFF2-40B4-BE49-F238E27FC236}">
                <a16:creationId xmlns:a16="http://schemas.microsoft.com/office/drawing/2014/main" id="{509FDE3F-E1FE-2079-81F3-0AC26BE7592F}"/>
              </a:ext>
            </a:extLst>
          </p:cNvPr>
          <p:cNvPicPr>
            <a:picLocks noChangeAspect="1"/>
          </p:cNvPicPr>
          <p:nvPr/>
        </p:nvPicPr>
        <p:blipFill>
          <a:blip r:embed="rId3"/>
          <a:stretch>
            <a:fillRect/>
          </a:stretch>
        </p:blipFill>
        <p:spPr>
          <a:xfrm>
            <a:off x="5325844" y="1749203"/>
            <a:ext cx="2652971" cy="3878711"/>
          </a:xfrm>
          <a:prstGeom prst="roundRect">
            <a:avLst>
              <a:gd name="adj" fmla="val 6009"/>
            </a:avLst>
          </a:prstGeom>
          <a:solidFill>
            <a:srgbClr val="FFFFFF">
              <a:shade val="85000"/>
            </a:srgbClr>
          </a:solidFill>
          <a:ln>
            <a:noFill/>
          </a:ln>
          <a:effectLst>
            <a:reflection blurRad="12700" stA="38000" endPos="28000" dist="5000" dir="5400000" sy="-100000" algn="bl" rotWithShape="0"/>
          </a:effectLst>
        </p:spPr>
      </p:pic>
      <p:pic>
        <p:nvPicPr>
          <p:cNvPr id="11" name="Picture 10">
            <a:extLst>
              <a:ext uri="{FF2B5EF4-FFF2-40B4-BE49-F238E27FC236}">
                <a16:creationId xmlns:a16="http://schemas.microsoft.com/office/drawing/2014/main" id="{95179706-535B-2C32-6C31-A9D681A46AF6}"/>
              </a:ext>
            </a:extLst>
          </p:cNvPr>
          <p:cNvPicPr>
            <a:picLocks noChangeAspect="1"/>
          </p:cNvPicPr>
          <p:nvPr/>
        </p:nvPicPr>
        <p:blipFill>
          <a:blip r:embed="rId4"/>
          <a:stretch>
            <a:fillRect/>
          </a:stretch>
        </p:blipFill>
        <p:spPr>
          <a:xfrm>
            <a:off x="8101982" y="1749203"/>
            <a:ext cx="3959389" cy="3878712"/>
          </a:xfrm>
          <a:prstGeom prst="roundRect">
            <a:avLst>
              <a:gd name="adj" fmla="val 3585"/>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06991981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0E4DC4-DAA1-EDE4-6626-32F293ED2E0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79959E4-3C77-07BF-3EA3-C70B161FB5D3}"/>
              </a:ext>
            </a:extLst>
          </p:cNvPr>
          <p:cNvSpPr>
            <a:spLocks noGrp="1"/>
          </p:cNvSpPr>
          <p:nvPr>
            <p:ph type="title"/>
          </p:nvPr>
        </p:nvSpPr>
        <p:spPr/>
        <p:txBody>
          <a:bodyPr/>
          <a:lstStyle/>
          <a:p>
            <a:r>
              <a:rPr lang="fr-fr"/>
              <a:t>Politiques de facturation à l’utilisation (PPAC)</a:t>
            </a:r>
          </a:p>
        </p:txBody>
      </p:sp>
      <p:sp>
        <p:nvSpPr>
          <p:cNvPr id="17" name="TextBox 16">
            <a:extLst>
              <a:ext uri="{FF2B5EF4-FFF2-40B4-BE49-F238E27FC236}">
                <a16:creationId xmlns:a16="http://schemas.microsoft.com/office/drawing/2014/main" id="{0CC93B93-172C-BB10-0BD0-0A6E77E67504}"/>
              </a:ext>
            </a:extLst>
          </p:cNvPr>
          <p:cNvSpPr txBox="1"/>
          <p:nvPr/>
        </p:nvSpPr>
        <p:spPr>
          <a:xfrm>
            <a:off x="563188" y="1749203"/>
            <a:ext cx="4374572" cy="2185214"/>
          </a:xfrm>
          <a:prstGeom prst="rect">
            <a:avLst/>
          </a:prstGeom>
          <a:noFill/>
        </p:spPr>
        <p:txBody>
          <a:bodyPr wrap="square" lIns="0" tIns="0" rIns="0" bIns="0" anchor="t">
            <a:spAutoFit/>
          </a:bodyPr>
          <a:lstStyle/>
          <a:p>
            <a:pPr>
              <a:spcAft>
                <a:spcPts val="1200"/>
              </a:spcAft>
            </a:pPr>
            <a:r>
              <a:rPr lang="fr-fr" sz="2200">
                <a:solidFill>
                  <a:schemeClr val="bg1"/>
                </a:solidFill>
              </a:rPr>
              <a:t>Les administrateurs peuvent configurer des </a:t>
            </a:r>
            <a:r>
              <a:rPr lang="fr-fr" sz="2200" b="1">
                <a:solidFill>
                  <a:schemeClr val="bg1"/>
                </a:solidFill>
              </a:rPr>
              <a:t>politiques de facturation</a:t>
            </a:r>
            <a:r>
              <a:rPr lang="fr-fr" sz="2200">
                <a:solidFill>
                  <a:schemeClr val="bg1"/>
                </a:solidFill>
              </a:rPr>
              <a:t> à l’utilisation Copilot pour </a:t>
            </a:r>
            <a:r>
              <a:rPr lang="fr-fr" sz="2200" u="sng">
                <a:solidFill>
                  <a:schemeClr val="bg1"/>
                </a:solidFill>
              </a:rPr>
              <a:t>les agents de moteur personnalisé</a:t>
            </a:r>
            <a:endParaRPr lang="en-US" sz="2200">
              <a:solidFill>
                <a:schemeClr val="bg1"/>
              </a:solidFill>
            </a:endParaRPr>
          </a:p>
          <a:p>
            <a:pPr>
              <a:spcAft>
                <a:spcPts val="1200"/>
              </a:spcAft>
            </a:pPr>
            <a:r>
              <a:rPr lang="fr-fr" sz="2200">
                <a:solidFill>
                  <a:schemeClr val="bg1"/>
                </a:solidFill>
              </a:rPr>
              <a:t>Nécessite un abonnement Azure et des groupes de ressources créés pour les politiques</a:t>
            </a:r>
          </a:p>
        </p:txBody>
      </p:sp>
      <p:pic>
        <p:nvPicPr>
          <p:cNvPr id="7" name="Picture 6">
            <a:extLst>
              <a:ext uri="{FF2B5EF4-FFF2-40B4-BE49-F238E27FC236}">
                <a16:creationId xmlns:a16="http://schemas.microsoft.com/office/drawing/2014/main" id="{D0252D85-B469-B7EB-565F-816F3430FA9E}"/>
              </a:ext>
            </a:extLst>
          </p:cNvPr>
          <p:cNvPicPr>
            <a:picLocks noChangeAspect="1"/>
          </p:cNvPicPr>
          <p:nvPr/>
        </p:nvPicPr>
        <p:blipFill>
          <a:blip r:embed="rId3"/>
          <a:stretch>
            <a:fillRect/>
          </a:stretch>
        </p:blipFill>
        <p:spPr>
          <a:xfrm>
            <a:off x="5244997" y="1869039"/>
            <a:ext cx="6822417" cy="3884366"/>
          </a:xfrm>
          <a:prstGeom prst="roundRect">
            <a:avLst>
              <a:gd name="adj" fmla="val 4422"/>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610356403"/>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1CF817-EE85-DBE8-71F9-81C288C614B8}"/>
            </a:ext>
          </a:extLst>
        </p:cNvPr>
        <p:cNvGrpSpPr/>
        <p:nvPr/>
      </p:nvGrpSpPr>
      <p:grpSpPr>
        <a:xfrm>
          <a:off x="0" y="0"/>
          <a:ext cx="0" cy="0"/>
          <a:chOff x="0" y="0"/>
          <a:chExt cx="0" cy="0"/>
        </a:xfrm>
      </p:grpSpPr>
      <p:pic>
        <p:nvPicPr>
          <p:cNvPr id="11" name="Picture 10">
            <a:extLst>
              <a:ext uri="{FF2B5EF4-FFF2-40B4-BE49-F238E27FC236}">
                <a16:creationId xmlns:a16="http://schemas.microsoft.com/office/drawing/2014/main" id="{A07097A9-8E78-40F0-2C80-1015066D8AA2}"/>
              </a:ext>
            </a:extLst>
          </p:cNvPr>
          <p:cNvPicPr>
            <a:picLocks noChangeAspect="1"/>
          </p:cNvPicPr>
          <p:nvPr/>
        </p:nvPicPr>
        <p:blipFill>
          <a:blip r:embed="rId3"/>
          <a:stretch>
            <a:fillRect/>
          </a:stretch>
        </p:blipFill>
        <p:spPr>
          <a:xfrm>
            <a:off x="7988739" y="1403440"/>
            <a:ext cx="4002896" cy="2148531"/>
          </a:xfrm>
          <a:prstGeom prst="roundRect">
            <a:avLst>
              <a:gd name="adj" fmla="val 5089"/>
            </a:avLst>
          </a:prstGeom>
          <a:solidFill>
            <a:srgbClr val="FFFFFF">
              <a:shade val="85000"/>
            </a:srgbClr>
          </a:solidFill>
          <a:ln>
            <a:noFill/>
          </a:ln>
          <a:effectLst>
            <a:reflection blurRad="12700" stA="38000" endPos="28000" dist="5000" dir="5400000" sy="-100000" algn="bl" rotWithShape="0"/>
          </a:effectLst>
        </p:spPr>
      </p:pic>
      <p:sp>
        <p:nvSpPr>
          <p:cNvPr id="4" name="Title 3">
            <a:extLst>
              <a:ext uri="{FF2B5EF4-FFF2-40B4-BE49-F238E27FC236}">
                <a16:creationId xmlns:a16="http://schemas.microsoft.com/office/drawing/2014/main" id="{061B22BF-D277-DF70-4C2D-B729352DF87D}"/>
              </a:ext>
            </a:extLst>
          </p:cNvPr>
          <p:cNvSpPr>
            <a:spLocks noGrp="1"/>
          </p:cNvSpPr>
          <p:nvPr>
            <p:ph type="title"/>
          </p:nvPr>
        </p:nvSpPr>
        <p:spPr/>
        <p:txBody>
          <a:bodyPr/>
          <a:lstStyle/>
          <a:p>
            <a:r>
              <a:rPr lang="fr-fr"/>
              <a:t>Environnements Power Platform</a:t>
            </a:r>
          </a:p>
        </p:txBody>
      </p:sp>
      <p:sp>
        <p:nvSpPr>
          <p:cNvPr id="17" name="TextBox 16">
            <a:extLst>
              <a:ext uri="{FF2B5EF4-FFF2-40B4-BE49-F238E27FC236}">
                <a16:creationId xmlns:a16="http://schemas.microsoft.com/office/drawing/2014/main" id="{FDD27F90-53FF-A151-5D4E-B2C575C954E6}"/>
              </a:ext>
            </a:extLst>
          </p:cNvPr>
          <p:cNvSpPr txBox="1"/>
          <p:nvPr/>
        </p:nvSpPr>
        <p:spPr>
          <a:xfrm>
            <a:off x="563188" y="1749203"/>
            <a:ext cx="7245998" cy="4796185"/>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800"/>
              </a:spcAft>
              <a:buClrTx/>
              <a:buSzTx/>
              <a:buFontTx/>
              <a:buNone/>
              <a:tabLst/>
              <a:defRPr/>
            </a:pPr>
            <a:r>
              <a:rPr kumimoji="0" lang="fr-fr" sz="1900" b="0" i="0" u="none" strike="noStrike" kern="1200" cap="none" spc="0" normalizeH="0" baseline="0" noProof="0">
                <a:ln>
                  <a:noFill/>
                </a:ln>
                <a:solidFill>
                  <a:schemeClr val="bg1"/>
                </a:solidFill>
                <a:effectLst/>
                <a:uLnTx/>
                <a:uFillTx/>
                <a:latin typeface="Segoe UI"/>
                <a:ea typeface="+mn-ea"/>
                <a:cs typeface="+mn-cs"/>
              </a:rPr>
              <a:t>Un environnement est un espace pour stocker, gérer et partager </a:t>
            </a:r>
            <a:br>
              <a:rPr kumimoji="0" lang="fr-fr" sz="1900" b="0" i="0" u="none" strike="noStrike" kern="1200" cap="none" spc="0" normalizeH="0" baseline="0" noProof="0">
                <a:ln>
                  <a:noFill/>
                </a:ln>
                <a:solidFill>
                  <a:schemeClr val="bg1"/>
                </a:solidFill>
                <a:effectLst/>
                <a:uLnTx/>
                <a:uFillTx/>
                <a:latin typeface="Segoe UI"/>
                <a:ea typeface="+mn-ea"/>
                <a:cs typeface="+mn-cs"/>
              </a:rPr>
            </a:br>
            <a:r>
              <a:rPr kumimoji="0" lang="fr-fr" sz="1900" b="0" i="0" u="none" strike="noStrike" kern="1200" cap="none" spc="0" normalizeH="0" baseline="0" noProof="0">
                <a:ln>
                  <a:noFill/>
                </a:ln>
                <a:solidFill>
                  <a:schemeClr val="bg1"/>
                </a:solidFill>
                <a:effectLst/>
                <a:uLnTx/>
                <a:uFillTx/>
                <a:latin typeface="Segoe UI"/>
                <a:ea typeface="+mn-ea"/>
                <a:cs typeface="+mn-cs"/>
              </a:rPr>
              <a:t>les données métier de votre organisation </a:t>
            </a:r>
          </a:p>
          <a:p>
            <a:pPr marL="0" marR="0" lvl="0" indent="0" algn="l" defTabSz="457200" rtl="0" eaLnBrk="1" fontAlgn="auto" latinLnBrk="0" hangingPunct="1">
              <a:lnSpc>
                <a:spcPct val="100000"/>
              </a:lnSpc>
              <a:spcBef>
                <a:spcPts val="0"/>
              </a:spcBef>
              <a:spcAft>
                <a:spcPts val="800"/>
              </a:spcAft>
              <a:buClrTx/>
              <a:buSzTx/>
              <a:buFontTx/>
              <a:buNone/>
              <a:tabLst/>
              <a:defRPr/>
            </a:pPr>
            <a:r>
              <a:rPr kumimoji="0" lang="fr-fr" sz="1900" b="0" i="0" u="none" strike="noStrike" kern="1200" cap="none" spc="0" normalizeH="0" baseline="0" noProof="0">
                <a:ln>
                  <a:noFill/>
                </a:ln>
                <a:solidFill>
                  <a:schemeClr val="bg1"/>
                </a:solidFill>
                <a:effectLst/>
                <a:uLnTx/>
                <a:uFillTx/>
                <a:latin typeface="Segoe UI"/>
                <a:ea typeface="+mn-ea"/>
                <a:cs typeface="+mn-cs"/>
              </a:rPr>
              <a:t>Les agents créés dans Copilot Studio sont stockés dans un environnement, au même titre que les applications Power </a:t>
            </a:r>
            <a:br>
              <a:rPr kumimoji="0" lang="fr-fr" sz="1900" b="0" i="0" u="none" strike="noStrike" kern="1200" cap="none" spc="0" normalizeH="0" baseline="0" noProof="0">
                <a:ln>
                  <a:noFill/>
                </a:ln>
                <a:solidFill>
                  <a:schemeClr val="bg1"/>
                </a:solidFill>
                <a:effectLst/>
                <a:uLnTx/>
                <a:uFillTx/>
                <a:latin typeface="Segoe UI"/>
                <a:ea typeface="+mn-ea"/>
                <a:cs typeface="+mn-cs"/>
              </a:rPr>
            </a:br>
            <a:r>
              <a:rPr kumimoji="0" lang="fr-fr" sz="1900" b="0" i="0" u="none" strike="noStrike" kern="1200" cap="none" spc="0" normalizeH="0" baseline="0" noProof="0">
                <a:ln>
                  <a:noFill/>
                </a:ln>
                <a:solidFill>
                  <a:schemeClr val="bg1"/>
                </a:solidFill>
                <a:effectLst/>
                <a:uLnTx/>
                <a:uFillTx/>
                <a:latin typeface="Segoe UI"/>
                <a:ea typeface="+mn-ea"/>
                <a:cs typeface="+mn-cs"/>
              </a:rPr>
              <a:t>Apps et les flux Power Automate, par exemple</a:t>
            </a:r>
          </a:p>
          <a:p>
            <a:pPr marL="0" marR="0" lvl="0" indent="0" algn="l" defTabSz="457200" rtl="0" eaLnBrk="1" fontAlgn="auto" latinLnBrk="0" hangingPunct="1">
              <a:lnSpc>
                <a:spcPct val="100000"/>
              </a:lnSpc>
              <a:spcBef>
                <a:spcPts val="0"/>
              </a:spcBef>
              <a:spcAft>
                <a:spcPts val="800"/>
              </a:spcAft>
              <a:buClrTx/>
              <a:buSzTx/>
              <a:buFontTx/>
              <a:buNone/>
              <a:tabLst/>
              <a:defRPr/>
            </a:pPr>
            <a:r>
              <a:rPr kumimoji="0" lang="fr-fr" sz="1900" b="0" i="0" u="none" strike="noStrike" kern="1200" cap="none" spc="0" normalizeH="0" baseline="0" noProof="0">
                <a:ln>
                  <a:noFill/>
                </a:ln>
                <a:solidFill>
                  <a:schemeClr val="bg1"/>
                </a:solidFill>
                <a:effectLst/>
                <a:uLnTx/>
                <a:uFillTx/>
                <a:latin typeface="Segoe UI"/>
                <a:ea typeface="+mn-ea"/>
                <a:cs typeface="+mn-cs"/>
              </a:rPr>
              <a:t>Les environnements peuvent avoir divers rôles, exigences </a:t>
            </a:r>
            <a:br>
              <a:rPr kumimoji="0" lang="fr-fr" sz="1900" b="0" i="0" u="none" strike="noStrike" kern="1200" cap="none" spc="0" normalizeH="0" baseline="0" noProof="0">
                <a:ln>
                  <a:noFill/>
                </a:ln>
                <a:solidFill>
                  <a:schemeClr val="bg1"/>
                </a:solidFill>
                <a:effectLst/>
                <a:uLnTx/>
                <a:uFillTx/>
                <a:latin typeface="Segoe UI"/>
                <a:ea typeface="+mn-ea"/>
                <a:cs typeface="+mn-cs"/>
              </a:rPr>
            </a:br>
            <a:r>
              <a:rPr kumimoji="0" lang="fr-fr" sz="1900" b="0" i="0" u="none" strike="noStrike" kern="1200" cap="none" spc="0" normalizeH="0" baseline="0" noProof="0">
                <a:ln>
                  <a:noFill/>
                </a:ln>
                <a:solidFill>
                  <a:schemeClr val="bg1"/>
                </a:solidFill>
                <a:effectLst/>
                <a:uLnTx/>
                <a:uFillTx/>
                <a:latin typeface="Segoe UI"/>
                <a:ea typeface="+mn-ea"/>
                <a:cs typeface="+mn-cs"/>
              </a:rPr>
              <a:t>de sécurité et publics cibles</a:t>
            </a:r>
          </a:p>
          <a:p>
            <a:pPr marL="0" marR="0" lvl="0" indent="0" algn="l" defTabSz="457200" rtl="0" eaLnBrk="1" fontAlgn="auto" latinLnBrk="0" hangingPunct="1">
              <a:lnSpc>
                <a:spcPct val="100000"/>
              </a:lnSpc>
              <a:spcBef>
                <a:spcPts val="0"/>
              </a:spcBef>
              <a:spcAft>
                <a:spcPts val="800"/>
              </a:spcAft>
              <a:buClrTx/>
              <a:buSzTx/>
              <a:buFontTx/>
              <a:buNone/>
              <a:tabLst/>
              <a:defRPr/>
            </a:pPr>
            <a:r>
              <a:rPr kumimoji="0" lang="fr-fr" sz="1900" b="1" i="0" u="none" strike="noStrike" kern="1200" cap="none" spc="0" normalizeH="0" baseline="0" noProof="0">
                <a:ln>
                  <a:noFill/>
                </a:ln>
                <a:solidFill>
                  <a:schemeClr val="bg1"/>
                </a:solidFill>
                <a:effectLst/>
                <a:uLnTx/>
                <a:uFillTx/>
                <a:latin typeface="Segoe UI"/>
                <a:ea typeface="+mn-ea"/>
                <a:cs typeface="+mn-cs"/>
              </a:rPr>
              <a:t>Les environnements managés </a:t>
            </a:r>
            <a:r>
              <a:rPr lang="fr-fr" sz="1900">
                <a:solidFill>
                  <a:schemeClr val="bg1"/>
                </a:solidFill>
                <a:latin typeface="Segoe UI"/>
              </a:rPr>
              <a:t>fournissent</a:t>
            </a:r>
            <a:r>
              <a:rPr kumimoji="0" lang="fr-fr" sz="1900" b="0" i="0" u="none" strike="noStrike" kern="1200" cap="none" spc="0" normalizeH="0" baseline="0" noProof="0">
                <a:ln>
                  <a:noFill/>
                </a:ln>
                <a:solidFill>
                  <a:schemeClr val="bg1"/>
                </a:solidFill>
                <a:effectLst/>
                <a:uLnTx/>
                <a:uFillTx/>
                <a:latin typeface="Segoe UI"/>
                <a:ea typeface="+mn-ea"/>
                <a:cs typeface="+mn-cs"/>
              </a:rPr>
              <a:t> un ensemble de fonctionnalités premium qui permettent aux administrateurs </a:t>
            </a:r>
            <a:br>
              <a:rPr kumimoji="0" lang="fr-fr" sz="1900" b="0" i="0" u="none" strike="noStrike" kern="1200" cap="none" spc="0" normalizeH="0" baseline="0" noProof="0">
                <a:ln>
                  <a:noFill/>
                </a:ln>
                <a:solidFill>
                  <a:schemeClr val="bg1"/>
                </a:solidFill>
                <a:effectLst/>
                <a:uLnTx/>
                <a:uFillTx/>
                <a:latin typeface="Segoe UI"/>
                <a:ea typeface="+mn-ea"/>
                <a:cs typeface="+mn-cs"/>
              </a:rPr>
            </a:br>
            <a:r>
              <a:rPr kumimoji="0" lang="fr-fr" sz="1900" b="0" i="0" u="none" strike="noStrike" kern="1200" cap="none" spc="0" normalizeH="0" baseline="0" noProof="0">
                <a:ln>
                  <a:noFill/>
                </a:ln>
                <a:solidFill>
                  <a:schemeClr val="bg1"/>
                </a:solidFill>
                <a:effectLst/>
                <a:uLnTx/>
                <a:uFillTx/>
                <a:latin typeface="Segoe UI"/>
                <a:ea typeface="+mn-ea"/>
                <a:cs typeface="+mn-cs"/>
              </a:rPr>
              <a:t>de gérer Power Platform à grande échelle avec plus de contrôle, moins d’efforts et plus d’informations</a:t>
            </a:r>
          </a:p>
          <a:p>
            <a:pPr marL="0" marR="0" lvl="0" indent="0" algn="l" defTabSz="457200" rtl="0" eaLnBrk="1" fontAlgn="auto" latinLnBrk="0" hangingPunct="1">
              <a:lnSpc>
                <a:spcPct val="100000"/>
              </a:lnSpc>
              <a:spcBef>
                <a:spcPts val="0"/>
              </a:spcBef>
              <a:spcAft>
                <a:spcPts val="800"/>
              </a:spcAft>
              <a:buClrTx/>
              <a:buSzTx/>
              <a:buFontTx/>
              <a:buNone/>
              <a:tabLst/>
              <a:defRPr/>
            </a:pPr>
            <a:r>
              <a:rPr lang="fr-fr" sz="1900" b="1">
                <a:solidFill>
                  <a:schemeClr val="bg1"/>
                </a:solidFill>
                <a:latin typeface="Segoe UI"/>
              </a:rPr>
              <a:t>Les groupes d’environnement </a:t>
            </a:r>
            <a:r>
              <a:rPr lang="fr-fr" sz="1900">
                <a:solidFill>
                  <a:schemeClr val="bg1"/>
                </a:solidFill>
                <a:latin typeface="Segoe UI"/>
              </a:rPr>
              <a:t>permettent aux administrateurs </a:t>
            </a:r>
            <a:br>
              <a:rPr lang="fr-fr" sz="1900">
                <a:solidFill>
                  <a:schemeClr val="bg1"/>
                </a:solidFill>
                <a:latin typeface="Segoe UI"/>
              </a:rPr>
            </a:br>
            <a:r>
              <a:rPr lang="fr-fr" sz="1900">
                <a:solidFill>
                  <a:schemeClr val="bg1"/>
                </a:solidFill>
                <a:latin typeface="Segoe UI"/>
              </a:rPr>
              <a:t>de définir des règles (paramètres au niveau de l’environnement) </a:t>
            </a:r>
            <a:br>
              <a:rPr lang="fr-fr" sz="1900">
                <a:solidFill>
                  <a:schemeClr val="bg1"/>
                </a:solidFill>
                <a:latin typeface="Segoe UI"/>
              </a:rPr>
            </a:br>
            <a:r>
              <a:rPr lang="fr-fr" sz="1900">
                <a:solidFill>
                  <a:schemeClr val="bg1"/>
                </a:solidFill>
                <a:latin typeface="Segoe UI"/>
              </a:rPr>
              <a:t>qui sont appliquées automatiquement aux nouveaux environnements et aux environnements existants</a:t>
            </a:r>
            <a:endParaRPr kumimoji="0" lang="en-US" sz="1900" b="0" i="0" u="none" strike="noStrike" kern="1200" cap="none" spc="0" normalizeH="0" baseline="0" noProof="0">
              <a:ln>
                <a:noFill/>
              </a:ln>
              <a:solidFill>
                <a:schemeClr val="bg1"/>
              </a:solidFill>
              <a:effectLst/>
              <a:uLnTx/>
              <a:uFillTx/>
              <a:latin typeface="Segoe UI"/>
              <a:ea typeface="+mn-ea"/>
              <a:cs typeface="+mn-cs"/>
            </a:endParaRPr>
          </a:p>
        </p:txBody>
      </p:sp>
      <p:pic>
        <p:nvPicPr>
          <p:cNvPr id="5" name="Picture 4">
            <a:extLst>
              <a:ext uri="{FF2B5EF4-FFF2-40B4-BE49-F238E27FC236}">
                <a16:creationId xmlns:a16="http://schemas.microsoft.com/office/drawing/2014/main" id="{A56A7B29-849C-02DE-48E2-274D66C92214}"/>
              </a:ext>
            </a:extLst>
          </p:cNvPr>
          <p:cNvPicPr>
            <a:picLocks noChangeAspect="1"/>
          </p:cNvPicPr>
          <p:nvPr/>
        </p:nvPicPr>
        <p:blipFill>
          <a:blip r:embed="rId4"/>
          <a:stretch>
            <a:fillRect/>
          </a:stretch>
        </p:blipFill>
        <p:spPr>
          <a:xfrm>
            <a:off x="7988739" y="3734851"/>
            <a:ext cx="4002896" cy="2734484"/>
          </a:xfrm>
          <a:prstGeom prst="roundRect">
            <a:avLst>
              <a:gd name="adj" fmla="val 4660"/>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8327221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0884CA-71E7-EA08-2214-154BFB53CF0B}"/>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53B88392-DF53-1A34-BBAD-E236CBF5CF57}"/>
              </a:ext>
            </a:extLst>
          </p:cNvPr>
          <p:cNvPicPr>
            <a:picLocks noChangeAspect="1"/>
          </p:cNvPicPr>
          <p:nvPr/>
        </p:nvPicPr>
        <p:blipFill>
          <a:blip r:embed="rId3"/>
          <a:stretch>
            <a:fillRect/>
          </a:stretch>
        </p:blipFill>
        <p:spPr>
          <a:xfrm>
            <a:off x="8437969" y="1642166"/>
            <a:ext cx="3311503" cy="3645079"/>
          </a:xfrm>
          <a:prstGeom prst="roundRect">
            <a:avLst>
              <a:gd name="adj" fmla="val 4255"/>
            </a:avLst>
          </a:prstGeom>
          <a:solidFill>
            <a:srgbClr val="FFFFFF">
              <a:shade val="85000"/>
            </a:srgbClr>
          </a:solidFill>
          <a:ln>
            <a:noFill/>
          </a:ln>
          <a:effectLst>
            <a:reflection blurRad="12700" stA="38000" endPos="28000" dist="5000" dir="5400000" sy="-100000" algn="bl" rotWithShape="0"/>
          </a:effectLst>
        </p:spPr>
      </p:pic>
      <p:sp>
        <p:nvSpPr>
          <p:cNvPr id="4" name="Title 3">
            <a:extLst>
              <a:ext uri="{FF2B5EF4-FFF2-40B4-BE49-F238E27FC236}">
                <a16:creationId xmlns:a16="http://schemas.microsoft.com/office/drawing/2014/main" id="{CFD301DF-475C-D817-989A-611952ACFE8E}"/>
              </a:ext>
            </a:extLst>
          </p:cNvPr>
          <p:cNvSpPr>
            <a:spLocks noGrp="1"/>
          </p:cNvSpPr>
          <p:nvPr>
            <p:ph type="title"/>
          </p:nvPr>
        </p:nvSpPr>
        <p:spPr>
          <a:xfrm>
            <a:off x="588263" y="485481"/>
            <a:ext cx="11415478" cy="498598"/>
          </a:xfrm>
        </p:spPr>
        <p:txBody>
          <a:bodyPr/>
          <a:lstStyle/>
          <a:p>
            <a:r>
              <a:rPr lang="fr-fr"/>
              <a:t>Bloquer et limiter le partage des agents </a:t>
            </a:r>
            <a:r>
              <a:rPr lang="fr-fr" err="1"/>
              <a:t>Copilot</a:t>
            </a:r>
            <a:r>
              <a:rPr lang="fr-fr"/>
              <a:t> Studio</a:t>
            </a:r>
          </a:p>
        </p:txBody>
      </p:sp>
      <p:sp>
        <p:nvSpPr>
          <p:cNvPr id="17" name="TextBox 16">
            <a:extLst>
              <a:ext uri="{FF2B5EF4-FFF2-40B4-BE49-F238E27FC236}">
                <a16:creationId xmlns:a16="http://schemas.microsoft.com/office/drawing/2014/main" id="{433790E6-7A19-DC4A-CA1C-039CAC8C0DEA}"/>
              </a:ext>
            </a:extLst>
          </p:cNvPr>
          <p:cNvSpPr txBox="1"/>
          <p:nvPr/>
        </p:nvSpPr>
        <p:spPr>
          <a:xfrm>
            <a:off x="563187" y="1749203"/>
            <a:ext cx="7630554" cy="4698722"/>
          </a:xfrm>
          <a:prstGeom prst="rect">
            <a:avLst/>
          </a:prstGeom>
          <a:noFill/>
        </p:spPr>
        <p:txBody>
          <a:bodyPr wrap="square" lIns="0" tIns="0" rIns="0" bIns="0" anchor="t">
            <a:spAutoFit/>
          </a:bodyPr>
          <a:lstStyle/>
          <a:p>
            <a:pPr defTabSz="457200">
              <a:spcAft>
                <a:spcPts val="800"/>
              </a:spcAft>
              <a:defRPr/>
            </a:pPr>
            <a:r>
              <a:rPr lang="fr-fr" sz="2000" spc="-20">
                <a:solidFill>
                  <a:schemeClr val="bg1"/>
                </a:solidFill>
              </a:rPr>
              <a:t>Les limites de partage constituent un nouveau type de règle de sécurité disponible pour les administrateurs dans le centre d’administration Power Platform pour les </a:t>
            </a:r>
            <a:r>
              <a:rPr lang="fr-fr" sz="2000" b="1" spc="-20">
                <a:solidFill>
                  <a:schemeClr val="bg1"/>
                </a:solidFill>
              </a:rPr>
              <a:t>environnements managés</a:t>
            </a:r>
          </a:p>
          <a:p>
            <a:pPr defTabSz="457200">
              <a:spcAft>
                <a:spcPts val="800"/>
              </a:spcAft>
              <a:defRPr/>
            </a:pPr>
            <a:r>
              <a:rPr lang="fr-fr" sz="2000">
                <a:solidFill>
                  <a:schemeClr val="bg1"/>
                </a:solidFill>
              </a:rPr>
              <a:t>Permet aux administrateurs de bloquer et de limiter le partage des agents créés dans Copilot Studio, de la manière suivante :</a:t>
            </a:r>
          </a:p>
          <a:p>
            <a:pPr marL="342900" indent="-342900" defTabSz="457200">
              <a:spcAft>
                <a:spcPts val="600"/>
              </a:spcAft>
              <a:buFont typeface="+mj-lt"/>
              <a:buAutoNum type="arabicPeriod"/>
              <a:defRPr/>
            </a:pPr>
            <a:r>
              <a:rPr lang="fr-fr" sz="1600">
                <a:solidFill>
                  <a:schemeClr val="bg1"/>
                </a:solidFill>
                <a:latin typeface="Segoe UI"/>
                <a:cs typeface="Segoe UI"/>
              </a:rPr>
              <a:t>Autoriser ou bloquer le partage d’agents par les créateurs avec des individus </a:t>
            </a:r>
            <a:br>
              <a:rPr lang="fr-fr" sz="1600">
                <a:solidFill>
                  <a:schemeClr val="bg1"/>
                </a:solidFill>
                <a:latin typeface="Segoe UI"/>
                <a:cs typeface="Segoe UI"/>
              </a:rPr>
            </a:br>
            <a:r>
              <a:rPr lang="fr-fr" sz="1600">
                <a:solidFill>
                  <a:schemeClr val="bg1"/>
                </a:solidFill>
                <a:latin typeface="Segoe UI"/>
                <a:cs typeface="Segoe UI"/>
              </a:rPr>
              <a:t>en tant qu’éditeurs</a:t>
            </a:r>
          </a:p>
          <a:p>
            <a:pPr marL="342900" indent="-342900" defTabSz="457200">
              <a:spcAft>
                <a:spcPts val="600"/>
              </a:spcAft>
              <a:buFont typeface="+mj-lt"/>
              <a:buAutoNum type="arabicPeriod"/>
              <a:defRPr/>
            </a:pPr>
            <a:r>
              <a:rPr lang="fr-fr" sz="1600">
                <a:solidFill>
                  <a:schemeClr val="bg1"/>
                </a:solidFill>
                <a:latin typeface="Segoe UI"/>
                <a:cs typeface="Segoe UI"/>
              </a:rPr>
              <a:t>Autoriser ou bloquer le partage d’agents par les créateurs avec des lecteurs. </a:t>
            </a:r>
            <a:br>
              <a:rPr lang="fr-fr" sz="1600">
                <a:solidFill>
                  <a:schemeClr val="bg1"/>
                </a:solidFill>
                <a:latin typeface="Segoe UI"/>
                <a:cs typeface="Segoe UI"/>
              </a:rPr>
            </a:br>
            <a:r>
              <a:rPr lang="fr-fr" sz="1600">
                <a:solidFill>
                  <a:schemeClr val="bg1"/>
                </a:solidFill>
                <a:latin typeface="Segoe UI"/>
                <a:cs typeface="Segoe UI"/>
              </a:rPr>
              <a:t>Cela s’applique aux individus et aux groupes de sécurité</a:t>
            </a:r>
          </a:p>
          <a:p>
            <a:pPr marL="342900" indent="-342900" defTabSz="457200">
              <a:spcAft>
                <a:spcPts val="600"/>
              </a:spcAft>
              <a:buFont typeface="+mj-lt"/>
              <a:buAutoNum type="arabicPeriod"/>
              <a:defRPr/>
            </a:pPr>
            <a:r>
              <a:rPr lang="fr-fr" sz="1600">
                <a:solidFill>
                  <a:schemeClr val="bg1"/>
                </a:solidFill>
                <a:latin typeface="Segoe UI"/>
                <a:cs typeface="Segoe UI"/>
              </a:rPr>
              <a:t>Autoriser ou bloquer le partage d’agents par les créateurs avec des groupes </a:t>
            </a:r>
            <a:br>
              <a:rPr lang="fr-fr" sz="1600">
                <a:solidFill>
                  <a:schemeClr val="bg1"/>
                </a:solidFill>
                <a:latin typeface="Segoe UI"/>
                <a:cs typeface="Segoe UI"/>
              </a:rPr>
            </a:br>
            <a:r>
              <a:rPr lang="fr-fr" sz="1600">
                <a:solidFill>
                  <a:schemeClr val="bg1"/>
                </a:solidFill>
                <a:latin typeface="Segoe UI"/>
                <a:cs typeface="Segoe UI"/>
              </a:rPr>
              <a:t>de sécurité</a:t>
            </a:r>
          </a:p>
          <a:p>
            <a:pPr marL="342900" indent="-342900" defTabSz="457200">
              <a:spcAft>
                <a:spcPts val="600"/>
              </a:spcAft>
              <a:buFont typeface="+mj-lt"/>
              <a:buAutoNum type="arabicPeriod"/>
              <a:defRPr/>
            </a:pPr>
            <a:r>
              <a:rPr lang="fr-fr" sz="1600">
                <a:solidFill>
                  <a:schemeClr val="bg1"/>
                </a:solidFill>
                <a:latin typeface="Segoe UI"/>
                <a:cs typeface="Segoe UI"/>
              </a:rPr>
              <a:t>Définir une limite numérique du nombre de lecteurs avec lesquels un agent </a:t>
            </a:r>
            <a:br>
              <a:rPr lang="fr-fr" sz="1600">
                <a:solidFill>
                  <a:schemeClr val="bg1"/>
                </a:solidFill>
                <a:latin typeface="Segoe UI"/>
                <a:cs typeface="Segoe UI"/>
              </a:rPr>
            </a:br>
            <a:r>
              <a:rPr lang="fr-fr" sz="1600">
                <a:solidFill>
                  <a:schemeClr val="bg1"/>
                </a:solidFill>
                <a:latin typeface="Segoe UI"/>
                <a:cs typeface="Segoe UI"/>
              </a:rPr>
              <a:t>peut être partagé</a:t>
            </a:r>
          </a:p>
          <a:p>
            <a:pPr defTabSz="457200">
              <a:spcAft>
                <a:spcPts val="1200"/>
              </a:spcAft>
              <a:defRPr/>
            </a:pPr>
            <a:r>
              <a:rPr lang="fr-fr" sz="2000">
                <a:solidFill>
                  <a:schemeClr val="bg1"/>
                </a:solidFill>
              </a:rPr>
              <a:t>Cela n’affecte pas la publication dans le catalogue d’applications </a:t>
            </a:r>
            <a:br>
              <a:rPr lang="fr-fr" sz="2000">
                <a:solidFill>
                  <a:schemeClr val="bg1"/>
                </a:solidFill>
              </a:rPr>
            </a:br>
            <a:r>
              <a:rPr lang="fr-fr" sz="2000">
                <a:solidFill>
                  <a:schemeClr val="bg1"/>
                </a:solidFill>
              </a:rPr>
              <a:t>du locataire</a:t>
            </a:r>
          </a:p>
        </p:txBody>
      </p:sp>
      <p:pic>
        <p:nvPicPr>
          <p:cNvPr id="3" name="Picture 2" descr="Capture d’écran des autorisations pour l’agent">
            <a:extLst>
              <a:ext uri="{FF2B5EF4-FFF2-40B4-BE49-F238E27FC236}">
                <a16:creationId xmlns:a16="http://schemas.microsoft.com/office/drawing/2014/main" id="{42C0561F-9D78-892F-9AFE-712205609EA5}"/>
              </a:ext>
            </a:extLst>
          </p:cNvPr>
          <p:cNvPicPr>
            <a:picLocks noChangeAspect="1"/>
          </p:cNvPicPr>
          <p:nvPr/>
        </p:nvPicPr>
        <p:blipFill rotWithShape="1">
          <a:blip r:embed="rId4"/>
          <a:srcRect l="-1918" t="-1918" r="-1918" b="-1918"/>
          <a:stretch/>
        </p:blipFill>
        <p:spPr>
          <a:xfrm>
            <a:off x="8437968" y="5356695"/>
            <a:ext cx="3311503" cy="1018024"/>
          </a:xfrm>
          <a:prstGeom prst="roundRect">
            <a:avLst>
              <a:gd name="adj" fmla="val 16293"/>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96379201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29F9FEAD-A6B6-504E-CFA2-B4BAD2C42276}"/>
              </a:ext>
            </a:extLst>
          </p:cNvPr>
          <p:cNvSpPr>
            <a:spLocks noGrp="1"/>
          </p:cNvSpPr>
          <p:nvPr>
            <p:ph idx="1"/>
          </p:nvPr>
        </p:nvSpPr>
        <p:spPr>
          <a:xfrm>
            <a:off x="5636028" y="1526409"/>
            <a:ext cx="6197383" cy="4031873"/>
          </a:xfrm>
        </p:spPr>
        <p:txBody>
          <a:bodyPr/>
          <a:lstStyle/>
          <a:p>
            <a:pPr marL="514350" indent="-514350">
              <a:spcBef>
                <a:spcPts val="600"/>
              </a:spcBef>
              <a:spcAft>
                <a:spcPts val="600"/>
              </a:spcAft>
              <a:buAutoNum type="arabicPlain"/>
            </a:pPr>
            <a:r>
              <a:rPr lang="fr-fr" sz="2400"/>
              <a:t>Gamme d’agents</a:t>
            </a:r>
          </a:p>
          <a:p>
            <a:pPr marL="514350" indent="-514350">
              <a:spcBef>
                <a:spcPts val="600"/>
              </a:spcBef>
              <a:spcAft>
                <a:spcPts val="600"/>
              </a:spcAft>
              <a:buAutoNum type="arabicPlain"/>
            </a:pPr>
            <a:r>
              <a:rPr lang="fr-fr" sz="2400"/>
              <a:t>Contrôles de gestion </a:t>
            </a:r>
          </a:p>
          <a:p>
            <a:pPr marL="514350" indent="-514350">
              <a:spcBef>
                <a:spcPts val="600"/>
              </a:spcBef>
              <a:spcAft>
                <a:spcPts val="600"/>
              </a:spcAft>
              <a:buAutoNum type="arabicPlain"/>
            </a:pPr>
            <a:r>
              <a:rPr lang="fr-fr" sz="2400"/>
              <a:t>Sécurité et gouvernance</a:t>
            </a:r>
          </a:p>
          <a:p>
            <a:pPr marL="514350" indent="-514350">
              <a:spcBef>
                <a:spcPts val="600"/>
              </a:spcBef>
              <a:spcAft>
                <a:spcPts val="600"/>
              </a:spcAft>
              <a:buAutoNum type="arabicPlain"/>
            </a:pPr>
            <a:r>
              <a:rPr lang="fr-fr" sz="2400"/>
              <a:t>Mesure et suivi </a:t>
            </a:r>
          </a:p>
          <a:p>
            <a:pPr marL="514350" indent="-514350">
              <a:spcBef>
                <a:spcPts val="600"/>
              </a:spcBef>
              <a:spcAft>
                <a:spcPts val="600"/>
              </a:spcAft>
              <a:buFontTx/>
              <a:buAutoNum type="arabicPlain"/>
            </a:pPr>
            <a:r>
              <a:rPr lang="fr-fr" sz="2400"/>
              <a:t>Agent 365</a:t>
            </a:r>
          </a:p>
          <a:p>
            <a:pPr marL="514350" indent="-514350">
              <a:spcBef>
                <a:spcPts val="600"/>
              </a:spcBef>
              <a:spcAft>
                <a:spcPts val="600"/>
              </a:spcAft>
              <a:buAutoNum type="arabicPlain"/>
            </a:pPr>
            <a:r>
              <a:rPr lang="fr-fr" sz="2400"/>
              <a:t>Ressources</a:t>
            </a:r>
          </a:p>
          <a:p>
            <a:pPr marL="514350" indent="-514350">
              <a:spcBef>
                <a:spcPts val="600"/>
              </a:spcBef>
              <a:spcAft>
                <a:spcPts val="600"/>
              </a:spcAft>
              <a:buAutoNum type="arabicPlain"/>
            </a:pPr>
            <a:r>
              <a:rPr lang="fr-fr" sz="2400"/>
              <a:t>En savoir plus</a:t>
            </a:r>
          </a:p>
          <a:p>
            <a:pPr marL="514350" indent="-514350">
              <a:spcBef>
                <a:spcPts val="600"/>
              </a:spcBef>
              <a:spcAft>
                <a:spcPts val="600"/>
              </a:spcAft>
              <a:buAutoNum type="arabicPlain"/>
            </a:pPr>
            <a:r>
              <a:rPr lang="fr-fr" sz="2400"/>
              <a:t>Questions et réponses</a:t>
            </a:r>
          </a:p>
        </p:txBody>
      </p:sp>
      <p:sp>
        <p:nvSpPr>
          <p:cNvPr id="9" name="Title 8">
            <a:extLst>
              <a:ext uri="{FF2B5EF4-FFF2-40B4-BE49-F238E27FC236}">
                <a16:creationId xmlns:a16="http://schemas.microsoft.com/office/drawing/2014/main" id="{4BA1EBAE-1D52-4D45-80BB-BA0E5E112711}"/>
              </a:ext>
            </a:extLst>
          </p:cNvPr>
          <p:cNvSpPr>
            <a:spLocks noGrp="1"/>
          </p:cNvSpPr>
          <p:nvPr>
            <p:ph type="title"/>
          </p:nvPr>
        </p:nvSpPr>
        <p:spPr>
          <a:xfrm>
            <a:off x="589279" y="605657"/>
            <a:ext cx="3388359" cy="1939850"/>
          </a:xfrm>
        </p:spPr>
        <p:txBody>
          <a:bodyPr/>
          <a:lstStyle/>
          <a:p>
            <a:r>
              <a:rPr lang="fr-fr"/>
              <a:t>Programme</a:t>
            </a:r>
          </a:p>
        </p:txBody>
      </p:sp>
      <p:cxnSp>
        <p:nvCxnSpPr>
          <p:cNvPr id="11" name="Straight Connector 10">
            <a:extLst>
              <a:ext uri="{FF2B5EF4-FFF2-40B4-BE49-F238E27FC236}">
                <a16:creationId xmlns:a16="http://schemas.microsoft.com/office/drawing/2014/main" id="{1ED95B53-DDF2-6191-A9CC-CC607C737C1E}"/>
              </a:ext>
              <a:ext uri="{C183D7F6-B498-43B3-948B-1728B52AA6E4}">
                <adec:decorative xmlns:adec="http://schemas.microsoft.com/office/drawing/2017/decorative" val="1"/>
              </a:ext>
            </a:extLst>
          </p:cNvPr>
          <p:cNvCxnSpPr>
            <a:cxnSpLocks/>
          </p:cNvCxnSpPr>
          <p:nvPr/>
        </p:nvCxnSpPr>
        <p:spPr>
          <a:xfrm>
            <a:off x="5228752" y="1524000"/>
            <a:ext cx="0" cy="4021483"/>
          </a:xfrm>
          <a:prstGeom prst="line">
            <a:avLst/>
          </a:prstGeom>
          <a:ln w="222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967290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8BFF67-183C-C469-CC4B-177D7902144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15A865C-7DDE-30C3-3875-A0F900C6F78E}"/>
              </a:ext>
            </a:extLst>
          </p:cNvPr>
          <p:cNvSpPr>
            <a:spLocks noGrp="1"/>
          </p:cNvSpPr>
          <p:nvPr>
            <p:ph type="title"/>
          </p:nvPr>
        </p:nvSpPr>
        <p:spPr/>
        <p:txBody>
          <a:bodyPr/>
          <a:lstStyle/>
          <a:p>
            <a:r>
              <a:rPr lang="fr-fr"/>
              <a:t>Créateurs Copilot Studio</a:t>
            </a:r>
          </a:p>
        </p:txBody>
      </p:sp>
      <p:sp>
        <p:nvSpPr>
          <p:cNvPr id="17" name="TextBox 16">
            <a:extLst>
              <a:ext uri="{FF2B5EF4-FFF2-40B4-BE49-F238E27FC236}">
                <a16:creationId xmlns:a16="http://schemas.microsoft.com/office/drawing/2014/main" id="{25DCDD64-7966-E99B-9604-91641232D4F4}"/>
              </a:ext>
            </a:extLst>
          </p:cNvPr>
          <p:cNvSpPr txBox="1"/>
          <p:nvPr/>
        </p:nvSpPr>
        <p:spPr>
          <a:xfrm>
            <a:off x="563189" y="1749203"/>
            <a:ext cx="4224711" cy="5006499"/>
          </a:xfrm>
          <a:prstGeom prst="rect">
            <a:avLst/>
          </a:prstGeom>
          <a:noFill/>
        </p:spPr>
        <p:txBody>
          <a:bodyPr wrap="square" lIns="0" tIns="0" rIns="0" bIns="0" anchor="t">
            <a:spAutoFit/>
          </a:bodyPr>
          <a:lstStyle/>
          <a:p>
            <a:pPr defTabSz="457200">
              <a:spcAft>
                <a:spcPts val="800"/>
              </a:spcAft>
              <a:defRPr/>
            </a:pPr>
            <a:r>
              <a:rPr lang="fr-fr" sz="2400">
                <a:solidFill>
                  <a:schemeClr val="bg1"/>
                </a:solidFill>
              </a:rPr>
              <a:t>Les administrateurs peuvent utiliser un groupe de sécurité ou un groupe Microsoft 365 pour contrôler quels utilisateurs ne disposant d’aucune des licences suivantes peuvent accéder </a:t>
            </a:r>
            <a:br>
              <a:rPr lang="fr-fr" sz="2400">
                <a:solidFill>
                  <a:schemeClr val="bg1"/>
                </a:solidFill>
              </a:rPr>
            </a:br>
            <a:r>
              <a:rPr lang="fr-fr" sz="2400">
                <a:solidFill>
                  <a:schemeClr val="bg1"/>
                </a:solidFill>
              </a:rPr>
              <a:t>à Microsoft Copilot Studio</a:t>
            </a:r>
          </a:p>
          <a:p>
            <a:pPr marL="285750" indent="-285750" defTabSz="457200">
              <a:spcAft>
                <a:spcPts val="800"/>
              </a:spcAft>
              <a:buFont typeface="Arial" panose="020B0604020202020204" pitchFamily="34" charset="0"/>
              <a:buChar char="•"/>
              <a:defRPr/>
            </a:pPr>
            <a:r>
              <a:rPr lang="fr-fr" sz="2000">
                <a:solidFill>
                  <a:schemeClr val="bg1"/>
                </a:solidFill>
              </a:rPr>
              <a:t>Microsoft 365 Copilot</a:t>
            </a:r>
          </a:p>
          <a:p>
            <a:pPr marL="285750" indent="-285750" defTabSz="457200">
              <a:spcAft>
                <a:spcPts val="800"/>
              </a:spcAft>
              <a:buFont typeface="Arial" panose="020B0604020202020204" pitchFamily="34" charset="0"/>
              <a:buChar char="•"/>
              <a:defRPr/>
            </a:pPr>
            <a:r>
              <a:rPr lang="fr-fr" sz="2000">
                <a:solidFill>
                  <a:schemeClr val="bg1"/>
                </a:solidFill>
              </a:rPr>
              <a:t>Licence utilisateur Copilot Studio</a:t>
            </a:r>
          </a:p>
          <a:p>
            <a:pPr marL="285750" indent="-285750" defTabSz="457200">
              <a:spcAft>
                <a:spcPts val="800"/>
              </a:spcAft>
              <a:buFont typeface="Arial" panose="020B0604020202020204" pitchFamily="34" charset="0"/>
              <a:buChar char="•"/>
              <a:defRPr/>
            </a:pPr>
            <a:r>
              <a:rPr lang="fr-fr" sz="2000">
                <a:solidFill>
                  <a:schemeClr val="bg1"/>
                </a:solidFill>
              </a:rPr>
              <a:t>Version d’essai de </a:t>
            </a:r>
            <a:r>
              <a:rPr lang="fr-fr" sz="2000" err="1">
                <a:solidFill>
                  <a:schemeClr val="bg1"/>
                </a:solidFill>
              </a:rPr>
              <a:t>Copilot</a:t>
            </a:r>
            <a:r>
              <a:rPr lang="fr-fr" sz="2000">
                <a:solidFill>
                  <a:schemeClr val="bg1"/>
                </a:solidFill>
              </a:rPr>
              <a:t> Studio</a:t>
            </a:r>
            <a:endParaRPr lang="en-US" sz="2400">
              <a:solidFill>
                <a:schemeClr val="bg1"/>
              </a:solidFill>
            </a:endParaRPr>
          </a:p>
          <a:p>
            <a:pPr defTabSz="457200">
              <a:spcAft>
                <a:spcPts val="800"/>
              </a:spcAft>
              <a:defRPr/>
            </a:pPr>
            <a:endParaRPr lang="en-US" sz="1800">
              <a:solidFill>
                <a:schemeClr val="bg1"/>
              </a:solidFill>
              <a:latin typeface="Segoe UI"/>
            </a:endParaRPr>
          </a:p>
          <a:p>
            <a:pPr defTabSz="457200">
              <a:spcAft>
                <a:spcPts val="800"/>
              </a:spcAft>
              <a:defRPr/>
            </a:pPr>
            <a:endParaRPr lang="en-US" sz="2200">
              <a:solidFill>
                <a:schemeClr val="bg1"/>
              </a:solidFill>
            </a:endParaRPr>
          </a:p>
        </p:txBody>
      </p:sp>
      <p:pic>
        <p:nvPicPr>
          <p:cNvPr id="5" name="Picture 4">
            <a:extLst>
              <a:ext uri="{FF2B5EF4-FFF2-40B4-BE49-F238E27FC236}">
                <a16:creationId xmlns:a16="http://schemas.microsoft.com/office/drawing/2014/main" id="{825F74DC-AEC4-5717-1F6A-6070E1272DC3}"/>
              </a:ext>
            </a:extLst>
          </p:cNvPr>
          <p:cNvPicPr>
            <a:picLocks noChangeAspect="1"/>
          </p:cNvPicPr>
          <p:nvPr/>
        </p:nvPicPr>
        <p:blipFill>
          <a:blip r:embed="rId3"/>
          <a:stretch>
            <a:fillRect/>
          </a:stretch>
        </p:blipFill>
        <p:spPr>
          <a:xfrm>
            <a:off x="5194300" y="1914303"/>
            <a:ext cx="6781800" cy="2454038"/>
          </a:xfrm>
          <a:prstGeom prst="roundRect">
            <a:avLst>
              <a:gd name="adj" fmla="val 4276"/>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004035414"/>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6833E4-83AE-6205-2CDE-E750DBF5492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F97112A-D431-180F-1F6B-2293737F0772}"/>
              </a:ext>
            </a:extLst>
          </p:cNvPr>
          <p:cNvSpPr>
            <a:spLocks noGrp="1"/>
          </p:cNvSpPr>
          <p:nvPr>
            <p:ph type="title"/>
          </p:nvPr>
        </p:nvSpPr>
        <p:spPr/>
        <p:txBody>
          <a:bodyPr/>
          <a:lstStyle/>
          <a:p>
            <a:r>
              <a:rPr lang="fr-fr"/>
              <a:t>Publier des bots avec des fonctionnalités d’IA</a:t>
            </a:r>
          </a:p>
        </p:txBody>
      </p:sp>
      <p:sp>
        <p:nvSpPr>
          <p:cNvPr id="17" name="TextBox 16">
            <a:extLst>
              <a:ext uri="{FF2B5EF4-FFF2-40B4-BE49-F238E27FC236}">
                <a16:creationId xmlns:a16="http://schemas.microsoft.com/office/drawing/2014/main" id="{60BB8F0D-FE22-B6DE-9710-F2C4C9A4C810}"/>
              </a:ext>
            </a:extLst>
          </p:cNvPr>
          <p:cNvSpPr txBox="1"/>
          <p:nvPr/>
        </p:nvSpPr>
        <p:spPr>
          <a:xfrm>
            <a:off x="563188" y="1749203"/>
            <a:ext cx="5783824" cy="4385816"/>
          </a:xfrm>
          <a:prstGeom prst="rect">
            <a:avLst/>
          </a:prstGeom>
          <a:noFill/>
        </p:spPr>
        <p:txBody>
          <a:bodyPr wrap="square" lIns="0" tIns="0" rIns="0" bIns="0" anchor="t">
            <a:spAutoFit/>
          </a:bodyPr>
          <a:lstStyle/>
          <a:p>
            <a:pPr defTabSz="457200">
              <a:spcAft>
                <a:spcPts val="1800"/>
              </a:spcAft>
              <a:defRPr/>
            </a:pPr>
            <a:r>
              <a:rPr lang="fr-fr" sz="2400">
                <a:solidFill>
                  <a:schemeClr val="bg1"/>
                </a:solidFill>
              </a:rPr>
              <a:t>Désactiver la publication utilisant les fonctionnalités </a:t>
            </a:r>
            <a:r>
              <a:rPr lang="fr-fr" sz="2400" u="sng">
                <a:solidFill>
                  <a:schemeClr val="bg1"/>
                </a:solidFill>
              </a:rPr>
              <a:t>d’IA générative</a:t>
            </a:r>
            <a:r>
              <a:rPr lang="fr-fr" sz="2400">
                <a:solidFill>
                  <a:schemeClr val="bg1"/>
                </a:solidFill>
              </a:rPr>
              <a:t> au </a:t>
            </a:r>
            <a:br>
              <a:rPr lang="fr-fr" sz="2400">
                <a:solidFill>
                  <a:schemeClr val="bg1"/>
                </a:solidFill>
              </a:rPr>
            </a:br>
            <a:r>
              <a:rPr lang="fr-fr" sz="2400" b="1">
                <a:solidFill>
                  <a:schemeClr val="bg1"/>
                </a:solidFill>
              </a:rPr>
              <a:t>niveau</a:t>
            </a:r>
            <a:r>
              <a:rPr lang="fr-fr" sz="2400">
                <a:solidFill>
                  <a:schemeClr val="bg1"/>
                </a:solidFill>
              </a:rPr>
              <a:t> du </a:t>
            </a:r>
            <a:r>
              <a:rPr lang="fr-fr" sz="2400" b="1">
                <a:solidFill>
                  <a:schemeClr val="bg1"/>
                </a:solidFill>
              </a:rPr>
              <a:t>locataire</a:t>
            </a:r>
            <a:endParaRPr lang="en-US" sz="2400">
              <a:solidFill>
                <a:schemeClr val="bg1"/>
              </a:solidFill>
            </a:endParaRPr>
          </a:p>
          <a:p>
            <a:pPr defTabSz="457200">
              <a:spcAft>
                <a:spcPts val="1800"/>
              </a:spcAft>
              <a:defRPr/>
            </a:pPr>
            <a:r>
              <a:rPr lang="fr-fr" sz="2400">
                <a:solidFill>
                  <a:schemeClr val="bg1"/>
                </a:solidFill>
              </a:rPr>
              <a:t>Si cette option est désactivée, les utilisateurs peuvent continuer à créer des agents, mais ne pourront pas les publier</a:t>
            </a:r>
          </a:p>
          <a:p>
            <a:pPr defTabSz="457200">
              <a:spcAft>
                <a:spcPts val="1800"/>
              </a:spcAft>
              <a:defRPr/>
            </a:pPr>
            <a:r>
              <a:rPr lang="fr-fr" sz="2400">
                <a:solidFill>
                  <a:schemeClr val="bg1"/>
                </a:solidFill>
              </a:rPr>
              <a:t>S’applique à la fois aux agents déclaratifs </a:t>
            </a:r>
            <a:br>
              <a:rPr lang="fr-fr" sz="2400">
                <a:solidFill>
                  <a:schemeClr val="bg1"/>
                </a:solidFill>
              </a:rPr>
            </a:br>
            <a:r>
              <a:rPr lang="fr-fr" sz="2400">
                <a:solidFill>
                  <a:schemeClr val="bg1"/>
                </a:solidFill>
              </a:rPr>
              <a:t>et aux agents de moteur personnalisé créés avec Copilot Studio</a:t>
            </a:r>
          </a:p>
          <a:p>
            <a:pPr defTabSz="457200">
              <a:spcAft>
                <a:spcPts val="1800"/>
              </a:spcAft>
              <a:defRPr/>
            </a:pPr>
            <a:endParaRPr lang="en-US" sz="2400">
              <a:solidFill>
                <a:schemeClr val="bg1"/>
              </a:solidFill>
            </a:endParaRPr>
          </a:p>
        </p:txBody>
      </p:sp>
      <p:pic>
        <p:nvPicPr>
          <p:cNvPr id="3" name="Picture 2" descr="Capture d’écran de la notification de désactivation de la publication d’agent">
            <a:extLst>
              <a:ext uri="{FF2B5EF4-FFF2-40B4-BE49-F238E27FC236}">
                <a16:creationId xmlns:a16="http://schemas.microsoft.com/office/drawing/2014/main" id="{015E0E34-922E-965C-7378-81A62F20FA6F}"/>
              </a:ext>
            </a:extLst>
          </p:cNvPr>
          <p:cNvPicPr>
            <a:picLocks noChangeAspect="1"/>
          </p:cNvPicPr>
          <p:nvPr/>
        </p:nvPicPr>
        <p:blipFill>
          <a:blip r:embed="rId3"/>
          <a:stretch>
            <a:fillRect/>
          </a:stretch>
        </p:blipFill>
        <p:spPr>
          <a:xfrm>
            <a:off x="6891674" y="1763251"/>
            <a:ext cx="4967925" cy="13247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 name="Picture 4" descr="Capture d’écran de « publier des bots avec des fonctionnalités d’IA »">
            <a:extLst>
              <a:ext uri="{FF2B5EF4-FFF2-40B4-BE49-F238E27FC236}">
                <a16:creationId xmlns:a16="http://schemas.microsoft.com/office/drawing/2014/main" id="{568A25B4-61B3-2E57-9604-D5B71438036A}"/>
              </a:ext>
            </a:extLst>
          </p:cNvPr>
          <p:cNvPicPr>
            <a:picLocks noChangeAspect="1"/>
          </p:cNvPicPr>
          <p:nvPr/>
        </p:nvPicPr>
        <p:blipFill>
          <a:blip r:embed="rId4"/>
          <a:stretch>
            <a:fillRect/>
          </a:stretch>
        </p:blipFill>
        <p:spPr>
          <a:xfrm>
            <a:off x="7625870" y="3285680"/>
            <a:ext cx="3499532" cy="27132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550369044"/>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A0B0D6-863D-5F07-7F77-AB8E8E41A42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97D0AA1-E20E-8385-7779-FCEBBCCCBCBF}"/>
              </a:ext>
            </a:extLst>
          </p:cNvPr>
          <p:cNvSpPr>
            <a:spLocks noGrp="1"/>
          </p:cNvSpPr>
          <p:nvPr>
            <p:ph type="title"/>
          </p:nvPr>
        </p:nvSpPr>
        <p:spPr/>
        <p:txBody>
          <a:bodyPr/>
          <a:lstStyle/>
          <a:p>
            <a:r>
              <a:rPr lang="fr-fr"/>
              <a:t>Contrôler la fonctionnalité des requêtes IA</a:t>
            </a:r>
          </a:p>
        </p:txBody>
      </p:sp>
      <p:sp>
        <p:nvSpPr>
          <p:cNvPr id="17" name="TextBox 16">
            <a:extLst>
              <a:ext uri="{FF2B5EF4-FFF2-40B4-BE49-F238E27FC236}">
                <a16:creationId xmlns:a16="http://schemas.microsoft.com/office/drawing/2014/main" id="{7ADB36FE-3897-451A-6A65-3D7305261FA3}"/>
              </a:ext>
            </a:extLst>
          </p:cNvPr>
          <p:cNvSpPr txBox="1"/>
          <p:nvPr/>
        </p:nvSpPr>
        <p:spPr>
          <a:xfrm>
            <a:off x="563188" y="1749203"/>
            <a:ext cx="6142412" cy="4370427"/>
          </a:xfrm>
          <a:prstGeom prst="rect">
            <a:avLst/>
          </a:prstGeom>
          <a:noFill/>
        </p:spPr>
        <p:txBody>
          <a:bodyPr wrap="square" lIns="0" tIns="0" rIns="0" bIns="0" anchor="t">
            <a:spAutoFit/>
          </a:bodyPr>
          <a:lstStyle/>
          <a:p>
            <a:pPr defTabSz="457200">
              <a:spcAft>
                <a:spcPts val="800"/>
              </a:spcAft>
              <a:defRPr/>
            </a:pPr>
            <a:r>
              <a:rPr lang="fr-fr" sz="2200">
                <a:solidFill>
                  <a:schemeClr val="bg1"/>
                </a:solidFill>
              </a:rPr>
              <a:t>Par défaut, la fonctionnalité des requêtes </a:t>
            </a:r>
            <a:br>
              <a:rPr lang="fr-fr" sz="2200">
                <a:solidFill>
                  <a:schemeClr val="bg1"/>
                </a:solidFill>
              </a:rPr>
            </a:br>
            <a:r>
              <a:rPr lang="fr-fr" sz="2200">
                <a:solidFill>
                  <a:schemeClr val="bg1"/>
                </a:solidFill>
              </a:rPr>
              <a:t>IA est activée pour permettre aux créateurs </a:t>
            </a:r>
            <a:br>
              <a:rPr lang="fr-fr" sz="2200">
                <a:solidFill>
                  <a:schemeClr val="bg1"/>
                </a:solidFill>
              </a:rPr>
            </a:br>
            <a:r>
              <a:rPr lang="fr-fr" sz="2200">
                <a:solidFill>
                  <a:schemeClr val="bg1"/>
                </a:solidFill>
              </a:rPr>
              <a:t>de concevoir et d’expérimenter différents contenus générés par l’IA </a:t>
            </a:r>
          </a:p>
          <a:p>
            <a:pPr defTabSz="457200">
              <a:spcAft>
                <a:spcPts val="800"/>
              </a:spcAft>
              <a:defRPr/>
            </a:pPr>
            <a:r>
              <a:rPr lang="fr-fr" sz="2200">
                <a:solidFill>
                  <a:schemeClr val="bg1"/>
                </a:solidFill>
              </a:rPr>
              <a:t>Les administrateurs peuvent activer ou désactiver cette fonctionnalité selon les besoins</a:t>
            </a:r>
          </a:p>
          <a:p>
            <a:pPr defTabSz="457200">
              <a:spcAft>
                <a:spcPts val="800"/>
              </a:spcAft>
              <a:defRPr/>
            </a:pPr>
            <a:r>
              <a:rPr lang="fr-fr" sz="2200">
                <a:solidFill>
                  <a:schemeClr val="bg1"/>
                </a:solidFill>
              </a:rPr>
              <a:t>Si les requêtes IA sont désactivées, les utilisateurs ne peuvent </a:t>
            </a:r>
            <a:r>
              <a:rPr lang="fr-FR" sz="2200">
                <a:solidFill>
                  <a:schemeClr val="bg1"/>
                </a:solidFill>
              </a:rPr>
              <a:t>ni</a:t>
            </a:r>
            <a:r>
              <a:rPr lang="fr-fr" sz="2200">
                <a:solidFill>
                  <a:schemeClr val="bg1"/>
                </a:solidFill>
              </a:rPr>
              <a:t> créer ni utiliser des requêtes personnalisées ou prédéfinies dans les agents </a:t>
            </a:r>
          </a:p>
          <a:p>
            <a:pPr defTabSz="457200">
              <a:spcAft>
                <a:spcPts val="800"/>
              </a:spcAft>
              <a:defRPr/>
            </a:pPr>
            <a:r>
              <a:rPr lang="fr-fr" sz="2200">
                <a:solidFill>
                  <a:schemeClr val="bg1"/>
                </a:solidFill>
              </a:rPr>
              <a:t>Paramètre au niveau de l’environnement, également disponible comme règle dans </a:t>
            </a:r>
            <a:br>
              <a:rPr lang="fr-fr" sz="2200">
                <a:solidFill>
                  <a:schemeClr val="bg1"/>
                </a:solidFill>
              </a:rPr>
            </a:br>
            <a:r>
              <a:rPr lang="fr-fr" sz="2200">
                <a:solidFill>
                  <a:schemeClr val="bg1"/>
                </a:solidFill>
              </a:rPr>
              <a:t>les groupes d’environnements</a:t>
            </a:r>
          </a:p>
        </p:txBody>
      </p:sp>
      <p:pic>
        <p:nvPicPr>
          <p:cNvPr id="2" name="Picture 1">
            <a:extLst>
              <a:ext uri="{FF2B5EF4-FFF2-40B4-BE49-F238E27FC236}">
                <a16:creationId xmlns:a16="http://schemas.microsoft.com/office/drawing/2014/main" id="{8848A053-56BC-F43B-8BAC-C450014FE164}"/>
              </a:ext>
            </a:extLst>
          </p:cNvPr>
          <p:cNvPicPr>
            <a:picLocks noChangeAspect="1"/>
          </p:cNvPicPr>
          <p:nvPr/>
        </p:nvPicPr>
        <p:blipFill>
          <a:blip r:embed="rId3"/>
          <a:stretch>
            <a:fillRect/>
          </a:stretch>
        </p:blipFill>
        <p:spPr>
          <a:xfrm>
            <a:off x="6953042" y="1749203"/>
            <a:ext cx="4986152" cy="13326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 name="Picture 5">
            <a:extLst>
              <a:ext uri="{FF2B5EF4-FFF2-40B4-BE49-F238E27FC236}">
                <a16:creationId xmlns:a16="http://schemas.microsoft.com/office/drawing/2014/main" id="{0215BEFF-6D84-C98C-6723-45D11CFFB8AB}"/>
              </a:ext>
            </a:extLst>
          </p:cNvPr>
          <p:cNvPicPr>
            <a:picLocks noChangeAspect="1"/>
          </p:cNvPicPr>
          <p:nvPr/>
        </p:nvPicPr>
        <p:blipFill>
          <a:blip r:embed="rId4"/>
          <a:stretch>
            <a:fillRect/>
          </a:stretch>
        </p:blipFill>
        <p:spPr>
          <a:xfrm>
            <a:off x="6953042" y="3256624"/>
            <a:ext cx="2663825" cy="230236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a:extLst>
              <a:ext uri="{FF2B5EF4-FFF2-40B4-BE49-F238E27FC236}">
                <a16:creationId xmlns:a16="http://schemas.microsoft.com/office/drawing/2014/main" id="{1F3D61D3-AAEA-A8A0-9752-FBF527368448}"/>
              </a:ext>
            </a:extLst>
          </p:cNvPr>
          <p:cNvPicPr>
            <a:picLocks noChangeAspect="1"/>
          </p:cNvPicPr>
          <p:nvPr/>
        </p:nvPicPr>
        <p:blipFill>
          <a:blip r:embed="rId5"/>
          <a:stretch>
            <a:fillRect/>
          </a:stretch>
        </p:blipFill>
        <p:spPr>
          <a:xfrm>
            <a:off x="8402284" y="3933084"/>
            <a:ext cx="3458361" cy="245632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62790311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37559B-3EF4-8966-9790-618045F14E2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95677DB-3718-C19C-E4E4-858CBCB619A3}"/>
              </a:ext>
            </a:extLst>
          </p:cNvPr>
          <p:cNvSpPr>
            <a:spLocks noGrp="1"/>
          </p:cNvSpPr>
          <p:nvPr>
            <p:ph type="title"/>
          </p:nvPr>
        </p:nvSpPr>
        <p:spPr/>
        <p:txBody>
          <a:bodyPr/>
          <a:lstStyle/>
          <a:p>
            <a:r>
              <a:rPr lang="fr-fr"/>
              <a:t>Paramètres des agents Copilot Studio</a:t>
            </a:r>
          </a:p>
        </p:txBody>
      </p:sp>
      <p:sp>
        <p:nvSpPr>
          <p:cNvPr id="17" name="TextBox 16">
            <a:extLst>
              <a:ext uri="{FF2B5EF4-FFF2-40B4-BE49-F238E27FC236}">
                <a16:creationId xmlns:a16="http://schemas.microsoft.com/office/drawing/2014/main" id="{C9F6CE86-2152-CCB1-DD0B-C7FCBA1017CD}"/>
              </a:ext>
            </a:extLst>
          </p:cNvPr>
          <p:cNvSpPr txBox="1"/>
          <p:nvPr/>
        </p:nvSpPr>
        <p:spPr>
          <a:xfrm>
            <a:off x="563187" y="1749203"/>
            <a:ext cx="7330081" cy="4770537"/>
          </a:xfrm>
          <a:prstGeom prst="rect">
            <a:avLst/>
          </a:prstGeom>
          <a:noFill/>
        </p:spPr>
        <p:txBody>
          <a:bodyPr wrap="square" lIns="0" tIns="0" rIns="0" bIns="0" anchor="t">
            <a:spAutoFit/>
          </a:bodyPr>
          <a:lstStyle/>
          <a:p>
            <a:pPr defTabSz="457200">
              <a:spcAft>
                <a:spcPts val="800"/>
              </a:spcAft>
              <a:defRPr/>
            </a:pPr>
            <a:r>
              <a:rPr lang="fr-fr" sz="2400">
                <a:solidFill>
                  <a:schemeClr val="bg1"/>
                </a:solidFill>
              </a:rPr>
              <a:t>Paramètres du niveau de l’environnement Power Platform pour les agents Copilot Studio :</a:t>
            </a:r>
          </a:p>
          <a:p>
            <a:pPr marL="342900" indent="-342900" defTabSz="457200">
              <a:spcAft>
                <a:spcPts val="800"/>
              </a:spcAft>
              <a:buFont typeface="Arial" panose="020B0604020202020204" pitchFamily="34" charset="0"/>
              <a:buChar char="•"/>
              <a:defRPr/>
            </a:pPr>
            <a:r>
              <a:rPr lang="fr-fr" sz="2200">
                <a:solidFill>
                  <a:schemeClr val="bg1"/>
                </a:solidFill>
              </a:rPr>
              <a:t>Accès aux transcriptions des conversations dans </a:t>
            </a:r>
            <a:br>
              <a:rPr lang="fr-fr" sz="2200">
                <a:solidFill>
                  <a:schemeClr val="bg1"/>
                </a:solidFill>
              </a:rPr>
            </a:br>
            <a:r>
              <a:rPr lang="fr-fr" sz="2200">
                <a:solidFill>
                  <a:schemeClr val="bg1"/>
                </a:solidFill>
              </a:rPr>
              <a:t>les agents Copilot Studio</a:t>
            </a:r>
          </a:p>
          <a:p>
            <a:pPr marL="342900" indent="-342900" defTabSz="457200">
              <a:spcAft>
                <a:spcPts val="800"/>
              </a:spcAft>
              <a:buFont typeface="Arial" panose="020B0604020202020204" pitchFamily="34" charset="0"/>
              <a:buChar char="•"/>
              <a:defRPr/>
            </a:pPr>
            <a:r>
              <a:rPr lang="fr-fr" sz="2200">
                <a:solidFill>
                  <a:schemeClr val="bg1"/>
                </a:solidFill>
              </a:rPr>
              <a:t>Partage des données des agents Copilot Studio avec Viva Insights</a:t>
            </a:r>
          </a:p>
          <a:p>
            <a:pPr marL="342900" indent="-342900" defTabSz="457200">
              <a:spcAft>
                <a:spcPts val="800"/>
              </a:spcAft>
              <a:buFont typeface="Arial" panose="020B0604020202020204" pitchFamily="34" charset="0"/>
              <a:buChar char="•"/>
              <a:defRPr/>
            </a:pPr>
            <a:r>
              <a:rPr lang="fr-fr" sz="2200">
                <a:solidFill>
                  <a:schemeClr val="bg1"/>
                </a:solidFill>
              </a:rPr>
              <a:t>Contrôle des options d’identifiants des créateurs (préversion)</a:t>
            </a:r>
          </a:p>
          <a:p>
            <a:pPr defTabSz="457200">
              <a:spcAft>
                <a:spcPts val="800"/>
              </a:spcAft>
              <a:defRPr/>
            </a:pPr>
            <a:endParaRPr lang="en-US" sz="2200">
              <a:solidFill>
                <a:schemeClr val="bg1"/>
              </a:solidFill>
            </a:endParaRPr>
          </a:p>
          <a:p>
            <a:pPr defTabSz="457200">
              <a:spcAft>
                <a:spcPts val="800"/>
              </a:spcAft>
              <a:defRPr/>
            </a:pPr>
            <a:r>
              <a:rPr lang="fr-fr" sz="2200">
                <a:solidFill>
                  <a:schemeClr val="bg1"/>
                </a:solidFill>
              </a:rPr>
              <a:t>Tous ces paramètres sont également disponibles comme règles dans les groupes d’environnements</a:t>
            </a:r>
          </a:p>
          <a:p>
            <a:pPr defTabSz="457200">
              <a:spcAft>
                <a:spcPts val="800"/>
              </a:spcAft>
              <a:defRPr/>
            </a:pPr>
            <a:endParaRPr lang="en-US" sz="2400">
              <a:solidFill>
                <a:schemeClr val="bg1"/>
              </a:solidFill>
            </a:endParaRPr>
          </a:p>
        </p:txBody>
      </p:sp>
      <p:pic>
        <p:nvPicPr>
          <p:cNvPr id="5" name="Picture 4">
            <a:extLst>
              <a:ext uri="{FF2B5EF4-FFF2-40B4-BE49-F238E27FC236}">
                <a16:creationId xmlns:a16="http://schemas.microsoft.com/office/drawing/2014/main" id="{FE6E14B3-332D-064D-8F0C-7637EA992CC1}"/>
              </a:ext>
            </a:extLst>
          </p:cNvPr>
          <p:cNvPicPr>
            <a:picLocks noChangeAspect="1"/>
          </p:cNvPicPr>
          <p:nvPr/>
        </p:nvPicPr>
        <p:blipFill>
          <a:blip r:embed="rId3"/>
          <a:stretch>
            <a:fillRect/>
          </a:stretch>
        </p:blipFill>
        <p:spPr>
          <a:xfrm>
            <a:off x="8492809" y="1248727"/>
            <a:ext cx="3288404" cy="5123792"/>
          </a:xfrm>
          <a:prstGeom prst="roundRect">
            <a:avLst>
              <a:gd name="adj" fmla="val 6206"/>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501855442"/>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AEC995-C30E-95C9-84A0-31F0D63F636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39DAE4F-747C-2707-8C50-6E260A46D599}"/>
              </a:ext>
            </a:extLst>
          </p:cNvPr>
          <p:cNvSpPr>
            <a:spLocks noGrp="1"/>
          </p:cNvSpPr>
          <p:nvPr>
            <p:ph type="title"/>
          </p:nvPr>
        </p:nvSpPr>
        <p:spPr/>
        <p:txBody>
          <a:bodyPr/>
          <a:lstStyle/>
          <a:p>
            <a:r>
              <a:rPr lang="fr-fr"/>
              <a:t>Contrôles des modèles de langage</a:t>
            </a:r>
          </a:p>
        </p:txBody>
      </p:sp>
      <p:sp>
        <p:nvSpPr>
          <p:cNvPr id="17" name="TextBox 16">
            <a:extLst>
              <a:ext uri="{FF2B5EF4-FFF2-40B4-BE49-F238E27FC236}">
                <a16:creationId xmlns:a16="http://schemas.microsoft.com/office/drawing/2014/main" id="{8A0B94F0-8AB8-4D1C-A754-F0B2D67074A7}"/>
              </a:ext>
            </a:extLst>
          </p:cNvPr>
          <p:cNvSpPr txBox="1"/>
          <p:nvPr/>
        </p:nvSpPr>
        <p:spPr>
          <a:xfrm>
            <a:off x="563187" y="1749203"/>
            <a:ext cx="5532813" cy="4801314"/>
          </a:xfrm>
          <a:prstGeom prst="rect">
            <a:avLst/>
          </a:prstGeom>
          <a:noFill/>
        </p:spPr>
        <p:txBody>
          <a:bodyPr wrap="square" lIns="0" tIns="0" rIns="0" bIns="0" anchor="t">
            <a:spAutoFit/>
          </a:bodyPr>
          <a:lstStyle/>
          <a:p>
            <a:pPr defTabSz="457200">
              <a:spcAft>
                <a:spcPts val="800"/>
              </a:spcAft>
              <a:defRPr/>
            </a:pPr>
            <a:r>
              <a:rPr lang="fr-fr" sz="2400">
                <a:solidFill>
                  <a:schemeClr val="bg1"/>
                </a:solidFill>
              </a:rPr>
              <a:t>Paramètres des modèles de langage </a:t>
            </a:r>
            <a:br>
              <a:rPr lang="fr-fr" sz="2400">
                <a:solidFill>
                  <a:schemeClr val="bg1"/>
                </a:solidFill>
              </a:rPr>
            </a:br>
            <a:r>
              <a:rPr lang="fr-fr" sz="2400">
                <a:solidFill>
                  <a:schemeClr val="bg1"/>
                </a:solidFill>
              </a:rPr>
              <a:t>au niveau de l’environnement Power Platform :</a:t>
            </a:r>
          </a:p>
          <a:p>
            <a:pPr marL="342900" indent="-342900" defTabSz="457200">
              <a:spcAft>
                <a:spcPts val="800"/>
              </a:spcAft>
              <a:buFont typeface="Arial" panose="020B0604020202020204" pitchFamily="34" charset="0"/>
              <a:buChar char="•"/>
              <a:defRPr/>
            </a:pPr>
            <a:r>
              <a:rPr lang="fr-fr" sz="2200">
                <a:solidFill>
                  <a:schemeClr val="bg1"/>
                </a:solidFill>
              </a:rPr>
              <a:t>Activer/désactiver les modèles en préversion et expérimentaux</a:t>
            </a:r>
          </a:p>
          <a:p>
            <a:pPr marL="342900" indent="-342900" defTabSz="457200">
              <a:spcAft>
                <a:spcPts val="800"/>
              </a:spcAft>
              <a:buFont typeface="Arial" panose="020B0604020202020204" pitchFamily="34" charset="0"/>
              <a:buChar char="•"/>
              <a:defRPr/>
            </a:pPr>
            <a:r>
              <a:rPr lang="fr-fr" sz="2200">
                <a:solidFill>
                  <a:schemeClr val="bg1"/>
                </a:solidFill>
              </a:rPr>
              <a:t>Activer/désactiver les modèles externes</a:t>
            </a:r>
          </a:p>
          <a:p>
            <a:pPr marL="800083" lvl="1" indent="-342900" defTabSz="457200">
              <a:spcAft>
                <a:spcPts val="800"/>
              </a:spcAft>
              <a:buFont typeface="Arial" panose="020B0604020202020204" pitchFamily="34" charset="0"/>
              <a:buChar char="•"/>
              <a:defRPr/>
            </a:pPr>
            <a:r>
              <a:rPr lang="fr-fr" sz="2200">
                <a:solidFill>
                  <a:schemeClr val="bg1"/>
                </a:solidFill>
              </a:rPr>
              <a:t>Autoriser les modèles Anthropic</a:t>
            </a:r>
          </a:p>
          <a:p>
            <a:pPr defTabSz="457200">
              <a:spcAft>
                <a:spcPts val="800"/>
              </a:spcAft>
              <a:defRPr/>
            </a:pPr>
            <a:endParaRPr lang="en-US" sz="2200">
              <a:solidFill>
                <a:schemeClr val="bg1"/>
              </a:solidFill>
            </a:endParaRPr>
          </a:p>
          <a:p>
            <a:pPr defTabSz="457200">
              <a:spcAft>
                <a:spcPts val="800"/>
              </a:spcAft>
              <a:defRPr/>
            </a:pPr>
            <a:r>
              <a:rPr lang="fr-fr" sz="2200">
                <a:solidFill>
                  <a:schemeClr val="bg1"/>
                </a:solidFill>
              </a:rPr>
              <a:t>Tous ces paramètres sont également disponibles comme règles dans les groupes d’environnements</a:t>
            </a:r>
          </a:p>
          <a:p>
            <a:pPr defTabSz="457200">
              <a:spcAft>
                <a:spcPts val="800"/>
              </a:spcAft>
              <a:defRPr/>
            </a:pPr>
            <a:endParaRPr lang="en-US" sz="2400">
              <a:solidFill>
                <a:schemeClr val="bg1"/>
              </a:solidFill>
            </a:endParaRPr>
          </a:p>
        </p:txBody>
      </p:sp>
      <p:pic>
        <p:nvPicPr>
          <p:cNvPr id="3" name="Picture 2">
            <a:extLst>
              <a:ext uri="{FF2B5EF4-FFF2-40B4-BE49-F238E27FC236}">
                <a16:creationId xmlns:a16="http://schemas.microsoft.com/office/drawing/2014/main" id="{9937CC0D-1964-8A38-9A51-F37FD404A88E}"/>
              </a:ext>
            </a:extLst>
          </p:cNvPr>
          <p:cNvPicPr>
            <a:picLocks noChangeAspect="1"/>
          </p:cNvPicPr>
          <p:nvPr/>
        </p:nvPicPr>
        <p:blipFill>
          <a:blip r:embed="rId3"/>
          <a:stretch>
            <a:fillRect/>
          </a:stretch>
        </p:blipFill>
        <p:spPr>
          <a:xfrm>
            <a:off x="6358772" y="1882723"/>
            <a:ext cx="5616407" cy="2346377"/>
          </a:xfrm>
          <a:prstGeom prst="rect">
            <a:avLst/>
          </a:prstGeom>
        </p:spPr>
      </p:pic>
    </p:spTree>
    <p:extLst>
      <p:ext uri="{BB962C8B-B14F-4D97-AF65-F5344CB8AC3E}">
        <p14:creationId xmlns:p14="http://schemas.microsoft.com/office/powerpoint/2010/main" val="2687341113"/>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B2CF70-5FD6-AA7A-CB8E-3A4D4156AE2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9325192-F016-1D4F-3476-780DD7B5333A}"/>
              </a:ext>
            </a:extLst>
          </p:cNvPr>
          <p:cNvSpPr>
            <a:spLocks noGrp="1"/>
          </p:cNvSpPr>
          <p:nvPr>
            <p:ph type="title"/>
          </p:nvPr>
        </p:nvSpPr>
        <p:spPr/>
        <p:txBody>
          <a:bodyPr/>
          <a:lstStyle/>
          <a:p>
            <a:r>
              <a:rPr lang="fr-fr"/>
              <a:t>Contrôles Copilot Studio</a:t>
            </a:r>
          </a:p>
        </p:txBody>
      </p:sp>
      <p:sp>
        <p:nvSpPr>
          <p:cNvPr id="17" name="TextBox 16">
            <a:extLst>
              <a:ext uri="{FF2B5EF4-FFF2-40B4-BE49-F238E27FC236}">
                <a16:creationId xmlns:a16="http://schemas.microsoft.com/office/drawing/2014/main" id="{FC0F6306-F64A-0DB2-A4AC-144B5C7EB531}"/>
              </a:ext>
            </a:extLst>
          </p:cNvPr>
          <p:cNvSpPr txBox="1"/>
          <p:nvPr/>
        </p:nvSpPr>
        <p:spPr>
          <a:xfrm>
            <a:off x="563187" y="1749203"/>
            <a:ext cx="6662365" cy="4165243"/>
          </a:xfrm>
          <a:prstGeom prst="rect">
            <a:avLst/>
          </a:prstGeom>
          <a:noFill/>
        </p:spPr>
        <p:txBody>
          <a:bodyPr wrap="square" lIns="0" tIns="0" rIns="0" bIns="0" anchor="t">
            <a:spAutoFit/>
          </a:bodyPr>
          <a:lstStyle/>
          <a:p>
            <a:pPr defTabSz="457200">
              <a:spcAft>
                <a:spcPts val="800"/>
              </a:spcAft>
              <a:defRPr/>
            </a:pPr>
            <a:r>
              <a:rPr lang="fr-fr" sz="1800" b="1">
                <a:solidFill>
                  <a:schemeClr val="bg1"/>
                </a:solidFill>
              </a:rPr>
              <a:t>Utilisation de l’ordinateur </a:t>
            </a:r>
            <a:r>
              <a:rPr lang="fr-fr" sz="1800">
                <a:solidFill>
                  <a:schemeClr val="bg1"/>
                </a:solidFill>
              </a:rPr>
              <a:t> - </a:t>
            </a:r>
            <a:r>
              <a:rPr lang="fr-fr" sz="1400">
                <a:solidFill>
                  <a:schemeClr val="bg1"/>
                </a:solidFill>
              </a:rPr>
              <a:t>Contrôle de l’utilisation de la fonctionnalité Utilisation de l’ordinateur dans les agents Copilot Studio</a:t>
            </a:r>
            <a:endParaRPr lang="en-US" sz="1400">
              <a:solidFill>
                <a:schemeClr val="bg1"/>
              </a:solidFill>
            </a:endParaRPr>
          </a:p>
          <a:p>
            <a:pPr defTabSz="457200">
              <a:spcAft>
                <a:spcPts val="800"/>
              </a:spcAft>
              <a:defRPr/>
            </a:pPr>
            <a:r>
              <a:rPr lang="fr-fr" sz="1800" b="1">
                <a:solidFill>
                  <a:schemeClr val="bg1"/>
                </a:solidFill>
              </a:rPr>
              <a:t>Identité d’agent Entra pour Copilot Studio </a:t>
            </a:r>
            <a:r>
              <a:rPr lang="fr-fr" sz="1800">
                <a:solidFill>
                  <a:schemeClr val="bg1"/>
                </a:solidFill>
              </a:rPr>
              <a:t>- </a:t>
            </a:r>
            <a:r>
              <a:rPr lang="fr-fr" sz="1400">
                <a:solidFill>
                  <a:schemeClr val="bg1"/>
                </a:solidFill>
              </a:rPr>
              <a:t>Contrôle de l’attribution automatique de l’identité d’agent Entra pour les nouveaux agents Copilot Studio personnalisés</a:t>
            </a:r>
          </a:p>
          <a:p>
            <a:pPr defTabSz="457200">
              <a:spcAft>
                <a:spcPts val="800"/>
              </a:spcAft>
              <a:defRPr/>
            </a:pPr>
            <a:r>
              <a:rPr lang="fr-fr" sz="1800" b="1" spc="-20">
                <a:solidFill>
                  <a:schemeClr val="bg1"/>
                </a:solidFill>
              </a:rPr>
              <a:t>Génération et exécution de code dans Copilot Studio </a:t>
            </a:r>
            <a:r>
              <a:rPr lang="fr-fr" sz="1800">
                <a:solidFill>
                  <a:schemeClr val="bg1"/>
                </a:solidFill>
              </a:rPr>
              <a:t>-</a:t>
            </a:r>
            <a:r>
              <a:rPr lang="fr-fr" sz="1800" spc="-20">
                <a:solidFill>
                  <a:schemeClr val="bg1"/>
                </a:solidFill>
              </a:rPr>
              <a:t> </a:t>
            </a:r>
            <a:r>
              <a:rPr lang="fr-fr" sz="1400" spc="-20">
                <a:solidFill>
                  <a:schemeClr val="bg1"/>
                </a:solidFill>
              </a:rPr>
              <a:t>Contrôle </a:t>
            </a:r>
            <a:br>
              <a:rPr lang="fr-fr" sz="1400" spc="-20">
                <a:solidFill>
                  <a:schemeClr val="bg1"/>
                </a:solidFill>
              </a:rPr>
            </a:br>
            <a:r>
              <a:rPr lang="fr-fr" sz="1400" spc="-20">
                <a:solidFill>
                  <a:schemeClr val="bg1"/>
                </a:solidFill>
              </a:rPr>
              <a:t>de l’activation de la génération et de l’exécution de code au niveau de l’environnement pour les agents de moteur personnalisés</a:t>
            </a:r>
          </a:p>
          <a:p>
            <a:pPr defTabSz="457200">
              <a:spcAft>
                <a:spcPts val="800"/>
              </a:spcAft>
              <a:defRPr/>
            </a:pPr>
            <a:r>
              <a:rPr lang="fr-fr" sz="1800" b="1">
                <a:solidFill>
                  <a:schemeClr val="bg1"/>
                </a:solidFill>
              </a:rPr>
              <a:t>Agents connectés Copilot Studio </a:t>
            </a:r>
            <a:r>
              <a:rPr lang="fr-fr" sz="1800">
                <a:solidFill>
                  <a:schemeClr val="bg1"/>
                </a:solidFill>
              </a:rPr>
              <a:t>-</a:t>
            </a:r>
            <a:r>
              <a:rPr lang="fr-fr" sz="1400">
                <a:solidFill>
                  <a:schemeClr val="bg1"/>
                </a:solidFill>
              </a:rPr>
              <a:t> Permettre à un agent Copilot Studio d’invoquer un autre agent</a:t>
            </a:r>
          </a:p>
          <a:p>
            <a:pPr defTabSz="457200">
              <a:spcAft>
                <a:spcPts val="800"/>
              </a:spcAft>
              <a:defRPr/>
            </a:pPr>
            <a:r>
              <a:rPr lang="fr-fr" sz="1800" b="1">
                <a:solidFill>
                  <a:schemeClr val="bg1"/>
                </a:solidFill>
              </a:rPr>
              <a:t>Navigateur hébergé dans Copilot Studio (niveau locataire) </a:t>
            </a:r>
            <a:r>
              <a:rPr lang="fr-fr" sz="1800" spc="-20">
                <a:solidFill>
                  <a:schemeClr val="bg1"/>
                </a:solidFill>
              </a:rPr>
              <a:t>-</a:t>
            </a:r>
            <a:r>
              <a:rPr lang="fr-fr" sz="1800">
                <a:solidFill>
                  <a:schemeClr val="bg1"/>
                </a:solidFill>
              </a:rPr>
              <a:t> </a:t>
            </a:r>
            <a:br>
              <a:rPr lang="fr-fr" sz="1800">
                <a:solidFill>
                  <a:schemeClr val="bg1"/>
                </a:solidFill>
              </a:rPr>
            </a:br>
            <a:r>
              <a:rPr lang="fr-fr" sz="1400">
                <a:solidFill>
                  <a:schemeClr val="bg1"/>
                </a:solidFill>
              </a:rPr>
              <a:t>Le navigateur hébergé permet à la fonctionnalité Utilisation de l’ordinateur d’exécuter un navigateur hébergé par Microsoft, avec accès à Internet et prise en charge de l’automatisation Web. En utilisant cette fonctionnalité, vous consentez à ce que vos données soient transférées vers Windows 365, qui fonctionne en dehors du périmètre de conformité Azure</a:t>
            </a:r>
            <a:endParaRPr lang="en-US" sz="1400" b="1">
              <a:solidFill>
                <a:schemeClr val="bg1"/>
              </a:solidFill>
            </a:endParaRPr>
          </a:p>
        </p:txBody>
      </p:sp>
      <p:pic>
        <p:nvPicPr>
          <p:cNvPr id="10" name="Picture 9">
            <a:extLst>
              <a:ext uri="{FF2B5EF4-FFF2-40B4-BE49-F238E27FC236}">
                <a16:creationId xmlns:a16="http://schemas.microsoft.com/office/drawing/2014/main" id="{81A3B9D0-EF61-D0F5-BA55-7366A458319C}"/>
              </a:ext>
            </a:extLst>
          </p:cNvPr>
          <p:cNvPicPr>
            <a:picLocks noChangeAspect="1"/>
          </p:cNvPicPr>
          <p:nvPr/>
        </p:nvPicPr>
        <p:blipFill>
          <a:blip r:embed="rId3"/>
          <a:stretch>
            <a:fillRect/>
          </a:stretch>
        </p:blipFill>
        <p:spPr>
          <a:xfrm>
            <a:off x="7333456" y="1749204"/>
            <a:ext cx="4657562" cy="3285783"/>
          </a:xfrm>
          <a:prstGeom prst="roundRect">
            <a:avLst>
              <a:gd name="adj" fmla="val 2542"/>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980855984"/>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5265CB-7A1D-DE63-5C94-17AF2E062B3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E492E13-2DA4-C0C0-06E3-C28103E46ABE}"/>
              </a:ext>
            </a:extLst>
          </p:cNvPr>
          <p:cNvSpPr>
            <a:spLocks noGrp="1"/>
          </p:cNvSpPr>
          <p:nvPr>
            <p:ph type="title"/>
          </p:nvPr>
        </p:nvSpPr>
        <p:spPr/>
        <p:txBody>
          <a:bodyPr/>
          <a:lstStyle/>
          <a:p>
            <a:r>
              <a:rPr lang="fr-fr"/>
              <a:t>Définir des limites de capacité au niveau des agents </a:t>
            </a:r>
          </a:p>
        </p:txBody>
      </p:sp>
      <p:sp>
        <p:nvSpPr>
          <p:cNvPr id="17" name="TextBox 16">
            <a:extLst>
              <a:ext uri="{FF2B5EF4-FFF2-40B4-BE49-F238E27FC236}">
                <a16:creationId xmlns:a16="http://schemas.microsoft.com/office/drawing/2014/main" id="{3587B1B2-FC8D-89A5-DAEA-A3D777C0C904}"/>
              </a:ext>
            </a:extLst>
          </p:cNvPr>
          <p:cNvSpPr txBox="1"/>
          <p:nvPr/>
        </p:nvSpPr>
        <p:spPr>
          <a:xfrm>
            <a:off x="563188" y="1749203"/>
            <a:ext cx="4242988" cy="4616648"/>
          </a:xfrm>
          <a:prstGeom prst="rect">
            <a:avLst/>
          </a:prstGeom>
          <a:noFill/>
        </p:spPr>
        <p:txBody>
          <a:bodyPr wrap="square" lIns="0" tIns="0" rIns="0" bIns="0" anchor="t">
            <a:spAutoFit/>
          </a:bodyPr>
          <a:lstStyle/>
          <a:p>
            <a:pPr>
              <a:spcAft>
                <a:spcPts val="1200"/>
              </a:spcAft>
            </a:pPr>
            <a:r>
              <a:rPr lang="fr-fr" sz="1800">
                <a:solidFill>
                  <a:schemeClr val="bg1"/>
                </a:solidFill>
              </a:rPr>
              <a:t>Analyses au niveau des agents et gestion des coûts pour obtenir une vue complète de votre écosystème d’agents </a:t>
            </a:r>
          </a:p>
          <a:p>
            <a:pPr>
              <a:spcAft>
                <a:spcPts val="1200"/>
              </a:spcAft>
            </a:pPr>
            <a:r>
              <a:rPr lang="fr-fr" sz="1800">
                <a:solidFill>
                  <a:schemeClr val="bg1"/>
                </a:solidFill>
              </a:rPr>
              <a:t>Définir des </a:t>
            </a:r>
            <a:r>
              <a:rPr lang="fr-fr" sz="1800" b="1">
                <a:solidFill>
                  <a:schemeClr val="bg1"/>
                </a:solidFill>
              </a:rPr>
              <a:t>limites de crédit </a:t>
            </a:r>
            <a:r>
              <a:rPr lang="fr-fr" sz="1800">
                <a:solidFill>
                  <a:schemeClr val="bg1"/>
                </a:solidFill>
              </a:rPr>
              <a:t>et suivre la consommation par rapport à ces limites </a:t>
            </a:r>
          </a:p>
          <a:p>
            <a:pPr>
              <a:spcAft>
                <a:spcPts val="1200"/>
              </a:spcAft>
            </a:pPr>
            <a:r>
              <a:rPr lang="fr-fr" sz="1800">
                <a:solidFill>
                  <a:schemeClr val="bg1"/>
                </a:solidFill>
              </a:rPr>
              <a:t>Configurer des déclencheurs automatiques liés aux limites de capacité (e-mail d’avertissement lorsque la limite est proche, puis désactivation)</a:t>
            </a:r>
          </a:p>
          <a:p>
            <a:pPr>
              <a:spcAft>
                <a:spcPts val="1200"/>
              </a:spcAft>
            </a:pPr>
            <a:r>
              <a:rPr lang="fr-fr" sz="1800">
                <a:solidFill>
                  <a:schemeClr val="bg1"/>
                </a:solidFill>
              </a:rPr>
              <a:t>Les administrateurs peuvent facilement </a:t>
            </a:r>
            <a:br>
              <a:rPr lang="fr-fr" sz="1800">
                <a:solidFill>
                  <a:schemeClr val="bg1"/>
                </a:solidFill>
              </a:rPr>
            </a:br>
            <a:r>
              <a:rPr lang="fr-fr" sz="1800">
                <a:solidFill>
                  <a:schemeClr val="bg1"/>
                </a:solidFill>
              </a:rPr>
              <a:t>y accéder dans le centre d’administration Power Platform, dans la section Hub de licences -&gt; Copilot Studio</a:t>
            </a:r>
          </a:p>
          <a:p>
            <a:pPr>
              <a:spcAft>
                <a:spcPts val="1200"/>
              </a:spcAft>
            </a:pPr>
            <a:endParaRPr lang="en-US" sz="2000">
              <a:solidFill>
                <a:schemeClr val="bg1"/>
              </a:solidFill>
            </a:endParaRPr>
          </a:p>
        </p:txBody>
      </p:sp>
      <p:pic>
        <p:nvPicPr>
          <p:cNvPr id="2" name="AgentsCreditsLimit">
            <a:hlinkClick r:id="" action="ppaction://media"/>
            <a:extLst>
              <a:ext uri="{FF2B5EF4-FFF2-40B4-BE49-F238E27FC236}">
                <a16:creationId xmlns:a16="http://schemas.microsoft.com/office/drawing/2014/main" id="{7BCC5313-B6B2-BD75-A966-38B3A1850DCF}"/>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t="6247" b="3433"/>
          <a:stretch>
            <a:fillRect/>
          </a:stretch>
        </p:blipFill>
        <p:spPr>
          <a:xfrm>
            <a:off x="5118410" y="1782275"/>
            <a:ext cx="6878392" cy="3293449"/>
          </a:xfrm>
          <a:prstGeom prst="roundRect">
            <a:avLst>
              <a:gd name="adj" fmla="val 3349"/>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697986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1905"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
                                        </p:tgtEl>
                                      </p:cBhvr>
                                    </p:cmd>
                                  </p:childTnLst>
                                </p:cTn>
                              </p:par>
                            </p:childTnLst>
                          </p:cTn>
                        </p:par>
                      </p:childTnLst>
                    </p:cTn>
                  </p:par>
                </p:childTnLst>
              </p:cTn>
              <p:nextCondLst>
                <p:cond evt="onClick" delay="0">
                  <p:tgtEl>
                    <p:spTgt spid="2"/>
                  </p:tgtEl>
                </p:cond>
              </p:nextCondLst>
            </p:seq>
            <p:video>
              <p:cMediaNode vol="80000" mute="1">
                <p:cTn id="12" fill="hold" display="0">
                  <p:stCondLst>
                    <p:cond delay="indefinite"/>
                  </p:stCondLst>
                </p:cTn>
                <p:tgtEl>
                  <p:spTgt spid="2"/>
                </p:tgtEl>
              </p:cMediaNode>
            </p:video>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2D2CB4-4214-9627-D0E2-CF9DDEC62C3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86DC340-D206-5833-3E92-855C687D0D94}"/>
              </a:ext>
            </a:extLst>
          </p:cNvPr>
          <p:cNvSpPr>
            <a:spLocks noGrp="1"/>
          </p:cNvSpPr>
          <p:nvPr>
            <p:ph type="title"/>
          </p:nvPr>
        </p:nvSpPr>
        <p:spPr/>
        <p:txBody>
          <a:bodyPr/>
          <a:lstStyle/>
          <a:p>
            <a:r>
              <a:rPr lang="fr-fr"/>
              <a:t>Agents en quarantaine</a:t>
            </a:r>
          </a:p>
        </p:txBody>
      </p:sp>
      <p:sp>
        <p:nvSpPr>
          <p:cNvPr id="17" name="TextBox 16">
            <a:extLst>
              <a:ext uri="{FF2B5EF4-FFF2-40B4-BE49-F238E27FC236}">
                <a16:creationId xmlns:a16="http://schemas.microsoft.com/office/drawing/2014/main" id="{23D6266C-BB08-1AFF-90C7-5E5EAC59AD23}"/>
              </a:ext>
            </a:extLst>
          </p:cNvPr>
          <p:cNvSpPr txBox="1"/>
          <p:nvPr/>
        </p:nvSpPr>
        <p:spPr>
          <a:xfrm>
            <a:off x="563188" y="1953599"/>
            <a:ext cx="5837611" cy="3016210"/>
          </a:xfrm>
          <a:prstGeom prst="rect">
            <a:avLst/>
          </a:prstGeom>
          <a:noFill/>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1200"/>
              </a:spcAft>
              <a:buClrTx/>
              <a:buSzTx/>
              <a:buFontTx/>
              <a:buNone/>
              <a:tabLst/>
              <a:defRPr/>
            </a:pPr>
            <a:r>
              <a:rPr kumimoji="0" lang="fr-fr" sz="2200" b="0" i="0" u="none" strike="noStrike" kern="1200" cap="none" spc="0" normalizeH="0" baseline="0" noProof="0">
                <a:ln>
                  <a:noFill/>
                </a:ln>
                <a:solidFill>
                  <a:schemeClr val="bg1"/>
                </a:solidFill>
                <a:effectLst/>
                <a:uLnTx/>
                <a:uFillTx/>
                <a:latin typeface="Segoe UI"/>
                <a:ea typeface="+mn-ea"/>
                <a:cs typeface="+mn-cs"/>
              </a:rPr>
              <a:t>Copilot Studio fournit aux administrateurs des outils pour gérer la sécurité et la conformité des agents, notamment des actions de mise </a:t>
            </a:r>
            <a:br>
              <a:rPr kumimoji="0" lang="fr-fr" sz="2200" b="0" i="0" u="none" strike="noStrike" kern="1200" cap="none" spc="0" normalizeH="0" baseline="0" noProof="0">
                <a:ln>
                  <a:noFill/>
                </a:ln>
                <a:solidFill>
                  <a:schemeClr val="bg1"/>
                </a:solidFill>
                <a:effectLst/>
                <a:uLnTx/>
                <a:uFillTx/>
                <a:latin typeface="Segoe UI"/>
                <a:ea typeface="+mn-ea"/>
                <a:cs typeface="+mn-cs"/>
              </a:rPr>
            </a:br>
            <a:r>
              <a:rPr kumimoji="0" lang="fr-fr" sz="2200" b="0" i="0" u="none" strike="noStrike" kern="1200" cap="none" spc="0" normalizeH="0" baseline="0" noProof="0">
                <a:ln>
                  <a:noFill/>
                </a:ln>
                <a:solidFill>
                  <a:schemeClr val="bg1"/>
                </a:solidFill>
                <a:effectLst/>
                <a:uLnTx/>
                <a:uFillTx/>
                <a:latin typeface="Segoe UI"/>
                <a:ea typeface="+mn-ea"/>
                <a:cs typeface="+mn-cs"/>
              </a:rPr>
              <a:t>en quarantaine via l’</a:t>
            </a:r>
            <a:r>
              <a:rPr kumimoji="0" lang="fr-fr" sz="2200" b="1" i="0" u="none" strike="noStrike" kern="1200" cap="none" spc="0" normalizeH="0" baseline="0" noProof="0">
                <a:ln>
                  <a:noFill/>
                </a:ln>
                <a:solidFill>
                  <a:schemeClr val="bg1"/>
                </a:solidFill>
                <a:effectLst/>
                <a:uLnTx/>
                <a:uFillTx/>
                <a:latin typeface="Segoe UI"/>
                <a:ea typeface="+mn-ea"/>
                <a:cs typeface="+mn-cs"/>
              </a:rPr>
              <a:t>API Power Platform</a:t>
            </a:r>
          </a:p>
          <a:p>
            <a:pPr marL="0" marR="0" lvl="0" indent="0" algn="l" defTabSz="457200" rtl="0" eaLnBrk="1" fontAlgn="auto" latinLnBrk="0" hangingPunct="1">
              <a:lnSpc>
                <a:spcPct val="100000"/>
              </a:lnSpc>
              <a:spcBef>
                <a:spcPts val="0"/>
              </a:spcBef>
              <a:spcAft>
                <a:spcPts val="1200"/>
              </a:spcAft>
              <a:buClrTx/>
              <a:buSzTx/>
              <a:buFontTx/>
              <a:buNone/>
              <a:tabLst/>
              <a:defRPr/>
            </a:pPr>
            <a:r>
              <a:rPr lang="fr-fr" sz="2200">
                <a:solidFill>
                  <a:schemeClr val="bg1"/>
                </a:solidFill>
                <a:latin typeface="Segoe UI"/>
              </a:rPr>
              <a:t>Uniquement pour les </a:t>
            </a:r>
            <a:r>
              <a:rPr lang="fr-fr" sz="2200" b="1">
                <a:solidFill>
                  <a:schemeClr val="bg1"/>
                </a:solidFill>
                <a:latin typeface="Segoe UI"/>
              </a:rPr>
              <a:t>agents de moteur personnalisé</a:t>
            </a:r>
          </a:p>
          <a:p>
            <a:pPr marL="0" marR="0" lvl="0" indent="0" algn="l" defTabSz="457200" rtl="0" eaLnBrk="1" fontAlgn="auto" latinLnBrk="0" hangingPunct="1">
              <a:lnSpc>
                <a:spcPct val="100000"/>
              </a:lnSpc>
              <a:spcBef>
                <a:spcPts val="0"/>
              </a:spcBef>
              <a:spcAft>
                <a:spcPts val="1200"/>
              </a:spcAft>
              <a:buClrTx/>
              <a:buSzTx/>
              <a:buFontTx/>
              <a:buNone/>
              <a:tabLst/>
              <a:defRPr/>
            </a:pPr>
            <a:r>
              <a:rPr lang="fr-fr" sz="2200">
                <a:solidFill>
                  <a:schemeClr val="bg1"/>
                </a:solidFill>
                <a:latin typeface="Segoe UI"/>
              </a:rPr>
              <a:t>Utiliser le connecteur </a:t>
            </a:r>
            <a:r>
              <a:rPr lang="fr-fr" sz="2200" b="1">
                <a:solidFill>
                  <a:schemeClr val="bg1"/>
                </a:solidFill>
                <a:latin typeface="Segoe UI"/>
              </a:rPr>
              <a:t>Power Platform for Admins V2 </a:t>
            </a:r>
            <a:r>
              <a:rPr lang="fr-fr" sz="2200">
                <a:solidFill>
                  <a:schemeClr val="bg1"/>
                </a:solidFill>
                <a:latin typeface="Segoe UI"/>
              </a:rPr>
              <a:t>ou </a:t>
            </a:r>
            <a:r>
              <a:rPr lang="fr-fr" sz="2200" b="1">
                <a:solidFill>
                  <a:schemeClr val="bg1"/>
                </a:solidFill>
                <a:latin typeface="Segoe UI"/>
              </a:rPr>
              <a:t>PowerShell </a:t>
            </a:r>
            <a:endParaRPr kumimoji="0" lang="en-US" sz="2200" i="0" u="none" strike="noStrike" kern="1200" cap="none" spc="0" normalizeH="0" baseline="0" noProof="0">
              <a:ln>
                <a:noFill/>
              </a:ln>
              <a:solidFill>
                <a:schemeClr val="bg1"/>
              </a:solidFill>
              <a:effectLst/>
              <a:uLnTx/>
              <a:uFillTx/>
              <a:latin typeface="Segoe UI"/>
              <a:ea typeface="+mn-ea"/>
              <a:cs typeface="+mn-cs"/>
            </a:endParaRPr>
          </a:p>
        </p:txBody>
      </p:sp>
      <p:pic>
        <p:nvPicPr>
          <p:cNvPr id="5" name="Picture 4">
            <a:extLst>
              <a:ext uri="{FF2B5EF4-FFF2-40B4-BE49-F238E27FC236}">
                <a16:creationId xmlns:a16="http://schemas.microsoft.com/office/drawing/2014/main" id="{EA86C85B-8A0B-A7D6-343E-4B57CEDB9CC1}"/>
              </a:ext>
            </a:extLst>
          </p:cNvPr>
          <p:cNvPicPr>
            <a:picLocks noChangeAspect="1"/>
          </p:cNvPicPr>
          <p:nvPr/>
        </p:nvPicPr>
        <p:blipFill>
          <a:blip r:embed="rId3"/>
          <a:stretch>
            <a:fillRect/>
          </a:stretch>
        </p:blipFill>
        <p:spPr>
          <a:xfrm>
            <a:off x="6962773" y="485482"/>
            <a:ext cx="4982161" cy="3191520"/>
          </a:xfrm>
          <a:prstGeom prst="roundRect">
            <a:avLst>
              <a:gd name="adj" fmla="val 4524"/>
            </a:avLst>
          </a:prstGeom>
          <a:solidFill>
            <a:srgbClr val="FFFFFF">
              <a:shade val="85000"/>
            </a:srgbClr>
          </a:solidFill>
          <a:ln>
            <a:noFill/>
          </a:ln>
          <a:effectLst/>
        </p:spPr>
      </p:pic>
      <p:pic>
        <p:nvPicPr>
          <p:cNvPr id="6" name="Picture 5">
            <a:extLst>
              <a:ext uri="{FF2B5EF4-FFF2-40B4-BE49-F238E27FC236}">
                <a16:creationId xmlns:a16="http://schemas.microsoft.com/office/drawing/2014/main" id="{C8374D6B-DFB1-6A8A-9167-9E35EEEFB0A0}"/>
              </a:ext>
            </a:extLst>
          </p:cNvPr>
          <p:cNvPicPr>
            <a:picLocks noChangeAspect="1"/>
          </p:cNvPicPr>
          <p:nvPr/>
        </p:nvPicPr>
        <p:blipFill>
          <a:blip r:embed="rId4"/>
          <a:stretch>
            <a:fillRect/>
          </a:stretch>
        </p:blipFill>
        <p:spPr>
          <a:xfrm>
            <a:off x="6962775" y="5084594"/>
            <a:ext cx="4982161" cy="1411308"/>
          </a:xfrm>
          <a:prstGeom prst="roundRect">
            <a:avLst>
              <a:gd name="adj" fmla="val 6938"/>
            </a:avLst>
          </a:prstGeom>
          <a:solidFill>
            <a:srgbClr val="FFFFFF">
              <a:shade val="85000"/>
            </a:srgbClr>
          </a:solidFill>
          <a:ln>
            <a:noFill/>
          </a:ln>
          <a:effectLst>
            <a:reflection blurRad="12700" stA="38000" endPos="28000" dist="5000" dir="5400000" sy="-100000" algn="bl" rotWithShape="0"/>
          </a:effectLst>
        </p:spPr>
      </p:pic>
      <p:sp>
        <p:nvSpPr>
          <p:cNvPr id="8" name="TextBox 7">
            <a:extLst>
              <a:ext uri="{FF2B5EF4-FFF2-40B4-BE49-F238E27FC236}">
                <a16:creationId xmlns:a16="http://schemas.microsoft.com/office/drawing/2014/main" id="{23D6C1D9-1307-5263-BEF9-49BA0C837144}"/>
              </a:ext>
            </a:extLst>
          </p:cNvPr>
          <p:cNvSpPr txBox="1"/>
          <p:nvPr/>
        </p:nvSpPr>
        <p:spPr>
          <a:xfrm>
            <a:off x="330994" y="5681507"/>
            <a:ext cx="5907881" cy="635559"/>
          </a:xfrm>
          <a:prstGeom prst="rect">
            <a:avLst/>
          </a:prstGeom>
          <a:noFill/>
        </p:spPr>
        <p:txBody>
          <a:bodyPr wrap="square">
            <a:spAutoFit/>
          </a:bodyPr>
          <a:lstStyle/>
          <a:p>
            <a:r>
              <a:rPr lang="fr-fr">
                <a:solidFill>
                  <a:schemeClr val="bg1"/>
                </a:solidFill>
                <a:hlinkClick r:id="rId5">
                  <a:extLst>
                    <a:ext uri="{A12FA001-AC4F-418D-AE19-62706E023703}">
                      <ahyp:hlinkClr xmlns:ahyp="http://schemas.microsoft.com/office/drawing/2018/hyperlinkcolor" val="tx"/>
                    </a:ext>
                  </a:extLst>
                </a:hlinkClick>
              </a:rPr>
              <a:t>https://learn.microsoft.com/en-us/microsoft-copilot-studio/admin-api-quarantine</a:t>
            </a:r>
            <a:r>
              <a:rPr lang="fr-fr">
                <a:solidFill>
                  <a:schemeClr val="bg1"/>
                </a:solidFill>
              </a:rPr>
              <a:t> </a:t>
            </a:r>
            <a:endParaRPr lang="en-FI">
              <a:solidFill>
                <a:schemeClr val="bg1"/>
              </a:solidFill>
            </a:endParaRPr>
          </a:p>
        </p:txBody>
      </p:sp>
      <p:pic>
        <p:nvPicPr>
          <p:cNvPr id="10" name="Picture 9">
            <a:extLst>
              <a:ext uri="{FF2B5EF4-FFF2-40B4-BE49-F238E27FC236}">
                <a16:creationId xmlns:a16="http://schemas.microsoft.com/office/drawing/2014/main" id="{AF099859-865E-882B-9FC4-E37A4CCA3671}"/>
              </a:ext>
            </a:extLst>
          </p:cNvPr>
          <p:cNvPicPr>
            <a:picLocks noChangeAspect="1"/>
          </p:cNvPicPr>
          <p:nvPr/>
        </p:nvPicPr>
        <p:blipFill>
          <a:blip r:embed="rId6"/>
          <a:stretch>
            <a:fillRect/>
          </a:stretch>
        </p:blipFill>
        <p:spPr>
          <a:xfrm>
            <a:off x="6962774" y="3845216"/>
            <a:ext cx="4982161" cy="1071164"/>
          </a:xfrm>
          <a:prstGeom prst="roundRect">
            <a:avLst>
              <a:gd name="adj" fmla="val 8594"/>
            </a:avLst>
          </a:prstGeom>
          <a:solidFill>
            <a:srgbClr val="FFFFFF">
              <a:shade val="85000"/>
            </a:srgbClr>
          </a:solidFill>
          <a:ln>
            <a:noFill/>
          </a:ln>
          <a:effectLst/>
        </p:spPr>
      </p:pic>
    </p:spTree>
    <p:extLst>
      <p:ext uri="{BB962C8B-B14F-4D97-AF65-F5344CB8AC3E}">
        <p14:creationId xmlns:p14="http://schemas.microsoft.com/office/powerpoint/2010/main" val="17361868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48D61F-9272-36BF-9AB1-96AD4ECE5DB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7B47856-E8EC-8B60-187B-2568390FF20A}"/>
              </a:ext>
            </a:extLst>
          </p:cNvPr>
          <p:cNvSpPr>
            <a:spLocks noGrp="1"/>
          </p:cNvSpPr>
          <p:nvPr>
            <p:ph type="title"/>
          </p:nvPr>
        </p:nvSpPr>
        <p:spPr/>
        <p:txBody>
          <a:bodyPr/>
          <a:lstStyle/>
          <a:p>
            <a:r>
              <a:rPr lang="fr-fr"/>
              <a:t>Gestion avancée de SharePoint (SAM)</a:t>
            </a:r>
          </a:p>
        </p:txBody>
      </p:sp>
      <p:sp>
        <p:nvSpPr>
          <p:cNvPr id="2" name="Rectangle: Rounded Corners 1">
            <a:extLst>
              <a:ext uri="{FF2B5EF4-FFF2-40B4-BE49-F238E27FC236}">
                <a16:creationId xmlns:a16="http://schemas.microsoft.com/office/drawing/2014/main" id="{78BF76FF-DE82-A558-8F5F-675B14051D43}"/>
              </a:ext>
              <a:ext uri="{C183D7F6-B498-43B3-948B-1728B52AA6E4}">
                <adec:decorative xmlns:adec="http://schemas.microsoft.com/office/drawing/2017/decorative" val="1"/>
              </a:ext>
            </a:extLst>
          </p:cNvPr>
          <p:cNvSpPr>
            <a:spLocks/>
          </p:cNvSpPr>
          <p:nvPr/>
        </p:nvSpPr>
        <p:spPr bwMode="auto">
          <a:xfrm>
            <a:off x="479648" y="2120971"/>
            <a:ext cx="11238290" cy="4251548"/>
          </a:xfrm>
          <a:prstGeom prst="roundRect">
            <a:avLst>
              <a:gd name="adj" fmla="val 3931"/>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solidFill>
                <a:schemeClr val="bg1"/>
              </a:solidFill>
              <a:effectLst/>
              <a:uLnTx/>
              <a:uFillTx/>
              <a:latin typeface="Segoe UI Semibold"/>
              <a:ea typeface="+mn-ea"/>
              <a:cs typeface="+mn-cs"/>
            </a:endParaRPr>
          </a:p>
        </p:txBody>
      </p:sp>
      <p:sp>
        <p:nvSpPr>
          <p:cNvPr id="3" name="Rectangle: Top Corners Rounded 49">
            <a:extLst>
              <a:ext uri="{FF2B5EF4-FFF2-40B4-BE49-F238E27FC236}">
                <a16:creationId xmlns:a16="http://schemas.microsoft.com/office/drawing/2014/main" id="{C233F00E-B192-2210-D5D8-FF65585CDBEE}"/>
              </a:ext>
              <a:ext uri="{C183D7F6-B498-43B3-948B-1728B52AA6E4}">
                <adec:decorative xmlns:adec="http://schemas.microsoft.com/office/drawing/2017/decorative" val="1"/>
              </a:ext>
            </a:extLst>
          </p:cNvPr>
          <p:cNvSpPr/>
          <p:nvPr/>
        </p:nvSpPr>
        <p:spPr bwMode="auto">
          <a:xfrm rot="16200000">
            <a:off x="1425722" y="1528818"/>
            <a:ext cx="1095790" cy="2659246"/>
          </a:xfrm>
          <a:prstGeom prst="roundRect">
            <a:avLst>
              <a:gd name="adj" fmla="val 10491"/>
            </a:avLst>
          </a:prstGeom>
          <a:gradFill flip="none" rotWithShape="1">
            <a:gsLst>
              <a:gs pos="0">
                <a:srgbClr val="0A6BBA"/>
              </a:gs>
              <a:gs pos="79000">
                <a:srgbClr val="318581"/>
              </a:gs>
            </a:gsLst>
            <a:path path="circle">
              <a:fillToRect l="100000" t="100000"/>
            </a:path>
            <a:tileRect r="-100000" b="-100000"/>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chemeClr val="bg1"/>
              </a:solidFill>
              <a:effectLst/>
              <a:uLnTx/>
              <a:uFillTx/>
              <a:latin typeface="Segoe UI Semibold"/>
              <a:ea typeface="+mn-ea"/>
              <a:cs typeface="+mn-cs"/>
            </a:endParaRPr>
          </a:p>
        </p:txBody>
      </p:sp>
      <p:sp>
        <p:nvSpPr>
          <p:cNvPr id="5" name="Text Placeholder 140">
            <a:extLst>
              <a:ext uri="{FF2B5EF4-FFF2-40B4-BE49-F238E27FC236}">
                <a16:creationId xmlns:a16="http://schemas.microsoft.com/office/drawing/2014/main" id="{3A1247DA-0D4A-6C65-E786-0A12154029D5}"/>
              </a:ext>
            </a:extLst>
          </p:cNvPr>
          <p:cNvSpPr txBox="1">
            <a:spLocks/>
          </p:cNvSpPr>
          <p:nvPr/>
        </p:nvSpPr>
        <p:spPr>
          <a:xfrm>
            <a:off x="962900" y="2570933"/>
            <a:ext cx="2340340" cy="553998"/>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200" b="1"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fr-fr" sz="1800" b="1"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Découverte de contenu limitée (RCD) </a:t>
            </a:r>
          </a:p>
        </p:txBody>
      </p:sp>
      <p:sp>
        <p:nvSpPr>
          <p:cNvPr id="6" name="Text Placeholder 140">
            <a:extLst>
              <a:ext uri="{FF2B5EF4-FFF2-40B4-BE49-F238E27FC236}">
                <a16:creationId xmlns:a16="http://schemas.microsoft.com/office/drawing/2014/main" id="{E363B0CC-5C65-4659-2DFB-E383D797CFE7}"/>
              </a:ext>
            </a:extLst>
          </p:cNvPr>
          <p:cNvSpPr txBox="1">
            <a:spLocks/>
          </p:cNvSpPr>
          <p:nvPr/>
        </p:nvSpPr>
        <p:spPr>
          <a:xfrm>
            <a:off x="3623914" y="2328430"/>
            <a:ext cx="7868667" cy="1077218"/>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200" b="1"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a:pPr>
            <a:r>
              <a:rPr kumimoji="0" lang="fr-fr" sz="1400" b="0" i="0" u="none" strike="noStrike" kern="1200" cap="none" spc="0" normalizeH="0" baseline="0" noProof="0">
                <a:ln>
                  <a:noFill/>
                </a:ln>
                <a:solidFill>
                  <a:schemeClr val="bg1"/>
                </a:solidFill>
                <a:effectLst/>
                <a:uLnTx/>
                <a:uFillTx/>
                <a:latin typeface="Segoe UI Regular"/>
                <a:ea typeface="+mn-ea"/>
                <a:cs typeface="Segoe UI" panose="020B0502040204020203" pitchFamily="34" charset="0"/>
              </a:rPr>
              <a:t>Il s’agit d’un </a:t>
            </a:r>
            <a:r>
              <a:rPr kumimoji="0" lang="fr-fr" sz="14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paramètre au niveau du site qui doit être propagé vers l’index de recherche</a:t>
            </a:r>
            <a:r>
              <a:rPr kumimoji="0" lang="fr-fr" sz="1400" b="0" i="0" u="none" strike="noStrike" kern="1200" cap="none" spc="0" normalizeH="0" baseline="0" noProof="0">
                <a:ln>
                  <a:noFill/>
                </a:ln>
                <a:solidFill>
                  <a:schemeClr val="bg1"/>
                </a:solidFill>
                <a:effectLst/>
                <a:uLnTx/>
                <a:uFillTx/>
                <a:latin typeface="Segoe UI Regular"/>
                <a:ea typeface="+mn-ea"/>
                <a:cs typeface="Segoe UI" panose="020B0502040204020203" pitchFamily="34" charset="0"/>
              </a:rPr>
              <a:t>. Il permet de configurer des stratégies, en laissant l’accès au site inchangé mais en empêchant le contenu du site d’être affiché dans </a:t>
            </a:r>
            <a:r>
              <a:rPr kumimoji="0" lang="fr-fr" sz="1400" b="0" i="0" u="none" strike="noStrike" kern="1200" cap="none" spc="0" normalizeH="0" baseline="0" noProof="0" err="1">
                <a:ln>
                  <a:noFill/>
                </a:ln>
                <a:solidFill>
                  <a:schemeClr val="bg1"/>
                </a:solidFill>
                <a:effectLst/>
                <a:uLnTx/>
                <a:uFillTx/>
                <a:latin typeface="Segoe UI Regular"/>
                <a:ea typeface="+mn-ea"/>
                <a:cs typeface="Segoe UI" panose="020B0502040204020203" pitchFamily="34" charset="0"/>
              </a:rPr>
              <a:t>Copilot</a:t>
            </a:r>
            <a:r>
              <a:rPr kumimoji="0" lang="fr-fr" sz="1400" b="0" i="0" u="none" strike="noStrike" kern="1200" cap="none" spc="0" normalizeH="0" baseline="0" noProof="0">
                <a:ln>
                  <a:noFill/>
                </a:ln>
                <a:solidFill>
                  <a:schemeClr val="bg1"/>
                </a:solidFill>
                <a:effectLst/>
                <a:uLnTx/>
                <a:uFillTx/>
                <a:latin typeface="Segoe UI Regular"/>
                <a:ea typeface="+mn-ea"/>
                <a:cs typeface="Segoe UI" panose="020B0502040204020203" pitchFamily="34" charset="0"/>
              </a:rPr>
              <a:t> ou dans une recherche à l’échelle de l’organisation. Il peut être configuré de manière granulaire pour les sites d’équipe et les sites de communication. </a:t>
            </a:r>
            <a:r>
              <a:rPr kumimoji="0" lang="fr-fr" sz="1400" b="1" i="1" u="none" strike="noStrike" kern="1200" cap="none" spc="0" normalizeH="0" baseline="0" noProof="0">
                <a:ln>
                  <a:noFill/>
                </a:ln>
                <a:solidFill>
                  <a:schemeClr val="bg1"/>
                </a:solidFill>
                <a:effectLst/>
                <a:uLnTx/>
                <a:uFillTx/>
                <a:latin typeface="Segoe UI Regular"/>
                <a:ea typeface="+mn-ea"/>
                <a:cs typeface="Segoe UI" panose="020B0502040204020203" pitchFamily="34" charset="0"/>
              </a:rPr>
              <a:t>La découverte de contenu limitée (RCD) désactive toutes les activités liées aux agents pour le site</a:t>
            </a:r>
          </a:p>
        </p:txBody>
      </p:sp>
      <p:sp>
        <p:nvSpPr>
          <p:cNvPr id="7" name="Rectangle: Top Corners Rounded 51">
            <a:extLst>
              <a:ext uri="{FF2B5EF4-FFF2-40B4-BE49-F238E27FC236}">
                <a16:creationId xmlns:a16="http://schemas.microsoft.com/office/drawing/2014/main" id="{E081A59B-5139-B333-3654-F538859CD386}"/>
              </a:ext>
              <a:ext uri="{C183D7F6-B498-43B3-948B-1728B52AA6E4}">
                <adec:decorative xmlns:adec="http://schemas.microsoft.com/office/drawing/2017/decorative" val="1"/>
              </a:ext>
            </a:extLst>
          </p:cNvPr>
          <p:cNvSpPr/>
          <p:nvPr/>
        </p:nvSpPr>
        <p:spPr bwMode="auto">
          <a:xfrm rot="16200000">
            <a:off x="1425722" y="2913145"/>
            <a:ext cx="1095790" cy="2659246"/>
          </a:xfrm>
          <a:prstGeom prst="roundRect">
            <a:avLst>
              <a:gd name="adj" fmla="val 10491"/>
            </a:avLst>
          </a:prstGeom>
          <a:gradFill flip="none" rotWithShape="1">
            <a:gsLst>
              <a:gs pos="0">
                <a:srgbClr val="AC35AF"/>
              </a:gs>
              <a:gs pos="80000">
                <a:srgbClr val="0A6BBA"/>
              </a:gs>
            </a:gsLst>
            <a:path path="circle">
              <a:fillToRect l="100000" t="100000"/>
            </a:path>
            <a:tileRect r="-100000" b="-100000"/>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chemeClr val="bg1"/>
              </a:solidFill>
              <a:effectLst/>
              <a:uLnTx/>
              <a:uFillTx/>
              <a:latin typeface="Segoe UI Semibold"/>
              <a:ea typeface="+mn-ea"/>
              <a:cs typeface="+mn-cs"/>
            </a:endParaRPr>
          </a:p>
        </p:txBody>
      </p:sp>
      <p:sp>
        <p:nvSpPr>
          <p:cNvPr id="8" name="Text Placeholder 140">
            <a:extLst>
              <a:ext uri="{FF2B5EF4-FFF2-40B4-BE49-F238E27FC236}">
                <a16:creationId xmlns:a16="http://schemas.microsoft.com/office/drawing/2014/main" id="{2AF7651D-FF0A-8B41-3C9C-96EDA204382B}"/>
              </a:ext>
            </a:extLst>
          </p:cNvPr>
          <p:cNvSpPr txBox="1">
            <a:spLocks/>
          </p:cNvSpPr>
          <p:nvPr/>
        </p:nvSpPr>
        <p:spPr>
          <a:xfrm>
            <a:off x="962900" y="3816761"/>
            <a:ext cx="2049828" cy="830997"/>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200" b="1"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fr-fr" sz="1800" b="1"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Stratégie de contrôle d’accès restreint (RAC)</a:t>
            </a:r>
          </a:p>
        </p:txBody>
      </p:sp>
      <p:sp>
        <p:nvSpPr>
          <p:cNvPr id="9" name="Text Placeholder 140">
            <a:extLst>
              <a:ext uri="{FF2B5EF4-FFF2-40B4-BE49-F238E27FC236}">
                <a16:creationId xmlns:a16="http://schemas.microsoft.com/office/drawing/2014/main" id="{2E5FFD1D-84CD-67B8-38B6-80FCEE8182A6}"/>
              </a:ext>
            </a:extLst>
          </p:cNvPr>
          <p:cNvSpPr txBox="1">
            <a:spLocks/>
          </p:cNvSpPr>
          <p:nvPr/>
        </p:nvSpPr>
        <p:spPr>
          <a:xfrm>
            <a:off x="3623914" y="3814945"/>
            <a:ext cx="7868667" cy="646331"/>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200" b="1"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a:pPr>
            <a:r>
              <a:rPr kumimoji="0" lang="fr-fr" sz="1400" b="0" i="0" u="none" strike="noStrike" kern="1200" cap="none" spc="0" normalizeH="0" baseline="0" noProof="0">
                <a:ln>
                  <a:noFill/>
                </a:ln>
                <a:solidFill>
                  <a:schemeClr val="bg1"/>
                </a:solidFill>
                <a:effectLst/>
                <a:uLnTx/>
                <a:uFillTx/>
                <a:latin typeface="Segoe UI"/>
                <a:ea typeface="+mn-ea"/>
                <a:cs typeface="Segoe UI" panose="020B0502040204020203" pitchFamily="34" charset="0"/>
              </a:rPr>
              <a:t>Dans la gestion avancée de SharePoint (SAM), il s’agit d’un outil puissant pour renforcer la sécurité et la gouvernance. Les stratégies RAC permettent de restreindre l’accès </a:t>
            </a:r>
            <a:br>
              <a:rPr kumimoji="0" lang="fr-fr" sz="1400" b="0" i="0" u="none" strike="noStrike" kern="1200" cap="none" spc="0" normalizeH="0" baseline="0" noProof="0">
                <a:ln>
                  <a:noFill/>
                </a:ln>
                <a:solidFill>
                  <a:schemeClr val="bg1"/>
                </a:solidFill>
                <a:effectLst/>
                <a:uLnTx/>
                <a:uFillTx/>
                <a:latin typeface="Segoe UI"/>
                <a:ea typeface="+mn-ea"/>
                <a:cs typeface="Segoe UI" panose="020B0502040204020203" pitchFamily="34" charset="0"/>
              </a:rPr>
            </a:br>
            <a:r>
              <a:rPr kumimoji="0" lang="fr-fr" sz="1400" b="0" i="0" u="none" strike="noStrike" kern="1200" cap="none" spc="0" normalizeH="0" baseline="0" noProof="0">
                <a:ln>
                  <a:noFill/>
                </a:ln>
                <a:solidFill>
                  <a:schemeClr val="bg1"/>
                </a:solidFill>
                <a:effectLst/>
                <a:uLnTx/>
                <a:uFillTx/>
                <a:latin typeface="Segoe UI"/>
                <a:ea typeface="+mn-ea"/>
                <a:cs typeface="Segoe UI" panose="020B0502040204020203" pitchFamily="34" charset="0"/>
              </a:rPr>
              <a:t>à certains sites et contenus uniquement à des groupes d’utilisateurs spécifiques</a:t>
            </a:r>
          </a:p>
        </p:txBody>
      </p:sp>
      <p:cxnSp>
        <p:nvCxnSpPr>
          <p:cNvPr id="10" name="!!line2">
            <a:extLst>
              <a:ext uri="{FF2B5EF4-FFF2-40B4-BE49-F238E27FC236}">
                <a16:creationId xmlns:a16="http://schemas.microsoft.com/office/drawing/2014/main" id="{06488256-0A84-8C9B-4EB3-DB51CA9E4A58}"/>
              </a:ext>
              <a:ext uri="{C183D7F6-B498-43B3-948B-1728B52AA6E4}">
                <adec:decorative xmlns:adec="http://schemas.microsoft.com/office/drawing/2017/decorative" val="1"/>
              </a:ext>
            </a:extLst>
          </p:cNvPr>
          <p:cNvCxnSpPr>
            <a:cxnSpLocks/>
          </p:cNvCxnSpPr>
          <p:nvPr/>
        </p:nvCxnSpPr>
        <p:spPr>
          <a:xfrm flipH="1">
            <a:off x="3602134" y="3546653"/>
            <a:ext cx="7407195" cy="0"/>
          </a:xfrm>
          <a:prstGeom prst="line">
            <a:avLst/>
          </a:prstGeom>
          <a:ln w="12700" cap="rnd">
            <a:solidFill>
              <a:srgbClr val="454142">
                <a:alpha val="20000"/>
              </a:srgb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11" name="!!line2">
            <a:extLst>
              <a:ext uri="{FF2B5EF4-FFF2-40B4-BE49-F238E27FC236}">
                <a16:creationId xmlns:a16="http://schemas.microsoft.com/office/drawing/2014/main" id="{45B63C75-362A-8D71-C5C4-7FECFFBEED75}"/>
              </a:ext>
              <a:ext uri="{C183D7F6-B498-43B3-948B-1728B52AA6E4}">
                <adec:decorative xmlns:adec="http://schemas.microsoft.com/office/drawing/2017/decorative" val="1"/>
              </a:ext>
            </a:extLst>
          </p:cNvPr>
          <p:cNvCxnSpPr>
            <a:cxnSpLocks/>
          </p:cNvCxnSpPr>
          <p:nvPr/>
        </p:nvCxnSpPr>
        <p:spPr>
          <a:xfrm flipH="1">
            <a:off x="3602134" y="4802246"/>
            <a:ext cx="7407195" cy="0"/>
          </a:xfrm>
          <a:prstGeom prst="line">
            <a:avLst/>
          </a:prstGeom>
          <a:ln w="12700" cap="rnd">
            <a:solidFill>
              <a:srgbClr val="454142">
                <a:alpha val="20000"/>
              </a:srgb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12" name="Rectangle: Top Corners Rounded 52">
            <a:extLst>
              <a:ext uri="{FF2B5EF4-FFF2-40B4-BE49-F238E27FC236}">
                <a16:creationId xmlns:a16="http://schemas.microsoft.com/office/drawing/2014/main" id="{AAB9C3CC-09D2-D42E-8E18-D65CCE957E27}"/>
              </a:ext>
              <a:ext uri="{C183D7F6-B498-43B3-948B-1728B52AA6E4}">
                <adec:decorative xmlns:adec="http://schemas.microsoft.com/office/drawing/2017/decorative" val="1"/>
              </a:ext>
            </a:extLst>
          </p:cNvPr>
          <p:cNvSpPr/>
          <p:nvPr/>
        </p:nvSpPr>
        <p:spPr bwMode="auto">
          <a:xfrm rot="16200000">
            <a:off x="1425723" y="4271780"/>
            <a:ext cx="1095790" cy="2659246"/>
          </a:xfrm>
          <a:prstGeom prst="roundRect">
            <a:avLst>
              <a:gd name="adj" fmla="val 10491"/>
            </a:avLst>
          </a:prstGeom>
          <a:gradFill flip="none" rotWithShape="1">
            <a:gsLst>
              <a:gs pos="0">
                <a:srgbClr val="F65567"/>
              </a:gs>
              <a:gs pos="80000">
                <a:srgbClr val="AC35AF"/>
              </a:gs>
            </a:gsLst>
            <a:path path="circle">
              <a:fillToRect l="100000" t="100000"/>
            </a:path>
            <a:tileRect r="-100000" b="-100000"/>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chemeClr val="bg1"/>
              </a:solidFill>
              <a:effectLst/>
              <a:uLnTx/>
              <a:uFillTx/>
              <a:latin typeface="Segoe UI Semibold"/>
              <a:ea typeface="+mn-ea"/>
              <a:cs typeface="+mn-cs"/>
            </a:endParaRPr>
          </a:p>
        </p:txBody>
      </p:sp>
      <p:sp>
        <p:nvSpPr>
          <p:cNvPr id="13" name="Text Placeholder 140">
            <a:extLst>
              <a:ext uri="{FF2B5EF4-FFF2-40B4-BE49-F238E27FC236}">
                <a16:creationId xmlns:a16="http://schemas.microsoft.com/office/drawing/2014/main" id="{09B43E2B-C3B8-0951-61EE-968573795224}"/>
              </a:ext>
            </a:extLst>
          </p:cNvPr>
          <p:cNvSpPr txBox="1">
            <a:spLocks/>
          </p:cNvSpPr>
          <p:nvPr/>
        </p:nvSpPr>
        <p:spPr>
          <a:xfrm>
            <a:off x="962900" y="5175395"/>
            <a:ext cx="2049828" cy="830997"/>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200" b="1"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fr-fr" sz="1800" b="1"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Gouvernance </a:t>
            </a:r>
            <a:br>
              <a:rPr kumimoji="0" lang="fr-fr" sz="1800" b="1"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br>
            <a:r>
              <a:rPr kumimoji="0" lang="fr-fr" sz="1800" b="1"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de l’accès aux données (DAG)</a:t>
            </a:r>
          </a:p>
        </p:txBody>
      </p:sp>
      <p:sp>
        <p:nvSpPr>
          <p:cNvPr id="15" name="Text Placeholder 140">
            <a:extLst>
              <a:ext uri="{FF2B5EF4-FFF2-40B4-BE49-F238E27FC236}">
                <a16:creationId xmlns:a16="http://schemas.microsoft.com/office/drawing/2014/main" id="{77FB4193-19CC-B326-8770-3B5814B9911E}"/>
              </a:ext>
            </a:extLst>
          </p:cNvPr>
          <p:cNvSpPr txBox="1">
            <a:spLocks/>
          </p:cNvSpPr>
          <p:nvPr/>
        </p:nvSpPr>
        <p:spPr>
          <a:xfrm>
            <a:off x="3623915" y="5101053"/>
            <a:ext cx="7868666" cy="1077218"/>
          </a:xfrm>
          <a:prstGeom prst="rect">
            <a:avLst/>
          </a:prstGeom>
        </p:spPr>
        <p:txBody>
          <a:bodyPr vert="horz" wrap="square" lIns="0" tIns="0" rIns="0" bIns="0" rtlCol="0" anchor="ctr">
            <a:spAutoFit/>
          </a:bodyPr>
          <a:lstStyle>
            <a:defPPr>
              <a:defRPr lang="en-US"/>
            </a:defPPr>
            <a:lvl1pPr marR="0" indent="0" defTabSz="932742" fontAlgn="auto">
              <a:lnSpc>
                <a:spcPct val="100000"/>
              </a:lnSpc>
              <a:spcBef>
                <a:spcPts val="400"/>
              </a:spcBef>
              <a:spcAft>
                <a:spcPts val="0"/>
              </a:spcAft>
              <a:buClrTx/>
              <a:buSzPct val="90000"/>
              <a:buFont typeface="Wingdings" panose="05000000000000000000" pitchFamily="2" charset="2"/>
              <a:buNone/>
              <a:tabLst/>
              <a:defRPr sz="1400" b="0" spc="0" baseline="0">
                <a:cs typeface="Segoe UI" panose="020B0502040204020203" pitchFamily="34" charset="0"/>
              </a:defRPr>
            </a:lvl1pPr>
            <a:lvl2pPr marL="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0"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0"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fr-fr" sz="1400" b="0" i="0" u="none" strike="noStrike" kern="1200" cap="none" spc="0" normalizeH="0" baseline="0" noProof="0">
                <a:ln>
                  <a:noFill/>
                </a:ln>
                <a:solidFill>
                  <a:schemeClr val="bg1"/>
                </a:solidFill>
                <a:effectLst/>
                <a:uLnTx/>
                <a:uFillTx/>
                <a:latin typeface="Segoe UI"/>
                <a:ea typeface="+mn-ea"/>
                <a:cs typeface="Segoe UI" panose="020B0502040204020203" pitchFamily="34" charset="0"/>
              </a:rPr>
              <a:t>Les rapports</a:t>
            </a:r>
            <a:r>
              <a:rPr lang="fr-fr" sz="1400">
                <a:solidFill>
                  <a:schemeClr val="bg1"/>
                </a:solidFill>
                <a:latin typeface="Segoe UI"/>
                <a:cs typeface="Segoe UI" panose="020B0502040204020203" pitchFamily="34" charset="0"/>
              </a:rPr>
              <a:t> </a:t>
            </a:r>
            <a:r>
              <a:rPr kumimoji="0" lang="fr-fr" sz="1400" b="0" i="0" u="none" strike="noStrike" kern="1200" cap="none" spc="0" normalizeH="0" baseline="0" noProof="0">
                <a:ln>
                  <a:noFill/>
                </a:ln>
                <a:solidFill>
                  <a:schemeClr val="bg1"/>
                </a:solidFill>
                <a:effectLst/>
                <a:uLnTx/>
                <a:uFillTx/>
                <a:latin typeface="Segoe UI"/>
                <a:ea typeface="+mn-ea"/>
                <a:cs typeface="Segoe UI" panose="020B0502040204020203" pitchFamily="34" charset="0"/>
              </a:rPr>
              <a:t>fournissent aux administrateurs une vue d’ensemble de toutes les autorisations des sites dans SharePoint, OneDrive et les fichiers afin d’identifier </a:t>
            </a:r>
            <a:br>
              <a:rPr kumimoji="0" lang="fr-fr" sz="1400" b="0" i="0" u="none" strike="noStrike" kern="1200" cap="none" spc="0" normalizeH="0" baseline="0" noProof="0">
                <a:ln>
                  <a:noFill/>
                </a:ln>
                <a:solidFill>
                  <a:schemeClr val="bg1"/>
                </a:solidFill>
                <a:effectLst/>
                <a:uLnTx/>
                <a:uFillTx/>
                <a:latin typeface="Segoe UI"/>
                <a:ea typeface="+mn-ea"/>
                <a:cs typeface="Segoe UI" panose="020B0502040204020203" pitchFamily="34" charset="0"/>
              </a:rPr>
            </a:br>
            <a:r>
              <a:rPr kumimoji="0" lang="fr-fr" sz="1400" b="0" i="0" u="none" strike="noStrike" kern="1200" cap="none" spc="0" normalizeH="0" baseline="0" noProof="0">
                <a:ln>
                  <a:noFill/>
                </a:ln>
                <a:solidFill>
                  <a:schemeClr val="bg1"/>
                </a:solidFill>
                <a:effectLst/>
                <a:uLnTx/>
                <a:uFillTx/>
                <a:latin typeface="Segoe UI"/>
                <a:ea typeface="+mn-ea"/>
                <a:cs typeface="Segoe UI" panose="020B0502040204020203" pitchFamily="34" charset="0"/>
              </a:rPr>
              <a:t>les contenus potentiellement trop exposés dans le locataire. Cela permet aux administrateurs de traiter ces sites afin de s’assurer que les résultats fournis par </a:t>
            </a:r>
            <a:r>
              <a:rPr kumimoji="0" lang="fr-fr" sz="1400" b="0" i="0" u="none" strike="noStrike" kern="1200" cap="none" spc="0" normalizeH="0" baseline="0" noProof="0" err="1">
                <a:ln>
                  <a:noFill/>
                </a:ln>
                <a:solidFill>
                  <a:schemeClr val="bg1"/>
                </a:solidFill>
                <a:effectLst/>
                <a:uLnTx/>
                <a:uFillTx/>
                <a:latin typeface="Segoe UI"/>
                <a:ea typeface="+mn-ea"/>
                <a:cs typeface="Segoe UI" panose="020B0502040204020203" pitchFamily="34" charset="0"/>
              </a:rPr>
              <a:t>Copilot</a:t>
            </a:r>
            <a:r>
              <a:rPr kumimoji="0" lang="fr-fr" sz="1400" b="0" i="0" u="none" strike="noStrike" kern="1200" cap="none" spc="0" normalizeH="0" baseline="0" noProof="0">
                <a:ln>
                  <a:noFill/>
                </a:ln>
                <a:solidFill>
                  <a:schemeClr val="bg1"/>
                </a:solidFill>
                <a:effectLst/>
                <a:uLnTx/>
                <a:uFillTx/>
                <a:latin typeface="Segoe UI"/>
                <a:ea typeface="+mn-ea"/>
                <a:cs typeface="Segoe UI" panose="020B0502040204020203" pitchFamily="34" charset="0"/>
              </a:rPr>
              <a:t> ou la recherche ne sont visibles que par les utilisateurs autorisés à y accéder</a:t>
            </a:r>
          </a:p>
        </p:txBody>
      </p:sp>
      <p:sp>
        <p:nvSpPr>
          <p:cNvPr id="16" name="Title 1">
            <a:extLst>
              <a:ext uri="{FF2B5EF4-FFF2-40B4-BE49-F238E27FC236}">
                <a16:creationId xmlns:a16="http://schemas.microsoft.com/office/drawing/2014/main" id="{70921226-719D-7DDF-8625-23626D7C86BD}"/>
              </a:ext>
            </a:extLst>
          </p:cNvPr>
          <p:cNvSpPr txBox="1">
            <a:spLocks/>
          </p:cNvSpPr>
          <p:nvPr/>
        </p:nvSpPr>
        <p:spPr>
          <a:xfrm>
            <a:off x="476855" y="1629041"/>
            <a:ext cx="11238289"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mj-lt"/>
                <a:ea typeface="+mn-ea"/>
                <a:cs typeface="Segoe UI" pitchFamily="34" charset="0"/>
              </a:defRPr>
            </a:lvl1pPr>
          </a:lstStyle>
          <a:p>
            <a:pPr algn="ctr"/>
            <a:r>
              <a:rPr lang="fr-fr" sz="2400">
                <a:solidFill>
                  <a:schemeClr val="bg1"/>
                </a:solidFill>
              </a:rPr>
              <a:t>Principales fonctionnalités pour la gouvernance des agents Copilot M365</a:t>
            </a:r>
          </a:p>
        </p:txBody>
      </p:sp>
    </p:spTree>
    <p:extLst>
      <p:ext uri="{BB962C8B-B14F-4D97-AF65-F5344CB8AC3E}">
        <p14:creationId xmlns:p14="http://schemas.microsoft.com/office/powerpoint/2010/main" val="3593384321"/>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E773D0-6041-B370-D4C8-DDCDFA724AA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A96AF9C-8DD1-1780-2868-56D59D028DC8}"/>
              </a:ext>
            </a:extLst>
          </p:cNvPr>
          <p:cNvSpPr>
            <a:spLocks noGrp="1"/>
          </p:cNvSpPr>
          <p:nvPr>
            <p:ph type="title"/>
          </p:nvPr>
        </p:nvSpPr>
        <p:spPr>
          <a:xfrm>
            <a:off x="588262" y="485481"/>
            <a:ext cx="11451337" cy="498598"/>
          </a:xfrm>
        </p:spPr>
        <p:txBody>
          <a:bodyPr/>
          <a:lstStyle/>
          <a:p>
            <a:r>
              <a:rPr lang="fr-fr"/>
              <a:t>Contrôler la recherche Web de </a:t>
            </a:r>
            <a:r>
              <a:rPr lang="fr-fr" err="1"/>
              <a:t>Copilot</a:t>
            </a:r>
            <a:r>
              <a:rPr lang="fr-fr"/>
              <a:t> (ancrage Web)</a:t>
            </a:r>
          </a:p>
        </p:txBody>
      </p:sp>
      <p:sp>
        <p:nvSpPr>
          <p:cNvPr id="14" name="TextBox 13">
            <a:extLst>
              <a:ext uri="{FF2B5EF4-FFF2-40B4-BE49-F238E27FC236}">
                <a16:creationId xmlns:a16="http://schemas.microsoft.com/office/drawing/2014/main" id="{4E0997B7-B043-75FD-AD28-6BAF8F1BBF2F}"/>
              </a:ext>
            </a:extLst>
          </p:cNvPr>
          <p:cNvSpPr txBox="1"/>
          <p:nvPr/>
        </p:nvSpPr>
        <p:spPr>
          <a:xfrm>
            <a:off x="563186" y="1749203"/>
            <a:ext cx="6632271" cy="4462760"/>
          </a:xfrm>
          <a:prstGeom prst="rect">
            <a:avLst/>
          </a:prstGeom>
          <a:noFill/>
        </p:spPr>
        <p:txBody>
          <a:bodyPr wrap="square" lIns="0" tIns="0" rIns="0" bIns="0" anchor="t">
            <a:spAutoFit/>
          </a:bodyPr>
          <a:lstStyle/>
          <a:p>
            <a:pPr>
              <a:spcAft>
                <a:spcPts val="1200"/>
              </a:spcAft>
            </a:pPr>
            <a:r>
              <a:rPr lang="fr-fr" sz="2000">
                <a:solidFill>
                  <a:schemeClr val="bg1"/>
                </a:solidFill>
              </a:rPr>
              <a:t>Les agents peuvent utiliser le contenu public disponible </a:t>
            </a:r>
            <a:br>
              <a:rPr lang="fr-fr" sz="2000">
                <a:solidFill>
                  <a:schemeClr val="bg1"/>
                </a:solidFill>
              </a:rPr>
            </a:br>
            <a:r>
              <a:rPr lang="fr-fr" sz="2000">
                <a:solidFill>
                  <a:schemeClr val="bg1"/>
                </a:solidFill>
              </a:rPr>
              <a:t>sur Internet pour répondre aux requêtes des utilisateurs. </a:t>
            </a:r>
            <a:br>
              <a:rPr lang="fr-fr" sz="2000">
                <a:solidFill>
                  <a:schemeClr val="bg1"/>
                </a:solidFill>
              </a:rPr>
            </a:br>
            <a:r>
              <a:rPr lang="fr-fr" sz="2000">
                <a:solidFill>
                  <a:schemeClr val="bg1"/>
                </a:solidFill>
              </a:rPr>
              <a:t>Le créateur de l’agent peut activer ou désactiver l’ancrage Web (recherche sur le Web) dans les paramètres avancés de l’agent</a:t>
            </a:r>
          </a:p>
          <a:p>
            <a:pPr>
              <a:spcAft>
                <a:spcPts val="1200"/>
              </a:spcAft>
            </a:pPr>
            <a:r>
              <a:rPr lang="fr-fr" sz="2000">
                <a:solidFill>
                  <a:schemeClr val="bg1"/>
                </a:solidFill>
              </a:rPr>
              <a:t>L’ancrage Web peut être activé ou désactivé au niveau </a:t>
            </a:r>
            <a:br>
              <a:rPr lang="fr-fr" sz="2000">
                <a:solidFill>
                  <a:schemeClr val="bg1"/>
                </a:solidFill>
              </a:rPr>
            </a:br>
            <a:r>
              <a:rPr lang="fr-fr" sz="2000">
                <a:solidFill>
                  <a:schemeClr val="bg1"/>
                </a:solidFill>
              </a:rPr>
              <a:t>du locataire par les administrateurs à l’aide de la stratégie « Autoriser la recherche Web » dans Copilot</a:t>
            </a:r>
          </a:p>
          <a:p>
            <a:pPr marL="342900" indent="-342900">
              <a:spcAft>
                <a:spcPts val="1200"/>
              </a:spcAft>
              <a:buFont typeface="Arial" panose="020B0604020202020204" pitchFamily="34" charset="0"/>
              <a:buChar char="•"/>
            </a:pPr>
            <a:r>
              <a:rPr lang="fr-fr" sz="1800">
                <a:solidFill>
                  <a:schemeClr val="bg1"/>
                </a:solidFill>
              </a:rPr>
              <a:t>Activé dans Microsoft 365 Copilot et Microsoft Copilot</a:t>
            </a:r>
          </a:p>
          <a:p>
            <a:pPr marL="342900" indent="-342900">
              <a:spcAft>
                <a:spcPts val="1200"/>
              </a:spcAft>
              <a:buFont typeface="Arial" panose="020B0604020202020204" pitchFamily="34" charset="0"/>
              <a:buChar char="•"/>
            </a:pPr>
            <a:r>
              <a:rPr lang="fr-fr" sz="1800">
                <a:solidFill>
                  <a:schemeClr val="bg1"/>
                </a:solidFill>
              </a:rPr>
              <a:t>Désactivé dans Microsoft 365 Copilot et Microsoft Copilot</a:t>
            </a:r>
          </a:p>
          <a:p>
            <a:pPr marL="342900" indent="-342900">
              <a:spcAft>
                <a:spcPts val="1200"/>
              </a:spcAft>
              <a:buFont typeface="Arial" panose="020B0604020202020204" pitchFamily="34" charset="0"/>
              <a:buChar char="•"/>
            </a:pPr>
            <a:r>
              <a:rPr lang="fr-fr" sz="1800">
                <a:solidFill>
                  <a:schemeClr val="bg1"/>
                </a:solidFill>
              </a:rPr>
              <a:t>Désactivé dans le mode Travail de Microsoft 365 Copilot ; activé dans le mode Web de Microsoft 365 Copilot et dans Microsoft Copilot</a:t>
            </a:r>
          </a:p>
        </p:txBody>
      </p:sp>
      <p:pic>
        <p:nvPicPr>
          <p:cNvPr id="2" name="Picture 1">
            <a:extLst>
              <a:ext uri="{FF2B5EF4-FFF2-40B4-BE49-F238E27FC236}">
                <a16:creationId xmlns:a16="http://schemas.microsoft.com/office/drawing/2014/main" id="{1D2AD7C6-3AF0-24CA-D3D2-CFB86E74C43C}"/>
              </a:ext>
            </a:extLst>
          </p:cNvPr>
          <p:cNvPicPr>
            <a:picLocks noChangeAspect="1"/>
          </p:cNvPicPr>
          <p:nvPr/>
        </p:nvPicPr>
        <p:blipFill>
          <a:blip r:embed="rId3"/>
          <a:srcRect l="776" t="6432" r="1103" b="4474"/>
          <a:stretch/>
        </p:blipFill>
        <p:spPr>
          <a:xfrm>
            <a:off x="7484722" y="1844003"/>
            <a:ext cx="4395080" cy="49994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 name="Picture 2">
            <a:extLst>
              <a:ext uri="{FF2B5EF4-FFF2-40B4-BE49-F238E27FC236}">
                <a16:creationId xmlns:a16="http://schemas.microsoft.com/office/drawing/2014/main" id="{8486768B-F507-7DD2-45BB-8B3B09FBC87E}"/>
              </a:ext>
            </a:extLst>
          </p:cNvPr>
          <p:cNvPicPr>
            <a:picLocks noChangeAspect="1"/>
          </p:cNvPicPr>
          <p:nvPr/>
        </p:nvPicPr>
        <p:blipFill>
          <a:blip r:embed="rId4"/>
          <a:stretch>
            <a:fillRect/>
          </a:stretch>
        </p:blipFill>
        <p:spPr>
          <a:xfrm>
            <a:off x="7484722" y="2497712"/>
            <a:ext cx="4395080" cy="148851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 name="Picture 4">
            <a:extLst>
              <a:ext uri="{FF2B5EF4-FFF2-40B4-BE49-F238E27FC236}">
                <a16:creationId xmlns:a16="http://schemas.microsoft.com/office/drawing/2014/main" id="{23A07C76-6837-175E-2E9B-038F5B0CCD6D}"/>
              </a:ext>
            </a:extLst>
          </p:cNvPr>
          <p:cNvPicPr>
            <a:picLocks noChangeAspect="1"/>
          </p:cNvPicPr>
          <p:nvPr/>
        </p:nvPicPr>
        <p:blipFill>
          <a:blip r:embed="rId5"/>
          <a:stretch>
            <a:fillRect/>
          </a:stretch>
        </p:blipFill>
        <p:spPr>
          <a:xfrm>
            <a:off x="7484722" y="4118596"/>
            <a:ext cx="4395080" cy="129690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7785418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8F409CF-3CE6-208F-5F1F-72E193B792E0}"/>
              </a:ext>
            </a:extLst>
          </p:cNvPr>
          <p:cNvSpPr>
            <a:spLocks noGrp="1"/>
          </p:cNvSpPr>
          <p:nvPr>
            <p:ph type="title"/>
          </p:nvPr>
        </p:nvSpPr>
        <p:spPr>
          <a:xfrm>
            <a:off x="571499" y="2792795"/>
            <a:ext cx="7175963" cy="646331"/>
          </a:xfrm>
        </p:spPr>
        <p:txBody>
          <a:bodyPr/>
          <a:lstStyle/>
          <a:p>
            <a:r>
              <a:rPr lang="fr-fr" spc="0"/>
              <a:t>Gamme d’agents</a:t>
            </a:r>
          </a:p>
        </p:txBody>
      </p:sp>
    </p:spTree>
    <p:extLst>
      <p:ext uri="{BB962C8B-B14F-4D97-AF65-F5344CB8AC3E}">
        <p14:creationId xmlns:p14="http://schemas.microsoft.com/office/powerpoint/2010/main" val="384911837"/>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217E30-D9BE-E7EB-A3AD-D3BA453595E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147F605-AD8D-6DD0-11ED-B30C8934AEED}"/>
              </a:ext>
            </a:extLst>
          </p:cNvPr>
          <p:cNvSpPr>
            <a:spLocks noGrp="1"/>
          </p:cNvSpPr>
          <p:nvPr>
            <p:ph type="title"/>
          </p:nvPr>
        </p:nvSpPr>
        <p:spPr>
          <a:xfrm>
            <a:off x="571499" y="2792795"/>
            <a:ext cx="4898275" cy="646331"/>
          </a:xfrm>
          <a:prstGeom prst="rect">
            <a:avLst/>
          </a:prstGeom>
        </p:spPr>
        <p:txBody>
          <a:bodyPr/>
          <a:lstStyle/>
          <a:p>
            <a:r>
              <a:rPr lang="fr-fr">
                <a:latin typeface="Segoe UI Semibold" panose="020B0702040204020203" pitchFamily="34" charset="0"/>
                <a:cs typeface="Segoe UI Semibold" panose="020B0702040204020203" pitchFamily="34" charset="0"/>
              </a:rPr>
              <a:t>Sécurité et gouvernance</a:t>
            </a:r>
          </a:p>
        </p:txBody>
      </p:sp>
    </p:spTree>
    <p:extLst>
      <p:ext uri="{BB962C8B-B14F-4D97-AF65-F5344CB8AC3E}">
        <p14:creationId xmlns:p14="http://schemas.microsoft.com/office/powerpoint/2010/main" val="693588221"/>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9A6331-632C-CBBC-0C37-72460A7ED29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A9DBAE4-3099-F545-9C8D-5C29995AAD01}"/>
              </a:ext>
            </a:extLst>
          </p:cNvPr>
          <p:cNvSpPr>
            <a:spLocks noGrp="1"/>
          </p:cNvSpPr>
          <p:nvPr>
            <p:ph type="title"/>
          </p:nvPr>
        </p:nvSpPr>
        <p:spPr/>
        <p:txBody>
          <a:bodyPr/>
          <a:lstStyle/>
          <a:p>
            <a:r>
              <a:rPr lang="fr-fr"/>
              <a:t>Stratégies de protection contre la perte de données</a:t>
            </a:r>
          </a:p>
        </p:txBody>
      </p:sp>
      <p:sp>
        <p:nvSpPr>
          <p:cNvPr id="14" name="TextBox 13">
            <a:extLst>
              <a:ext uri="{FF2B5EF4-FFF2-40B4-BE49-F238E27FC236}">
                <a16:creationId xmlns:a16="http://schemas.microsoft.com/office/drawing/2014/main" id="{28559FB6-7173-74E6-70F0-476F0F18541A}"/>
              </a:ext>
            </a:extLst>
          </p:cNvPr>
          <p:cNvSpPr txBox="1"/>
          <p:nvPr/>
        </p:nvSpPr>
        <p:spPr>
          <a:xfrm>
            <a:off x="563187" y="1749203"/>
            <a:ext cx="5277544" cy="4462760"/>
          </a:xfrm>
          <a:prstGeom prst="rect">
            <a:avLst/>
          </a:prstGeom>
          <a:noFill/>
        </p:spPr>
        <p:txBody>
          <a:bodyPr wrap="square" lIns="0" tIns="0" rIns="0" bIns="0" anchor="t">
            <a:spAutoFit/>
          </a:bodyPr>
          <a:lstStyle/>
          <a:p>
            <a:pPr>
              <a:spcAft>
                <a:spcPts val="1200"/>
              </a:spcAft>
            </a:pPr>
            <a:r>
              <a:rPr lang="fr-fr" sz="2100">
                <a:solidFill>
                  <a:schemeClr val="bg1"/>
                </a:solidFill>
              </a:rPr>
              <a:t>Les stratégies de protection contre la perte de données (DLP) dans Power Platform offrent un moyen de contrôler quels connecteurs Power Platform et connecteurs personnalisés peuvent être utilisés au niveau d’un environnement Power Platform</a:t>
            </a:r>
          </a:p>
          <a:p>
            <a:pPr>
              <a:spcAft>
                <a:spcPts val="1200"/>
              </a:spcAft>
            </a:pPr>
            <a:r>
              <a:rPr lang="fr-fr" sz="2100">
                <a:solidFill>
                  <a:schemeClr val="bg1"/>
                </a:solidFill>
              </a:rPr>
              <a:t>La plupart des connecteurs peuvent être entièrement bloqués, et les stratégies peuvent également définir quels connecteurs peuvent être utilisés ensemble dans un même agent Copilot Studio, une application Power Apps et un flux Power Automate</a:t>
            </a:r>
          </a:p>
        </p:txBody>
      </p:sp>
      <p:pic>
        <p:nvPicPr>
          <p:cNvPr id="6" name="Picture 5">
            <a:extLst>
              <a:ext uri="{FF2B5EF4-FFF2-40B4-BE49-F238E27FC236}">
                <a16:creationId xmlns:a16="http://schemas.microsoft.com/office/drawing/2014/main" id="{E2D560B3-4154-8C34-7597-5192152CE77F}"/>
              </a:ext>
            </a:extLst>
          </p:cNvPr>
          <p:cNvPicPr>
            <a:picLocks noChangeAspect="1"/>
          </p:cNvPicPr>
          <p:nvPr/>
        </p:nvPicPr>
        <p:blipFill>
          <a:blip r:embed="rId3"/>
          <a:stretch>
            <a:fillRect/>
          </a:stretch>
        </p:blipFill>
        <p:spPr>
          <a:xfrm>
            <a:off x="6306349" y="1657734"/>
            <a:ext cx="5508824" cy="3165725"/>
          </a:xfrm>
          <a:prstGeom prst="roundRect">
            <a:avLst>
              <a:gd name="adj" fmla="val 4261"/>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674470305"/>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CAC585-B1A7-65A5-248E-446EC06D048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9182443-1A2B-93F4-DA44-303D6EB5ABA6}"/>
              </a:ext>
            </a:extLst>
          </p:cNvPr>
          <p:cNvSpPr>
            <a:spLocks noGrp="1"/>
          </p:cNvSpPr>
          <p:nvPr>
            <p:ph type="title"/>
          </p:nvPr>
        </p:nvSpPr>
        <p:spPr/>
        <p:txBody>
          <a:bodyPr/>
          <a:lstStyle/>
          <a:p>
            <a:r>
              <a:rPr lang="fr-fr"/>
              <a:t>Protection contre la perte de données - Contrôles des connecteurs des agents</a:t>
            </a:r>
          </a:p>
        </p:txBody>
      </p:sp>
      <p:sp>
        <p:nvSpPr>
          <p:cNvPr id="14" name="TextBox 13">
            <a:extLst>
              <a:ext uri="{FF2B5EF4-FFF2-40B4-BE49-F238E27FC236}">
                <a16:creationId xmlns:a16="http://schemas.microsoft.com/office/drawing/2014/main" id="{3C05F68C-C7C9-A45E-9413-37EC701084AE}"/>
              </a:ext>
            </a:extLst>
          </p:cNvPr>
          <p:cNvSpPr txBox="1"/>
          <p:nvPr/>
        </p:nvSpPr>
        <p:spPr>
          <a:xfrm>
            <a:off x="563187" y="1749203"/>
            <a:ext cx="5266114" cy="5155257"/>
          </a:xfrm>
          <a:prstGeom prst="rect">
            <a:avLst/>
          </a:prstGeom>
          <a:noFill/>
        </p:spPr>
        <p:txBody>
          <a:bodyPr wrap="square" lIns="0" tIns="0" rIns="0" bIns="0" anchor="t">
            <a:spAutoFit/>
          </a:bodyPr>
          <a:lstStyle/>
          <a:p>
            <a:pPr>
              <a:spcAft>
                <a:spcPts val="1200"/>
              </a:spcAft>
            </a:pPr>
            <a:r>
              <a:rPr lang="fr-fr" sz="2100">
                <a:solidFill>
                  <a:schemeClr val="bg1"/>
                </a:solidFill>
              </a:rPr>
              <a:t>Les agents peuvent utiliser Power Platform </a:t>
            </a:r>
            <a:br>
              <a:rPr lang="fr-fr" sz="2100">
                <a:solidFill>
                  <a:schemeClr val="bg1"/>
                </a:solidFill>
              </a:rPr>
            </a:br>
            <a:r>
              <a:rPr lang="fr-fr" sz="2100">
                <a:solidFill>
                  <a:schemeClr val="bg1"/>
                </a:solidFill>
              </a:rPr>
              <a:t>et les connecteurs personnalisés, ainsi que les flux d’agents comme outils</a:t>
            </a:r>
          </a:p>
          <a:p>
            <a:pPr>
              <a:spcAft>
                <a:spcPts val="1200"/>
              </a:spcAft>
            </a:pPr>
            <a:r>
              <a:rPr lang="fr-fr" sz="2100">
                <a:solidFill>
                  <a:schemeClr val="bg1"/>
                </a:solidFill>
              </a:rPr>
              <a:t>Avec les stratégies de protection contre </a:t>
            </a:r>
            <a:br>
              <a:rPr lang="fr-fr" sz="2100">
                <a:solidFill>
                  <a:schemeClr val="bg1"/>
                </a:solidFill>
              </a:rPr>
            </a:br>
            <a:r>
              <a:rPr lang="fr-fr" sz="2100">
                <a:solidFill>
                  <a:schemeClr val="bg1"/>
                </a:solidFill>
              </a:rPr>
              <a:t>la perte de données de Power Platform, les administrateurs peuvent contrôler quels connecteurs sont autorisés à être utilisés dans les agents et les flux d’agents</a:t>
            </a:r>
          </a:p>
          <a:p>
            <a:pPr>
              <a:spcAft>
                <a:spcPts val="1200"/>
              </a:spcAft>
            </a:pPr>
            <a:r>
              <a:rPr lang="fr-fr" sz="2100">
                <a:solidFill>
                  <a:schemeClr val="bg1"/>
                </a:solidFill>
              </a:rPr>
              <a:t>La stratégie peut être appliquée aux environnements requis</a:t>
            </a:r>
          </a:p>
          <a:p>
            <a:pPr>
              <a:spcAft>
                <a:spcPts val="1200"/>
              </a:spcAft>
            </a:pPr>
            <a:r>
              <a:rPr lang="fr-fr" sz="2100">
                <a:solidFill>
                  <a:schemeClr val="bg1"/>
                </a:solidFill>
              </a:rPr>
              <a:t>S’applique à la fois aux agents déclaratifs </a:t>
            </a:r>
            <a:br>
              <a:rPr lang="fr-fr" sz="2100">
                <a:solidFill>
                  <a:schemeClr val="bg1"/>
                </a:solidFill>
              </a:rPr>
            </a:br>
            <a:r>
              <a:rPr lang="fr-fr" sz="2100">
                <a:solidFill>
                  <a:schemeClr val="bg1"/>
                </a:solidFill>
              </a:rPr>
              <a:t>et aux agents de moteur personnalisé créés avec la version complète de Copilot Studio</a:t>
            </a:r>
          </a:p>
          <a:p>
            <a:pPr>
              <a:spcAft>
                <a:spcPts val="1200"/>
              </a:spcAft>
            </a:pPr>
            <a:endParaRPr lang="en-US" sz="2200">
              <a:solidFill>
                <a:schemeClr val="bg1"/>
              </a:solidFill>
            </a:endParaRPr>
          </a:p>
        </p:txBody>
      </p:sp>
      <p:pic>
        <p:nvPicPr>
          <p:cNvPr id="3" name="Picture 2">
            <a:extLst>
              <a:ext uri="{FF2B5EF4-FFF2-40B4-BE49-F238E27FC236}">
                <a16:creationId xmlns:a16="http://schemas.microsoft.com/office/drawing/2014/main" id="{77349394-1C82-E93E-0F14-443A3872BB30}"/>
              </a:ext>
            </a:extLst>
          </p:cNvPr>
          <p:cNvPicPr>
            <a:picLocks noChangeAspect="1"/>
          </p:cNvPicPr>
          <p:nvPr/>
        </p:nvPicPr>
        <p:blipFill>
          <a:blip r:embed="rId3"/>
          <a:stretch>
            <a:fillRect/>
          </a:stretch>
        </p:blipFill>
        <p:spPr>
          <a:xfrm>
            <a:off x="6181209" y="1803401"/>
            <a:ext cx="5786002" cy="4145110"/>
          </a:xfrm>
          <a:prstGeom prst="roundRect">
            <a:avLst>
              <a:gd name="adj" fmla="val 4917"/>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61384482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7EC686-F8A7-A41F-BE44-F18784EF2813}"/>
            </a:ext>
          </a:extLst>
        </p:cNvPr>
        <p:cNvGrpSpPr/>
        <p:nvPr/>
      </p:nvGrpSpPr>
      <p:grpSpPr>
        <a:xfrm>
          <a:off x="0" y="0"/>
          <a:ext cx="0" cy="0"/>
          <a:chOff x="0" y="0"/>
          <a:chExt cx="0" cy="0"/>
        </a:xfrm>
      </p:grpSpPr>
      <p:pic>
        <p:nvPicPr>
          <p:cNvPr id="6" name="Picture 5" descr="Capture d’écran d’un ordinateur  Le contenu généré par IA peut être incorrect.">
            <a:extLst>
              <a:ext uri="{FF2B5EF4-FFF2-40B4-BE49-F238E27FC236}">
                <a16:creationId xmlns:a16="http://schemas.microsoft.com/office/drawing/2014/main" id="{E59C77B5-DFA8-F59A-EAC6-DBA33B2A5359}"/>
              </a:ext>
            </a:extLst>
          </p:cNvPr>
          <p:cNvPicPr>
            <a:picLocks noChangeAspect="1"/>
          </p:cNvPicPr>
          <p:nvPr/>
        </p:nvPicPr>
        <p:blipFill>
          <a:blip r:embed="rId3"/>
          <a:stretch>
            <a:fillRect/>
          </a:stretch>
        </p:blipFill>
        <p:spPr>
          <a:xfrm>
            <a:off x="7382526" y="1617639"/>
            <a:ext cx="4691057" cy="4754880"/>
          </a:xfrm>
          <a:prstGeom prst="roundRect">
            <a:avLst>
              <a:gd name="adj" fmla="val 3019"/>
            </a:avLst>
          </a:prstGeom>
          <a:solidFill>
            <a:srgbClr val="FFFFFF">
              <a:shade val="85000"/>
            </a:srgbClr>
          </a:solidFill>
          <a:ln>
            <a:noFill/>
          </a:ln>
          <a:effectLst>
            <a:reflection blurRad="12700" stA="38000" endPos="28000" dist="5000" dir="5400000" sy="-100000" algn="bl" rotWithShape="0"/>
          </a:effectLst>
        </p:spPr>
      </p:pic>
      <p:sp>
        <p:nvSpPr>
          <p:cNvPr id="4" name="Title 3">
            <a:extLst>
              <a:ext uri="{FF2B5EF4-FFF2-40B4-BE49-F238E27FC236}">
                <a16:creationId xmlns:a16="http://schemas.microsoft.com/office/drawing/2014/main" id="{A6324066-1B34-8361-5DDE-903D2D438D32}"/>
              </a:ext>
            </a:extLst>
          </p:cNvPr>
          <p:cNvSpPr>
            <a:spLocks noGrp="1"/>
          </p:cNvSpPr>
          <p:nvPr>
            <p:ph type="title"/>
          </p:nvPr>
        </p:nvSpPr>
        <p:spPr/>
        <p:txBody>
          <a:bodyPr/>
          <a:lstStyle/>
          <a:p>
            <a:r>
              <a:rPr lang="fr-fr"/>
              <a:t>Protection contre la perte de données - Blocage </a:t>
            </a:r>
            <a:br>
              <a:rPr lang="fr-fr"/>
            </a:br>
            <a:r>
              <a:rPr lang="fr-fr"/>
              <a:t>de la publication des agents</a:t>
            </a:r>
          </a:p>
        </p:txBody>
      </p:sp>
      <p:sp>
        <p:nvSpPr>
          <p:cNvPr id="14" name="TextBox 13">
            <a:extLst>
              <a:ext uri="{FF2B5EF4-FFF2-40B4-BE49-F238E27FC236}">
                <a16:creationId xmlns:a16="http://schemas.microsoft.com/office/drawing/2014/main" id="{8FA309CF-22DD-AC21-0764-038541A8AA77}"/>
              </a:ext>
            </a:extLst>
          </p:cNvPr>
          <p:cNvSpPr txBox="1"/>
          <p:nvPr/>
        </p:nvSpPr>
        <p:spPr>
          <a:xfrm>
            <a:off x="563185" y="1749203"/>
            <a:ext cx="6575227" cy="5016758"/>
          </a:xfrm>
          <a:prstGeom prst="rect">
            <a:avLst/>
          </a:prstGeom>
          <a:noFill/>
        </p:spPr>
        <p:txBody>
          <a:bodyPr wrap="square" lIns="0" tIns="0" rIns="0" bIns="0" anchor="t">
            <a:spAutoFit/>
          </a:bodyPr>
          <a:lstStyle/>
          <a:p>
            <a:pPr>
              <a:spcAft>
                <a:spcPts val="1200"/>
              </a:spcAft>
            </a:pPr>
            <a:r>
              <a:rPr lang="fr-fr" sz="2200">
                <a:solidFill>
                  <a:schemeClr val="bg1"/>
                </a:solidFill>
              </a:rPr>
              <a:t>Copilot Studio dispose de plusieurs connecteurs pour différentes fonctionnalités, qui peuvent être utilisés dans les stratégies de protection contre la perte de données</a:t>
            </a:r>
          </a:p>
          <a:p>
            <a:pPr>
              <a:spcAft>
                <a:spcPts val="1200"/>
              </a:spcAft>
            </a:pPr>
            <a:r>
              <a:rPr lang="fr-fr" sz="2200">
                <a:solidFill>
                  <a:schemeClr val="bg1"/>
                </a:solidFill>
              </a:rPr>
              <a:t>Les administrateurs peuvent utiliser des stratégies pour, par exemple, désactiver la publication d’agents en bloquant les </a:t>
            </a:r>
            <a:r>
              <a:rPr lang="fr-fr" sz="2200" b="1">
                <a:solidFill>
                  <a:schemeClr val="bg1"/>
                </a:solidFill>
              </a:rPr>
              <a:t>canaux Microsoft Teams + M365</a:t>
            </a:r>
            <a:r>
              <a:rPr lang="fr-fr" sz="2200">
                <a:solidFill>
                  <a:schemeClr val="bg1"/>
                </a:solidFill>
              </a:rPr>
              <a:t> </a:t>
            </a:r>
            <a:br>
              <a:rPr lang="fr-fr" sz="2200">
                <a:solidFill>
                  <a:schemeClr val="bg1"/>
                </a:solidFill>
              </a:rPr>
            </a:br>
            <a:r>
              <a:rPr lang="fr-fr" sz="2200">
                <a:solidFill>
                  <a:schemeClr val="bg1"/>
                </a:solidFill>
              </a:rPr>
              <a:t>ou </a:t>
            </a:r>
            <a:r>
              <a:rPr lang="fr-fr" sz="2200" b="1">
                <a:solidFill>
                  <a:schemeClr val="bg1"/>
                </a:solidFill>
              </a:rPr>
              <a:t>SharePoint</a:t>
            </a:r>
            <a:r>
              <a:rPr lang="fr-fr" sz="2200">
                <a:solidFill>
                  <a:schemeClr val="bg1"/>
                </a:solidFill>
              </a:rPr>
              <a:t> </a:t>
            </a:r>
          </a:p>
          <a:p>
            <a:pPr>
              <a:spcAft>
                <a:spcPts val="1200"/>
              </a:spcAft>
            </a:pPr>
            <a:r>
              <a:rPr lang="fr-fr" sz="2200">
                <a:solidFill>
                  <a:schemeClr val="bg1"/>
                </a:solidFill>
              </a:rPr>
              <a:t>La stratégie peut être appliquée aux environnements requis</a:t>
            </a:r>
          </a:p>
          <a:p>
            <a:pPr>
              <a:spcAft>
                <a:spcPts val="1200"/>
              </a:spcAft>
            </a:pPr>
            <a:r>
              <a:rPr lang="fr-fr" sz="2200">
                <a:solidFill>
                  <a:schemeClr val="bg1"/>
                </a:solidFill>
              </a:rPr>
              <a:t>Cela s’applique aussi bien aux agents déclaratifs qu’aux agents de moteur personnalisé</a:t>
            </a:r>
          </a:p>
          <a:p>
            <a:pPr>
              <a:spcAft>
                <a:spcPts val="1200"/>
              </a:spcAft>
            </a:pPr>
            <a:endParaRPr lang="en-US" sz="2200">
              <a:solidFill>
                <a:schemeClr val="bg1"/>
              </a:solidFill>
            </a:endParaRPr>
          </a:p>
        </p:txBody>
      </p:sp>
      <p:sp>
        <p:nvSpPr>
          <p:cNvPr id="7" name="Rectangle: Rounded Corners 6">
            <a:extLst>
              <a:ext uri="{FF2B5EF4-FFF2-40B4-BE49-F238E27FC236}">
                <a16:creationId xmlns:a16="http://schemas.microsoft.com/office/drawing/2014/main" id="{BA3EF4E8-A175-4D6E-50C8-3A0486B91C0B}"/>
              </a:ext>
              <a:ext uri="{C183D7F6-B498-43B3-948B-1728B52AA6E4}">
                <adec:decorative xmlns:adec="http://schemas.microsoft.com/office/drawing/2017/decorative" val="1"/>
              </a:ext>
            </a:extLst>
          </p:cNvPr>
          <p:cNvSpPr/>
          <p:nvPr/>
        </p:nvSpPr>
        <p:spPr bwMode="auto">
          <a:xfrm>
            <a:off x="7559493" y="5486400"/>
            <a:ext cx="4093010" cy="394595"/>
          </a:xfrm>
          <a:prstGeom prst="roundRect">
            <a:avLst>
              <a:gd name="adj" fmla="val 19542"/>
            </a:avLst>
          </a:prstGeom>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FI" sz="2000" b="0" i="0" u="none" strike="noStrike" kern="1200" cap="none" spc="0" normalizeH="0" baseline="0" noProof="0" err="1">
              <a:ln>
                <a:noFill/>
              </a:ln>
              <a:solidFill>
                <a:srgbClr val="FFFFFF"/>
              </a:solidFill>
              <a:effectLst/>
              <a:uLnTx/>
              <a:uFillTx/>
              <a:latin typeface="Segoe UI Semibold"/>
              <a:ea typeface="+mn-ea"/>
              <a:cs typeface="Segoe UI" panose="020B0502040204020203" pitchFamily="34" charset="0"/>
            </a:endParaRPr>
          </a:p>
        </p:txBody>
      </p:sp>
      <p:sp>
        <p:nvSpPr>
          <p:cNvPr id="8" name="Rectangle: Rounded Corners 7">
            <a:extLst>
              <a:ext uri="{FF2B5EF4-FFF2-40B4-BE49-F238E27FC236}">
                <a16:creationId xmlns:a16="http://schemas.microsoft.com/office/drawing/2014/main" id="{66DE0DA9-71D7-FCAC-5AAB-570674C72E01}"/>
              </a:ext>
              <a:ext uri="{C183D7F6-B498-43B3-948B-1728B52AA6E4}">
                <adec:decorative xmlns:adec="http://schemas.microsoft.com/office/drawing/2017/decorative" val="1"/>
              </a:ext>
            </a:extLst>
          </p:cNvPr>
          <p:cNvSpPr/>
          <p:nvPr/>
        </p:nvSpPr>
        <p:spPr bwMode="auto">
          <a:xfrm>
            <a:off x="7559493" y="2129790"/>
            <a:ext cx="4093010" cy="394595"/>
          </a:xfrm>
          <a:prstGeom prst="roundRect">
            <a:avLst>
              <a:gd name="adj" fmla="val 19542"/>
            </a:avLst>
          </a:prstGeom>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FI" sz="2000" b="0" i="0" u="none" strike="noStrike" kern="1200" cap="none" spc="0" normalizeH="0" baseline="0" noProof="0" err="1">
              <a:ln>
                <a:noFill/>
              </a:ln>
              <a:solidFill>
                <a:srgbClr val="FFFFFF"/>
              </a:solidFill>
              <a:effectLst/>
              <a:uLnTx/>
              <a:uFillTx/>
              <a:latin typeface="Segoe UI Semibold"/>
              <a:ea typeface="+mn-ea"/>
              <a:cs typeface="Segoe UI" panose="020B0502040204020203" pitchFamily="34" charset="0"/>
            </a:endParaRPr>
          </a:p>
        </p:txBody>
      </p:sp>
    </p:spTree>
    <p:extLst>
      <p:ext uri="{BB962C8B-B14F-4D97-AF65-F5344CB8AC3E}">
        <p14:creationId xmlns:p14="http://schemas.microsoft.com/office/powerpoint/2010/main" val="4009140566"/>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647B3B-F13E-84F6-0F4D-8193A321B8D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3B5E888-C0FC-500D-4FC3-51AE2322045F}"/>
              </a:ext>
            </a:extLst>
          </p:cNvPr>
          <p:cNvSpPr>
            <a:spLocks noGrp="1"/>
          </p:cNvSpPr>
          <p:nvPr>
            <p:ph type="title"/>
          </p:nvPr>
        </p:nvSpPr>
        <p:spPr/>
        <p:txBody>
          <a:bodyPr/>
          <a:lstStyle/>
          <a:p>
            <a:r>
              <a:rPr lang="fr-fr" sz="3500"/>
              <a:t>Protection contre la perte de données – Blocage des sources de connaissances SharePoint </a:t>
            </a:r>
          </a:p>
        </p:txBody>
      </p:sp>
      <p:sp>
        <p:nvSpPr>
          <p:cNvPr id="14" name="TextBox 13">
            <a:extLst>
              <a:ext uri="{FF2B5EF4-FFF2-40B4-BE49-F238E27FC236}">
                <a16:creationId xmlns:a16="http://schemas.microsoft.com/office/drawing/2014/main" id="{F249B78F-7B82-8ED2-8484-7788BD8291C0}"/>
              </a:ext>
            </a:extLst>
          </p:cNvPr>
          <p:cNvSpPr txBox="1"/>
          <p:nvPr/>
        </p:nvSpPr>
        <p:spPr>
          <a:xfrm>
            <a:off x="563186" y="1749203"/>
            <a:ext cx="7430194" cy="3970318"/>
          </a:xfrm>
          <a:prstGeom prst="rect">
            <a:avLst/>
          </a:prstGeom>
          <a:noFill/>
        </p:spPr>
        <p:txBody>
          <a:bodyPr wrap="square" lIns="0" tIns="0" rIns="0" bIns="0" anchor="t">
            <a:spAutoFit/>
          </a:bodyPr>
          <a:lstStyle/>
          <a:p>
            <a:pPr>
              <a:spcAft>
                <a:spcPts val="1200"/>
              </a:spcAft>
            </a:pPr>
            <a:r>
              <a:rPr lang="fr-fr" sz="2200">
                <a:solidFill>
                  <a:schemeClr val="bg1"/>
                </a:solidFill>
              </a:rPr>
              <a:t>Les administrateurs peuvent utiliser les stratégies de protection contre la perte de données pour désactiver l’utilisation des sources de connaissances dans les agents </a:t>
            </a:r>
            <a:br>
              <a:rPr lang="fr-fr" sz="2200">
                <a:solidFill>
                  <a:schemeClr val="bg1"/>
                </a:solidFill>
              </a:rPr>
            </a:br>
            <a:r>
              <a:rPr lang="fr-fr" sz="2200">
                <a:solidFill>
                  <a:schemeClr val="bg1"/>
                </a:solidFill>
              </a:rPr>
              <a:t>en bloquant :</a:t>
            </a:r>
          </a:p>
          <a:p>
            <a:pPr marL="342900" indent="-342900">
              <a:spcAft>
                <a:spcPts val="1200"/>
              </a:spcAft>
              <a:buFont typeface="Arial" panose="020B0604020202020204" pitchFamily="34" charset="0"/>
              <a:buChar char="•"/>
            </a:pPr>
            <a:r>
              <a:rPr lang="fr-fr" sz="2000">
                <a:solidFill>
                  <a:schemeClr val="bg1"/>
                </a:solidFill>
              </a:rPr>
              <a:t>Les sources de connaissances SharePoint et OneDrive </a:t>
            </a:r>
            <a:br>
              <a:rPr lang="fr-fr" sz="2000">
                <a:solidFill>
                  <a:schemeClr val="bg1"/>
                </a:solidFill>
              </a:rPr>
            </a:br>
            <a:r>
              <a:rPr lang="fr-fr" sz="2000">
                <a:solidFill>
                  <a:schemeClr val="bg1"/>
                </a:solidFill>
              </a:rPr>
              <a:t>dans Copilot Studio (Agents déclaratifs/Agents de moteur personnalisé)</a:t>
            </a:r>
          </a:p>
          <a:p>
            <a:pPr marL="342900" indent="-342900">
              <a:spcAft>
                <a:spcPts val="1200"/>
              </a:spcAft>
              <a:buFont typeface="Arial" panose="020B0604020202020204" pitchFamily="34" charset="0"/>
              <a:buChar char="•"/>
            </a:pPr>
            <a:r>
              <a:rPr lang="fr-fr" sz="2000">
                <a:solidFill>
                  <a:schemeClr val="bg1"/>
                </a:solidFill>
              </a:rPr>
              <a:t>Les sources de connaissances provenant de sites Web publics dans Copilot Studio (Agents de moteur personnalisé)</a:t>
            </a:r>
          </a:p>
          <a:p>
            <a:pPr marL="342900" indent="-342900">
              <a:spcAft>
                <a:spcPts val="1200"/>
              </a:spcAft>
              <a:buFont typeface="Arial" panose="020B0604020202020204" pitchFamily="34" charset="0"/>
              <a:buChar char="•"/>
            </a:pPr>
            <a:r>
              <a:rPr lang="fr-fr" sz="2000">
                <a:solidFill>
                  <a:schemeClr val="bg1"/>
                </a:solidFill>
              </a:rPr>
              <a:t>Les sources de connaissances basées sur des documents </a:t>
            </a:r>
            <a:br>
              <a:rPr lang="fr-fr" sz="2000">
                <a:solidFill>
                  <a:schemeClr val="bg1"/>
                </a:solidFill>
              </a:rPr>
            </a:br>
            <a:r>
              <a:rPr lang="fr-fr" sz="2000">
                <a:solidFill>
                  <a:schemeClr val="bg1"/>
                </a:solidFill>
              </a:rPr>
              <a:t>dans Copilot Studio (Agents de moteur personnalisé)</a:t>
            </a:r>
          </a:p>
        </p:txBody>
      </p:sp>
      <p:pic>
        <p:nvPicPr>
          <p:cNvPr id="3" name="Picture 2">
            <a:extLst>
              <a:ext uri="{FF2B5EF4-FFF2-40B4-BE49-F238E27FC236}">
                <a16:creationId xmlns:a16="http://schemas.microsoft.com/office/drawing/2014/main" id="{0A6D1935-3A36-7C16-B446-149ED090EE9B}"/>
              </a:ext>
            </a:extLst>
          </p:cNvPr>
          <p:cNvPicPr>
            <a:picLocks noChangeAspect="1"/>
          </p:cNvPicPr>
          <p:nvPr/>
        </p:nvPicPr>
        <p:blipFill>
          <a:blip r:embed="rId3"/>
          <a:stretch>
            <a:fillRect/>
          </a:stretch>
        </p:blipFill>
        <p:spPr>
          <a:xfrm>
            <a:off x="8245092" y="1463040"/>
            <a:ext cx="3661158" cy="4797194"/>
          </a:xfrm>
          <a:prstGeom prst="roundRect">
            <a:avLst>
              <a:gd name="adj" fmla="val 4640"/>
            </a:avLst>
          </a:prstGeom>
          <a:solidFill>
            <a:srgbClr val="FFFFFF">
              <a:shade val="85000"/>
            </a:srgbClr>
          </a:solidFill>
          <a:ln>
            <a:noFill/>
          </a:ln>
          <a:effectLst>
            <a:reflection blurRad="12700" stA="38000" endPos="28000" dist="5000" dir="5400000" sy="-100000" algn="bl" rotWithShape="0"/>
          </a:effectLst>
        </p:spPr>
      </p:pic>
      <p:sp>
        <p:nvSpPr>
          <p:cNvPr id="5" name="Rectangle: Rounded Corners 4">
            <a:extLst>
              <a:ext uri="{FF2B5EF4-FFF2-40B4-BE49-F238E27FC236}">
                <a16:creationId xmlns:a16="http://schemas.microsoft.com/office/drawing/2014/main" id="{6C566D2B-FFB7-22FD-F99E-D2C8DAE2DDDA}"/>
              </a:ext>
              <a:ext uri="{C183D7F6-B498-43B3-948B-1728B52AA6E4}">
                <adec:decorative xmlns:adec="http://schemas.microsoft.com/office/drawing/2017/decorative" val="1"/>
              </a:ext>
            </a:extLst>
          </p:cNvPr>
          <p:cNvSpPr/>
          <p:nvPr/>
        </p:nvSpPr>
        <p:spPr bwMode="auto">
          <a:xfrm>
            <a:off x="8289695" y="4279317"/>
            <a:ext cx="3516838" cy="1407743"/>
          </a:xfrm>
          <a:prstGeom prst="roundRect">
            <a:avLst>
              <a:gd name="adj" fmla="val 8716"/>
            </a:avLst>
          </a:prstGeom>
          <a:ln w="19050" cap="rnd">
            <a:gradFill flip="none" rotWithShape="1">
              <a:gsLst>
                <a:gs pos="0">
                  <a:srgbClr val="FF5C39"/>
                </a:gs>
                <a:gs pos="32000">
                  <a:srgbClr val="C03BC4"/>
                </a:gs>
                <a:gs pos="68000">
                  <a:srgbClr val="0078D4"/>
                </a:gs>
                <a:gs pos="100000">
                  <a:srgbClr val="399A9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FI" sz="2000" b="0" i="0" u="none" strike="noStrike" kern="1200" cap="none" spc="0" normalizeH="0" baseline="0" noProof="0" err="1">
              <a:ln>
                <a:noFill/>
              </a:ln>
              <a:solidFill>
                <a:srgbClr val="FFFFFF"/>
              </a:solidFill>
              <a:effectLst/>
              <a:uLnTx/>
              <a:uFillTx/>
              <a:latin typeface="Segoe UI Semibold"/>
              <a:ea typeface="+mn-ea"/>
              <a:cs typeface="Segoe UI" panose="020B0502040204020203" pitchFamily="34" charset="0"/>
            </a:endParaRPr>
          </a:p>
        </p:txBody>
      </p:sp>
    </p:spTree>
    <p:extLst>
      <p:ext uri="{BB962C8B-B14F-4D97-AF65-F5344CB8AC3E}">
        <p14:creationId xmlns:p14="http://schemas.microsoft.com/office/powerpoint/2010/main" val="28096763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34EC1E-4982-1F5E-2C64-D6C2AD0C635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F780E8F-744E-8CD8-BA38-DFC891BDEF7A}"/>
              </a:ext>
            </a:extLst>
          </p:cNvPr>
          <p:cNvSpPr>
            <a:spLocks noGrp="1"/>
          </p:cNvSpPr>
          <p:nvPr>
            <p:ph type="title"/>
          </p:nvPr>
        </p:nvSpPr>
        <p:spPr>
          <a:xfrm>
            <a:off x="588262" y="243434"/>
            <a:ext cx="11443903" cy="498598"/>
          </a:xfrm>
        </p:spPr>
        <p:txBody>
          <a:bodyPr/>
          <a:lstStyle/>
          <a:p>
            <a:r>
              <a:rPr lang="fr-fr"/>
              <a:t>Protection contre la perte de données – Points </a:t>
            </a:r>
            <a:br>
              <a:rPr lang="fr-fr"/>
            </a:br>
            <a:r>
              <a:rPr lang="fr-fr"/>
              <a:t>de terminaison des connecteurs (préversion)</a:t>
            </a:r>
          </a:p>
        </p:txBody>
      </p:sp>
      <p:sp>
        <p:nvSpPr>
          <p:cNvPr id="14" name="TextBox 13">
            <a:extLst>
              <a:ext uri="{FF2B5EF4-FFF2-40B4-BE49-F238E27FC236}">
                <a16:creationId xmlns:a16="http://schemas.microsoft.com/office/drawing/2014/main" id="{2960C98F-BAF1-C6D7-252C-F1D30FBFA211}"/>
              </a:ext>
            </a:extLst>
          </p:cNvPr>
          <p:cNvSpPr txBox="1"/>
          <p:nvPr/>
        </p:nvSpPr>
        <p:spPr>
          <a:xfrm>
            <a:off x="563186" y="1749203"/>
            <a:ext cx="6595897" cy="3508653"/>
          </a:xfrm>
          <a:prstGeom prst="rect">
            <a:avLst/>
          </a:prstGeom>
          <a:noFill/>
        </p:spPr>
        <p:txBody>
          <a:bodyPr wrap="square" lIns="0" tIns="0" rIns="0" bIns="0" anchor="t">
            <a:spAutoFit/>
          </a:bodyPr>
          <a:lstStyle/>
          <a:p>
            <a:pPr>
              <a:spcAft>
                <a:spcPts val="1200"/>
              </a:spcAft>
            </a:pPr>
            <a:r>
              <a:rPr lang="fr-fr" sz="2200">
                <a:solidFill>
                  <a:schemeClr val="bg1"/>
                </a:solidFill>
              </a:rPr>
              <a:t>Les connecteurs Copilot Studio suivants prennent </a:t>
            </a:r>
            <a:br>
              <a:rPr lang="fr-fr" sz="2200">
                <a:solidFill>
                  <a:schemeClr val="bg1"/>
                </a:solidFill>
              </a:rPr>
            </a:br>
            <a:r>
              <a:rPr lang="fr-fr" sz="2200">
                <a:solidFill>
                  <a:schemeClr val="bg1"/>
                </a:solidFill>
              </a:rPr>
              <a:t>en charge un contrôle plus granulaire permettant </a:t>
            </a:r>
            <a:br>
              <a:rPr lang="fr-fr" sz="2200">
                <a:solidFill>
                  <a:schemeClr val="bg1"/>
                </a:solidFill>
              </a:rPr>
            </a:br>
            <a:r>
              <a:rPr lang="fr-fr" sz="2200">
                <a:solidFill>
                  <a:schemeClr val="bg1"/>
                </a:solidFill>
              </a:rPr>
              <a:t>aux administrateurs de spécifier des URL de points </a:t>
            </a:r>
            <a:br>
              <a:rPr lang="fr-fr" sz="2200">
                <a:solidFill>
                  <a:schemeClr val="bg1"/>
                </a:solidFill>
              </a:rPr>
            </a:br>
            <a:r>
              <a:rPr lang="fr-fr" sz="2200">
                <a:solidFill>
                  <a:schemeClr val="bg1"/>
                </a:solidFill>
              </a:rPr>
              <a:t>de terminaison en les autorisant ou en les refusant</a:t>
            </a:r>
          </a:p>
          <a:p>
            <a:pPr>
              <a:spcAft>
                <a:spcPts val="1200"/>
              </a:spcAft>
            </a:pPr>
            <a:r>
              <a:rPr lang="fr-fr" sz="2200">
                <a:solidFill>
                  <a:schemeClr val="bg1"/>
                </a:solidFill>
              </a:rPr>
              <a:t>Source de connaissances avec SharePoint Online </a:t>
            </a:r>
            <a:br>
              <a:rPr lang="fr-fr" sz="2200">
                <a:solidFill>
                  <a:schemeClr val="bg1"/>
                </a:solidFill>
              </a:rPr>
            </a:br>
            <a:r>
              <a:rPr lang="fr-fr" sz="2200">
                <a:solidFill>
                  <a:schemeClr val="bg1"/>
                </a:solidFill>
              </a:rPr>
              <a:t>et OneDrive</a:t>
            </a:r>
          </a:p>
          <a:p>
            <a:pPr>
              <a:spcAft>
                <a:spcPts val="1200"/>
              </a:spcAft>
            </a:pPr>
            <a:r>
              <a:rPr lang="fr-fr" sz="2200">
                <a:solidFill>
                  <a:schemeClr val="bg1"/>
                </a:solidFill>
              </a:rPr>
              <a:t>Source de connaissances comprenant des sites </a:t>
            </a:r>
            <a:br>
              <a:rPr lang="fr-fr" sz="2200">
                <a:solidFill>
                  <a:schemeClr val="bg1"/>
                </a:solidFill>
              </a:rPr>
            </a:br>
            <a:r>
              <a:rPr lang="fr-fr" sz="2200">
                <a:solidFill>
                  <a:schemeClr val="bg1"/>
                </a:solidFill>
              </a:rPr>
              <a:t>Web publics et des données en ligne </a:t>
            </a:r>
          </a:p>
          <a:p>
            <a:pPr>
              <a:spcAft>
                <a:spcPts val="1200"/>
              </a:spcAft>
            </a:pPr>
            <a:r>
              <a:rPr lang="fr-fr" sz="2200">
                <a:solidFill>
                  <a:schemeClr val="bg1"/>
                </a:solidFill>
              </a:rPr>
              <a:t>Prise en charge des caractères génériques</a:t>
            </a:r>
          </a:p>
        </p:txBody>
      </p:sp>
      <p:pic>
        <p:nvPicPr>
          <p:cNvPr id="3" name="Picture 2">
            <a:extLst>
              <a:ext uri="{FF2B5EF4-FFF2-40B4-BE49-F238E27FC236}">
                <a16:creationId xmlns:a16="http://schemas.microsoft.com/office/drawing/2014/main" id="{CA7FAE71-2AF5-590E-D3B9-7F623D2B44B9}"/>
              </a:ext>
            </a:extLst>
          </p:cNvPr>
          <p:cNvPicPr>
            <a:picLocks noChangeAspect="1"/>
          </p:cNvPicPr>
          <p:nvPr/>
        </p:nvPicPr>
        <p:blipFill>
          <a:blip r:embed="rId3"/>
          <a:stretch>
            <a:fillRect/>
          </a:stretch>
        </p:blipFill>
        <p:spPr>
          <a:xfrm>
            <a:off x="7472610" y="1533724"/>
            <a:ext cx="4447831" cy="147580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 name="Picture 4">
            <a:extLst>
              <a:ext uri="{FF2B5EF4-FFF2-40B4-BE49-F238E27FC236}">
                <a16:creationId xmlns:a16="http://schemas.microsoft.com/office/drawing/2014/main" id="{98AF7F7E-A319-D851-8126-BD4F9BCE8D65}"/>
              </a:ext>
            </a:extLst>
          </p:cNvPr>
          <p:cNvPicPr>
            <a:picLocks noChangeAspect="1"/>
          </p:cNvPicPr>
          <p:nvPr/>
        </p:nvPicPr>
        <p:blipFill>
          <a:blip r:embed="rId4"/>
          <a:stretch>
            <a:fillRect/>
          </a:stretch>
        </p:blipFill>
        <p:spPr>
          <a:xfrm>
            <a:off x="7472610" y="3073841"/>
            <a:ext cx="4447831" cy="202892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a:extLst>
              <a:ext uri="{FF2B5EF4-FFF2-40B4-BE49-F238E27FC236}">
                <a16:creationId xmlns:a16="http://schemas.microsoft.com/office/drawing/2014/main" id="{ABE7D10B-963C-9FBA-AF26-7F8C9707F3F1}"/>
              </a:ext>
            </a:extLst>
          </p:cNvPr>
          <p:cNvPicPr>
            <a:picLocks noChangeAspect="1"/>
          </p:cNvPicPr>
          <p:nvPr/>
        </p:nvPicPr>
        <p:blipFill>
          <a:blip r:embed="rId5"/>
          <a:stretch>
            <a:fillRect/>
          </a:stretch>
        </p:blipFill>
        <p:spPr>
          <a:xfrm>
            <a:off x="7472610" y="5167077"/>
            <a:ext cx="4447830" cy="13517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113398673"/>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7126C3-3D09-12D1-FEC8-0DC4CEAAF88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4B4412A-A4ED-FFCF-A6CA-4E57DF037947}"/>
              </a:ext>
            </a:extLst>
          </p:cNvPr>
          <p:cNvSpPr>
            <a:spLocks noGrp="1"/>
          </p:cNvSpPr>
          <p:nvPr>
            <p:ph type="title"/>
          </p:nvPr>
        </p:nvSpPr>
        <p:spPr/>
        <p:txBody>
          <a:bodyPr/>
          <a:lstStyle/>
          <a:p>
            <a:r>
              <a:rPr lang="fr-fr"/>
              <a:t>Étiquettes de sensibilité </a:t>
            </a:r>
          </a:p>
        </p:txBody>
      </p:sp>
      <p:sp>
        <p:nvSpPr>
          <p:cNvPr id="14" name="TextBox 13">
            <a:extLst>
              <a:ext uri="{FF2B5EF4-FFF2-40B4-BE49-F238E27FC236}">
                <a16:creationId xmlns:a16="http://schemas.microsoft.com/office/drawing/2014/main" id="{84938BDB-CEB0-DD01-404C-C290394A129E}"/>
              </a:ext>
            </a:extLst>
          </p:cNvPr>
          <p:cNvSpPr txBox="1"/>
          <p:nvPr/>
        </p:nvSpPr>
        <p:spPr>
          <a:xfrm>
            <a:off x="563186" y="1749203"/>
            <a:ext cx="4313614" cy="4708981"/>
          </a:xfrm>
          <a:prstGeom prst="rect">
            <a:avLst/>
          </a:prstGeom>
          <a:noFill/>
        </p:spPr>
        <p:txBody>
          <a:bodyPr wrap="square" lIns="0" tIns="0" rIns="0" bIns="0" anchor="t">
            <a:spAutoFit/>
          </a:bodyPr>
          <a:lstStyle/>
          <a:p>
            <a:pPr>
              <a:spcAft>
                <a:spcPts val="1200"/>
              </a:spcAft>
            </a:pPr>
            <a:r>
              <a:rPr lang="fr-fr" sz="2200">
                <a:solidFill>
                  <a:schemeClr val="bg1"/>
                </a:solidFill>
              </a:rPr>
              <a:t>Copilot fonctionne avec les étiquettes de sensibilité et le chiffrement Microsoft Purview pour fournir une couche supplémentaire de protection.</a:t>
            </a:r>
          </a:p>
          <a:p>
            <a:pPr>
              <a:spcAft>
                <a:spcPts val="1200"/>
              </a:spcAft>
            </a:pPr>
            <a:endParaRPr lang="en-US" sz="2200">
              <a:solidFill>
                <a:schemeClr val="bg1"/>
              </a:solidFill>
            </a:endParaRPr>
          </a:p>
          <a:p>
            <a:pPr>
              <a:spcAft>
                <a:spcPts val="1200"/>
              </a:spcAft>
            </a:pPr>
            <a:r>
              <a:rPr lang="fr-fr" sz="2200">
                <a:solidFill>
                  <a:schemeClr val="bg1"/>
                </a:solidFill>
              </a:rPr>
              <a:t>Lorsque vous utilisez Copilot pour créer un nouveau contenu à partir d’un élément auquel une étiquette de sensibilité est appliquée, l’étiquette du fichier source est automatiquement héritée, avec </a:t>
            </a:r>
            <a:br>
              <a:rPr lang="fr-fr" sz="2200">
                <a:solidFill>
                  <a:schemeClr val="bg1"/>
                </a:solidFill>
              </a:rPr>
            </a:br>
            <a:r>
              <a:rPr lang="fr-fr" sz="2200">
                <a:solidFill>
                  <a:schemeClr val="bg1"/>
                </a:solidFill>
              </a:rPr>
              <a:t>ses paramètres de protection.</a:t>
            </a:r>
          </a:p>
        </p:txBody>
      </p:sp>
      <p:pic>
        <p:nvPicPr>
          <p:cNvPr id="3" name="Picture 2">
            <a:extLst>
              <a:ext uri="{FF2B5EF4-FFF2-40B4-BE49-F238E27FC236}">
                <a16:creationId xmlns:a16="http://schemas.microsoft.com/office/drawing/2014/main" id="{05C357AA-0A4C-539E-E0AF-C6F5B0A23598}"/>
              </a:ext>
            </a:extLst>
          </p:cNvPr>
          <p:cNvPicPr>
            <a:picLocks noChangeAspect="1"/>
          </p:cNvPicPr>
          <p:nvPr/>
        </p:nvPicPr>
        <p:blipFill>
          <a:blip r:embed="rId3"/>
          <a:stretch>
            <a:fillRect/>
          </a:stretch>
        </p:blipFill>
        <p:spPr>
          <a:xfrm>
            <a:off x="5272754" y="1666245"/>
            <a:ext cx="6733274" cy="3307794"/>
          </a:xfrm>
          <a:prstGeom prst="roundRect">
            <a:avLst>
              <a:gd name="adj" fmla="val 3065"/>
            </a:avLst>
          </a:prstGeom>
          <a:solidFill>
            <a:srgbClr val="FFFFFF">
              <a:shade val="85000"/>
            </a:srgbClr>
          </a:solidFill>
          <a:ln>
            <a:noFill/>
          </a:ln>
          <a:effectLst>
            <a:reflection blurRad="12700" stA="38000" endPos="28000" dist="5000" dir="5400000" sy="-100000" algn="bl" rotWithShape="0"/>
          </a:effectLst>
        </p:spPr>
      </p:pic>
      <p:sp>
        <p:nvSpPr>
          <p:cNvPr id="5" name="Rectangle: Rounded Corners 43">
            <a:extLst>
              <a:ext uri="{FF2B5EF4-FFF2-40B4-BE49-F238E27FC236}">
                <a16:creationId xmlns:a16="http://schemas.microsoft.com/office/drawing/2014/main" id="{BDC501E2-BB2C-71C5-BBB3-51B9713A2BAF}"/>
              </a:ext>
              <a:ext uri="{C183D7F6-B498-43B3-948B-1728B52AA6E4}">
                <adec:decorative xmlns:adec="http://schemas.microsoft.com/office/drawing/2017/decorative" val="1"/>
              </a:ext>
            </a:extLst>
          </p:cNvPr>
          <p:cNvSpPr>
            <a:spLocks/>
          </p:cNvSpPr>
          <p:nvPr/>
        </p:nvSpPr>
        <p:spPr bwMode="auto">
          <a:xfrm>
            <a:off x="5551714" y="5143849"/>
            <a:ext cx="6175355" cy="1140676"/>
          </a:xfrm>
          <a:prstGeom prst="roundRect">
            <a:avLst>
              <a:gd name="adj" fmla="val 5000"/>
            </a:avLst>
          </a:prstGeom>
          <a:solidFill>
            <a:schemeClr val="bg1"/>
          </a:solidFill>
          <a:ln w="19050">
            <a:gradFill flip="none" rotWithShape="1">
              <a:gsLst>
                <a:gs pos="3000">
                  <a:srgbClr val="0078D4"/>
                </a:gs>
                <a:gs pos="30000">
                  <a:srgbClr val="2DB4FF"/>
                </a:gs>
                <a:gs pos="70000">
                  <a:srgbClr val="D660FF"/>
                </a:gs>
                <a:gs pos="50000">
                  <a:srgbClr val="818EFF"/>
                </a:gs>
                <a:gs pos="100000">
                  <a:srgbClr val="FEA874"/>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50" normalizeH="0" baseline="0" noProof="0">
                <a:ln w="3175">
                  <a:noFill/>
                </a:ln>
                <a:gradFill flip="none" rotWithShape="1">
                  <a:gsLst>
                    <a:gs pos="50000">
                      <a:srgbClr val="8661C5"/>
                    </a:gs>
                    <a:gs pos="0">
                      <a:srgbClr val="3E76D4"/>
                    </a:gs>
                    <a:gs pos="100000">
                      <a:srgbClr val="C73ECC"/>
                    </a:gs>
                  </a:gsLst>
                  <a:lin ang="2700000" scaled="1"/>
                  <a:tileRect/>
                </a:gradFill>
                <a:effectLst/>
                <a:uLnTx/>
                <a:uFillTx/>
                <a:ea typeface="+mn-ea"/>
                <a:cs typeface="Segoe UI"/>
              </a:rPr>
              <a:t>Exigences en matière de licences – Sans étiquetage automatique </a:t>
            </a:r>
          </a:p>
          <a:p>
            <a:pPr algn="ctr">
              <a:spcAft>
                <a:spcPts val="600"/>
              </a:spcAft>
            </a:pPr>
            <a:r>
              <a:rPr lang="fr-fr" sz="1600" b="0" i="0">
                <a:solidFill>
                  <a:srgbClr val="424242"/>
                </a:solidFill>
                <a:effectLst/>
              </a:rPr>
              <a:t>Microsoft 365 E3/A3/G3</a:t>
            </a:r>
          </a:p>
          <a:p>
            <a:pPr algn="ctr">
              <a:spcAft>
                <a:spcPts val="600"/>
              </a:spcAft>
            </a:pPr>
            <a:r>
              <a:rPr lang="fr-fr" sz="1600" b="0" i="0">
                <a:solidFill>
                  <a:srgbClr val="424242"/>
                </a:solidFill>
                <a:effectLst/>
              </a:rPr>
              <a:t>Enterprise Mobility + Security E3/A3/G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50" normalizeH="0" baseline="0" noProof="0">
              <a:ln w="3175">
                <a:noFill/>
              </a:ln>
              <a:gradFill flip="none" rotWithShape="1">
                <a:gsLst>
                  <a:gs pos="50000">
                    <a:srgbClr val="8661C5"/>
                  </a:gs>
                  <a:gs pos="0">
                    <a:srgbClr val="3E76D4"/>
                  </a:gs>
                  <a:gs pos="100000">
                    <a:srgbClr val="C73ECC"/>
                  </a:gs>
                </a:gsLst>
                <a:lin ang="2700000" scaled="1"/>
                <a:tileRect/>
              </a:gradFill>
              <a:effectLst/>
              <a:uLnTx/>
              <a:uFillTx/>
              <a:latin typeface="Segoe UI"/>
              <a:ea typeface="+mn-ea"/>
              <a:cs typeface="Segoe UI"/>
            </a:endParaRPr>
          </a:p>
        </p:txBody>
      </p:sp>
      <p:sp>
        <p:nvSpPr>
          <p:cNvPr id="7" name="TextBox 6">
            <a:extLst>
              <a:ext uri="{FF2B5EF4-FFF2-40B4-BE49-F238E27FC236}">
                <a16:creationId xmlns:a16="http://schemas.microsoft.com/office/drawing/2014/main" id="{D67C6FE8-CC4D-8F48-450D-486DFC344571}"/>
              </a:ext>
            </a:extLst>
          </p:cNvPr>
          <p:cNvSpPr txBox="1"/>
          <p:nvPr/>
        </p:nvSpPr>
        <p:spPr>
          <a:xfrm>
            <a:off x="5458018" y="911660"/>
            <a:ext cx="6362745" cy="584775"/>
          </a:xfrm>
          <a:prstGeom prst="rect">
            <a:avLst/>
          </a:prstGeom>
          <a:noFill/>
        </p:spPr>
        <p:txBody>
          <a:bodyPr wrap="square">
            <a:spAutoFit/>
          </a:bodyPr>
          <a:lstStyle/>
          <a:p>
            <a:pPr algn="ctr"/>
            <a:r>
              <a:rPr lang="fr-fr" sz="1600" b="0" i="0">
                <a:solidFill>
                  <a:schemeClr val="bg1"/>
                </a:solidFill>
                <a:effectLst/>
                <a:latin typeface="Segoe UI" panose="020B0502040204020203" pitchFamily="34" charset="0"/>
              </a:rPr>
              <a:t>Comment </a:t>
            </a:r>
            <a:r>
              <a:rPr lang="fr-fr" sz="1600" b="0" i="0" err="1">
                <a:solidFill>
                  <a:schemeClr val="bg1"/>
                </a:solidFill>
                <a:effectLst/>
                <a:latin typeface="Segoe UI" panose="020B0502040204020203" pitchFamily="34" charset="0"/>
              </a:rPr>
              <a:t>Copilot</a:t>
            </a:r>
            <a:r>
              <a:rPr lang="fr-fr" sz="1600" b="0" i="0">
                <a:solidFill>
                  <a:schemeClr val="bg1"/>
                </a:solidFill>
                <a:effectLst/>
                <a:latin typeface="Segoe UI" panose="020B0502040204020203" pitchFamily="34" charset="0"/>
              </a:rPr>
              <a:t> respecte vos contrôles de protection des informations grâce à des étiquettes de sensibilité et au chiffrement.</a:t>
            </a:r>
            <a:endParaRPr lang="en-GB" sz="1600">
              <a:solidFill>
                <a:schemeClr val="bg1"/>
              </a:solidFill>
            </a:endParaRPr>
          </a:p>
        </p:txBody>
      </p:sp>
    </p:spTree>
    <p:extLst>
      <p:ext uri="{BB962C8B-B14F-4D97-AF65-F5344CB8AC3E}">
        <p14:creationId xmlns:p14="http://schemas.microsoft.com/office/powerpoint/2010/main" val="2497246258"/>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759F08-3272-315C-9997-2CCDCAB9AEF9}"/>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42B3638F-ADAF-FE82-65BA-7940C9F0DB5C}"/>
              </a:ext>
            </a:extLst>
          </p:cNvPr>
          <p:cNvPicPr>
            <a:picLocks noChangeAspect="1"/>
          </p:cNvPicPr>
          <p:nvPr/>
        </p:nvPicPr>
        <p:blipFill>
          <a:blip r:embed="rId3"/>
          <a:stretch>
            <a:fillRect/>
          </a:stretch>
        </p:blipFill>
        <p:spPr>
          <a:xfrm>
            <a:off x="7022414" y="1479941"/>
            <a:ext cx="4639059" cy="3470214"/>
          </a:xfrm>
          <a:prstGeom prst="roundRect">
            <a:avLst>
              <a:gd name="adj" fmla="val 3889"/>
            </a:avLst>
          </a:prstGeom>
          <a:solidFill>
            <a:srgbClr val="FFFFFF">
              <a:shade val="85000"/>
            </a:srgbClr>
          </a:solidFill>
          <a:ln>
            <a:noFill/>
          </a:ln>
          <a:effectLst>
            <a:reflection blurRad="12700" stA="38000" endPos="28000" dist="5000" dir="5400000" sy="-100000" algn="bl" rotWithShape="0"/>
          </a:effectLst>
        </p:spPr>
      </p:pic>
      <p:sp>
        <p:nvSpPr>
          <p:cNvPr id="4" name="Title 3">
            <a:extLst>
              <a:ext uri="{FF2B5EF4-FFF2-40B4-BE49-F238E27FC236}">
                <a16:creationId xmlns:a16="http://schemas.microsoft.com/office/drawing/2014/main" id="{300AFB2A-9024-2AE7-3F1D-5FA584705FD4}"/>
              </a:ext>
            </a:extLst>
          </p:cNvPr>
          <p:cNvSpPr>
            <a:spLocks noGrp="1"/>
          </p:cNvSpPr>
          <p:nvPr>
            <p:ph type="title"/>
          </p:nvPr>
        </p:nvSpPr>
        <p:spPr/>
        <p:txBody>
          <a:bodyPr/>
          <a:lstStyle/>
          <a:p>
            <a:r>
              <a:rPr lang="fr-fr"/>
              <a:t>Protection contre la perte de données</a:t>
            </a:r>
          </a:p>
        </p:txBody>
      </p:sp>
      <p:sp>
        <p:nvSpPr>
          <p:cNvPr id="14" name="TextBox 13">
            <a:extLst>
              <a:ext uri="{FF2B5EF4-FFF2-40B4-BE49-F238E27FC236}">
                <a16:creationId xmlns:a16="http://schemas.microsoft.com/office/drawing/2014/main" id="{FFCCC31A-558C-3418-68A6-E95B94F016DD}"/>
              </a:ext>
            </a:extLst>
          </p:cNvPr>
          <p:cNvSpPr txBox="1"/>
          <p:nvPr/>
        </p:nvSpPr>
        <p:spPr>
          <a:xfrm>
            <a:off x="563185" y="1749203"/>
            <a:ext cx="5728758" cy="4308872"/>
          </a:xfrm>
          <a:prstGeom prst="rect">
            <a:avLst/>
          </a:prstGeom>
          <a:noFill/>
        </p:spPr>
        <p:txBody>
          <a:bodyPr wrap="square" lIns="0" tIns="0" rIns="0" bIns="0" anchor="t">
            <a:spAutoFit/>
          </a:bodyPr>
          <a:lstStyle/>
          <a:p>
            <a:r>
              <a:rPr lang="fr-fr" sz="2000">
                <a:solidFill>
                  <a:schemeClr val="bg1"/>
                </a:solidFill>
                <a:latin typeface="Segoe UI" panose="020B0502040204020203" pitchFamily="34" charset="0"/>
              </a:rPr>
              <a:t>La protection contre la perte de données (DLP) Microsoft Purview peut vous aider à empêcher que des éléments auxquels des étiquettes de sensibilité spécifiques sont appliquées soient utilisés dans la génération de résumés de réponses aux requêtes dans Microsoft 365 Copilot.</a:t>
            </a:r>
          </a:p>
          <a:p>
            <a:endParaRPr lang="en-US" sz="2000">
              <a:solidFill>
                <a:schemeClr val="bg1"/>
              </a:solidFill>
              <a:latin typeface="Segoe UI" panose="020B0502040204020203" pitchFamily="34" charset="0"/>
            </a:endParaRPr>
          </a:p>
          <a:p>
            <a:r>
              <a:rPr lang="fr-fr" sz="2000">
                <a:solidFill>
                  <a:schemeClr val="bg1"/>
                </a:solidFill>
              </a:rPr>
              <a:t>Pour cela, créez des stratégies DLP qui utilisent l’emplacement de la stratégie </a:t>
            </a:r>
            <a:r>
              <a:rPr lang="fr-fr" sz="2000" b="1">
                <a:solidFill>
                  <a:schemeClr val="bg1"/>
                </a:solidFill>
              </a:rPr>
              <a:t>Microsoft 365 Copilot </a:t>
            </a:r>
            <a:r>
              <a:rPr lang="fr-fr" sz="2000">
                <a:solidFill>
                  <a:schemeClr val="bg1"/>
                </a:solidFill>
              </a:rPr>
              <a:t>avec la condition </a:t>
            </a:r>
            <a:r>
              <a:rPr lang="fr-fr" sz="2000" b="1">
                <a:solidFill>
                  <a:schemeClr val="bg1"/>
                </a:solidFill>
              </a:rPr>
              <a:t>Le contenu contient</a:t>
            </a:r>
            <a:r>
              <a:rPr lang="fr-fr" sz="2000">
                <a:solidFill>
                  <a:schemeClr val="bg1"/>
                </a:solidFill>
              </a:rPr>
              <a:t> &gt; </a:t>
            </a:r>
            <a:r>
              <a:rPr lang="fr-fr" sz="2000" b="1">
                <a:solidFill>
                  <a:schemeClr val="bg1"/>
                </a:solidFill>
              </a:rPr>
              <a:t>Étiquettes de sensibilité</a:t>
            </a:r>
            <a:r>
              <a:rPr lang="fr-fr" sz="2000">
                <a:solidFill>
                  <a:schemeClr val="bg1"/>
                </a:solidFill>
              </a:rPr>
              <a:t> pour exclure certains éléments du traitement. Les éléments identifiés seront toujours disponibles dans les citations de la réponse, mais leur contenu ne sera pas utilisé dans la génération de la réponse.</a:t>
            </a:r>
          </a:p>
          <a:p>
            <a:endParaRPr lang="en-NL" sz="2000">
              <a:solidFill>
                <a:schemeClr val="bg1"/>
              </a:solidFill>
            </a:endParaRPr>
          </a:p>
        </p:txBody>
      </p:sp>
      <p:pic>
        <p:nvPicPr>
          <p:cNvPr id="5" name="Picture 4">
            <a:extLst>
              <a:ext uri="{FF2B5EF4-FFF2-40B4-BE49-F238E27FC236}">
                <a16:creationId xmlns:a16="http://schemas.microsoft.com/office/drawing/2014/main" id="{E83F5A65-13DB-2EA2-543C-EC4B24979A12}"/>
              </a:ext>
            </a:extLst>
          </p:cNvPr>
          <p:cNvPicPr>
            <a:picLocks noChangeAspect="1"/>
          </p:cNvPicPr>
          <p:nvPr/>
        </p:nvPicPr>
        <p:blipFill>
          <a:blip r:embed="rId4"/>
          <a:stretch>
            <a:fillRect/>
          </a:stretch>
        </p:blipFill>
        <p:spPr>
          <a:xfrm>
            <a:off x="7032622" y="5077938"/>
            <a:ext cx="4639059" cy="132238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916292808"/>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4A0865-7D19-CF58-CDB5-41D515C3069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7B9DBD2-8E74-B0A3-2FED-87322F777085}"/>
              </a:ext>
            </a:extLst>
          </p:cNvPr>
          <p:cNvSpPr>
            <a:spLocks noGrp="1"/>
          </p:cNvSpPr>
          <p:nvPr>
            <p:ph type="title"/>
          </p:nvPr>
        </p:nvSpPr>
        <p:spPr/>
        <p:txBody>
          <a:bodyPr/>
          <a:lstStyle/>
          <a:p>
            <a:r>
              <a:rPr lang="fr-fr"/>
              <a:t>Modèles d’agents</a:t>
            </a:r>
          </a:p>
        </p:txBody>
      </p:sp>
      <p:sp>
        <p:nvSpPr>
          <p:cNvPr id="14" name="TextBox 13">
            <a:extLst>
              <a:ext uri="{FF2B5EF4-FFF2-40B4-BE49-F238E27FC236}">
                <a16:creationId xmlns:a16="http://schemas.microsoft.com/office/drawing/2014/main" id="{DFA48DE9-653D-D4C1-FE8A-957D4A49A4B0}"/>
              </a:ext>
            </a:extLst>
          </p:cNvPr>
          <p:cNvSpPr txBox="1"/>
          <p:nvPr/>
        </p:nvSpPr>
        <p:spPr>
          <a:xfrm>
            <a:off x="563185" y="1749203"/>
            <a:ext cx="4853767" cy="4370427"/>
          </a:xfrm>
          <a:prstGeom prst="rect">
            <a:avLst/>
          </a:prstGeom>
          <a:noFill/>
        </p:spPr>
        <p:txBody>
          <a:bodyPr wrap="square" lIns="0" tIns="0" rIns="0" bIns="0" anchor="t">
            <a:spAutoFit/>
          </a:bodyPr>
          <a:lstStyle/>
          <a:p>
            <a:pPr>
              <a:spcAft>
                <a:spcPts val="1200"/>
              </a:spcAft>
            </a:pPr>
            <a:r>
              <a:rPr lang="fr-fr" sz="2400">
                <a:solidFill>
                  <a:schemeClr val="bg1"/>
                </a:solidFill>
              </a:rPr>
              <a:t>Grâce aux modèles de stratégies d’agents, nous pouvons facilement appliquer un ensemble de stratégies de sécurité et de confidentialité provenant de Purview, d’Entra </a:t>
            </a:r>
            <a:br>
              <a:rPr lang="fr-fr" sz="2400">
                <a:solidFill>
                  <a:schemeClr val="bg1"/>
                </a:solidFill>
              </a:rPr>
            </a:br>
            <a:r>
              <a:rPr lang="fr-fr" sz="2400">
                <a:solidFill>
                  <a:schemeClr val="bg1"/>
                </a:solidFill>
              </a:rPr>
              <a:t>et de SharePoint aux agents</a:t>
            </a:r>
          </a:p>
          <a:p>
            <a:pPr>
              <a:spcAft>
                <a:spcPts val="1200"/>
              </a:spcAft>
            </a:pPr>
            <a:r>
              <a:rPr lang="fr-fr" sz="2400">
                <a:solidFill>
                  <a:schemeClr val="bg1"/>
                </a:solidFill>
              </a:rPr>
              <a:t>À ce jour, seules des stratégies définies par Microsoft sont disponibles</a:t>
            </a:r>
          </a:p>
          <a:p>
            <a:pPr>
              <a:spcAft>
                <a:spcPts val="1200"/>
              </a:spcAft>
            </a:pPr>
            <a:r>
              <a:rPr lang="fr-fr" sz="2400">
                <a:solidFill>
                  <a:schemeClr val="bg1"/>
                </a:solidFill>
              </a:rPr>
              <a:t>Création de stratégies personnalisées</a:t>
            </a:r>
            <a:endParaRPr lang="en-NL" sz="2400">
              <a:solidFill>
                <a:schemeClr val="bg1"/>
              </a:solidFill>
            </a:endParaRPr>
          </a:p>
        </p:txBody>
      </p:sp>
      <p:pic>
        <p:nvPicPr>
          <p:cNvPr id="3" name="Picture 2">
            <a:extLst>
              <a:ext uri="{FF2B5EF4-FFF2-40B4-BE49-F238E27FC236}">
                <a16:creationId xmlns:a16="http://schemas.microsoft.com/office/drawing/2014/main" id="{A32D8E28-144D-C536-C2CC-2FF8112C5FFE}"/>
              </a:ext>
            </a:extLst>
          </p:cNvPr>
          <p:cNvPicPr>
            <a:picLocks noChangeAspect="1"/>
          </p:cNvPicPr>
          <p:nvPr/>
        </p:nvPicPr>
        <p:blipFill>
          <a:blip r:embed="rId3"/>
          <a:stretch>
            <a:fillRect/>
          </a:stretch>
        </p:blipFill>
        <p:spPr>
          <a:xfrm>
            <a:off x="7052636" y="734780"/>
            <a:ext cx="4981072" cy="2793828"/>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3638A63A-882D-0117-E69D-61B48AB8D34E}"/>
              </a:ext>
            </a:extLst>
          </p:cNvPr>
          <p:cNvPicPr>
            <a:picLocks noChangeAspect="1"/>
          </p:cNvPicPr>
          <p:nvPr/>
        </p:nvPicPr>
        <p:blipFill>
          <a:blip r:embed="rId4"/>
          <a:stretch>
            <a:fillRect/>
          </a:stretch>
        </p:blipFill>
        <p:spPr>
          <a:xfrm>
            <a:off x="5900593" y="2026878"/>
            <a:ext cx="3642579" cy="2575232"/>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8A5661DB-2B02-8594-1352-5ABA71216B59}"/>
              </a:ext>
            </a:extLst>
          </p:cNvPr>
          <p:cNvPicPr>
            <a:picLocks noChangeAspect="1"/>
          </p:cNvPicPr>
          <p:nvPr/>
        </p:nvPicPr>
        <p:blipFill>
          <a:blip r:embed="rId5"/>
          <a:stretch>
            <a:fillRect/>
          </a:stretch>
        </p:blipFill>
        <p:spPr>
          <a:xfrm>
            <a:off x="7335748" y="3777907"/>
            <a:ext cx="4697960" cy="270846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64088500"/>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95DCF-FE0D-76DD-AAA5-9E56BE4CA8D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05F1961-81B2-CFA3-5C22-33B3A6F2A63D}"/>
              </a:ext>
            </a:extLst>
          </p:cNvPr>
          <p:cNvSpPr>
            <a:spLocks noGrp="1"/>
          </p:cNvSpPr>
          <p:nvPr>
            <p:ph type="title"/>
          </p:nvPr>
        </p:nvSpPr>
        <p:spPr>
          <a:xfrm>
            <a:off x="571499" y="2792795"/>
            <a:ext cx="5945679" cy="1200329"/>
          </a:xfrm>
          <a:prstGeom prst="rect">
            <a:avLst/>
          </a:prstGeom>
        </p:spPr>
        <p:txBody>
          <a:bodyPr/>
          <a:lstStyle/>
          <a:p>
            <a:r>
              <a:rPr lang="fr-fr">
                <a:latin typeface="Segoe UI Semibold" panose="020B0702040204020203" pitchFamily="34" charset="0"/>
                <a:cs typeface="Segoe UI Semibold" panose="020B0702040204020203" pitchFamily="34" charset="0"/>
              </a:rPr>
              <a:t>Création de rapports </a:t>
            </a:r>
            <a:br>
              <a:rPr lang="fr-fr">
                <a:latin typeface="Segoe UI Semibold" panose="020B0702040204020203" pitchFamily="34" charset="0"/>
                <a:cs typeface="Segoe UI Semibold" panose="020B0702040204020203" pitchFamily="34" charset="0"/>
              </a:rPr>
            </a:br>
            <a:r>
              <a:rPr lang="fr-fr">
                <a:latin typeface="Segoe UI Semibold" panose="020B0702040204020203" pitchFamily="34" charset="0"/>
                <a:cs typeface="Segoe UI Semibold" panose="020B0702040204020203" pitchFamily="34" charset="0"/>
              </a:rPr>
              <a:t>et surveillance</a:t>
            </a:r>
            <a:endParaRPr lang="en-US" spc="0"/>
          </a:p>
        </p:txBody>
      </p:sp>
    </p:spTree>
    <p:extLst>
      <p:ext uri="{BB962C8B-B14F-4D97-AF65-F5344CB8AC3E}">
        <p14:creationId xmlns:p14="http://schemas.microsoft.com/office/powerpoint/2010/main" val="135891072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812AC0-F73A-9037-39C4-FD03BC88EAA9}"/>
            </a:ext>
          </a:extLst>
        </p:cNvPr>
        <p:cNvGrpSpPr/>
        <p:nvPr/>
      </p:nvGrpSpPr>
      <p:grpSpPr>
        <a:xfrm>
          <a:off x="0" y="0"/>
          <a:ext cx="0" cy="0"/>
          <a:chOff x="0" y="0"/>
          <a:chExt cx="0" cy="0"/>
        </a:xfrm>
      </p:grpSpPr>
      <p:sp>
        <p:nvSpPr>
          <p:cNvPr id="29" name="Title 3">
            <a:extLst>
              <a:ext uri="{FF2B5EF4-FFF2-40B4-BE49-F238E27FC236}">
                <a16:creationId xmlns:a16="http://schemas.microsoft.com/office/drawing/2014/main" id="{F0170801-41CB-3699-EC13-89CDA20AEBFB}"/>
              </a:ext>
            </a:extLst>
          </p:cNvPr>
          <p:cNvSpPr>
            <a:spLocks noGrp="1"/>
          </p:cNvSpPr>
          <p:nvPr>
            <p:ph type="title"/>
          </p:nvPr>
        </p:nvSpPr>
        <p:spPr>
          <a:xfrm>
            <a:off x="588263" y="485481"/>
            <a:ext cx="11018520" cy="498598"/>
          </a:xfrm>
        </p:spPr>
        <p:txBody>
          <a:bodyPr/>
          <a:lstStyle/>
          <a:p>
            <a:r>
              <a:rPr lang="fr-fr"/>
              <a:t>Gamme d’agents</a:t>
            </a:r>
          </a:p>
        </p:txBody>
      </p:sp>
      <p:grpSp>
        <p:nvGrpSpPr>
          <p:cNvPr id="2" name="Group 1" descr="Barre allant du plus simple au plus avancé">
            <a:extLst>
              <a:ext uri="{FF2B5EF4-FFF2-40B4-BE49-F238E27FC236}">
                <a16:creationId xmlns:a16="http://schemas.microsoft.com/office/drawing/2014/main" id="{566F66E9-8049-E4BB-5A2D-999C00784EE6}"/>
              </a:ext>
            </a:extLst>
          </p:cNvPr>
          <p:cNvGrpSpPr/>
          <p:nvPr/>
        </p:nvGrpSpPr>
        <p:grpSpPr>
          <a:xfrm>
            <a:off x="571301" y="3676010"/>
            <a:ext cx="11049399" cy="523220"/>
            <a:chOff x="571301" y="3700042"/>
            <a:chExt cx="11049399" cy="523220"/>
          </a:xfrm>
        </p:grpSpPr>
        <p:sp>
          <p:nvSpPr>
            <p:cNvPr id="3" name="Rectangle: Rounded Corners 2">
              <a:extLst>
                <a:ext uri="{FF2B5EF4-FFF2-40B4-BE49-F238E27FC236}">
                  <a16:creationId xmlns:a16="http://schemas.microsoft.com/office/drawing/2014/main" id="{09F8408F-0CC6-166B-ACB0-E0BDC1FE36F8}"/>
                </a:ext>
              </a:extLst>
            </p:cNvPr>
            <p:cNvSpPr/>
            <p:nvPr/>
          </p:nvSpPr>
          <p:spPr bwMode="auto">
            <a:xfrm>
              <a:off x="571301" y="3700042"/>
              <a:ext cx="11049399" cy="523220"/>
            </a:xfrm>
            <a:prstGeom prst="roundRect">
              <a:avLst>
                <a:gd name="adj" fmla="val 5000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w="3175">
                  <a:noFill/>
                </a:ln>
                <a:solidFill>
                  <a:srgbClr val="FEFFFE"/>
                </a:solidFill>
                <a:effectLst/>
                <a:uLnTx/>
                <a:uFillTx/>
                <a:latin typeface="Segoe UI Semibold"/>
                <a:ea typeface="+mn-ea"/>
                <a:cs typeface="+mn-cs"/>
              </a:endParaRPr>
            </a:p>
          </p:txBody>
        </p:sp>
        <p:sp>
          <p:nvSpPr>
            <p:cNvPr id="4" name="TextBox 3">
              <a:extLst>
                <a:ext uri="{FF2B5EF4-FFF2-40B4-BE49-F238E27FC236}">
                  <a16:creationId xmlns:a16="http://schemas.microsoft.com/office/drawing/2014/main" id="{77B94AA2-306E-8148-1085-98E6C8F9C06A}"/>
                </a:ext>
              </a:extLst>
            </p:cNvPr>
            <p:cNvSpPr txBox="1"/>
            <p:nvPr/>
          </p:nvSpPr>
          <p:spPr>
            <a:xfrm>
              <a:off x="775462" y="3853930"/>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Simple</a:t>
              </a:r>
            </a:p>
          </p:txBody>
        </p:sp>
        <p:sp>
          <p:nvSpPr>
            <p:cNvPr id="5" name="TextBox 4">
              <a:extLst>
                <a:ext uri="{FF2B5EF4-FFF2-40B4-BE49-F238E27FC236}">
                  <a16:creationId xmlns:a16="http://schemas.microsoft.com/office/drawing/2014/main" id="{427F463C-B688-8B8B-8E4F-48AAF19437A5}"/>
                </a:ext>
              </a:extLst>
            </p:cNvPr>
            <p:cNvSpPr txBox="1"/>
            <p:nvPr/>
          </p:nvSpPr>
          <p:spPr>
            <a:xfrm>
              <a:off x="10183129" y="3853930"/>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400" b="1"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Avancé</a:t>
              </a:r>
            </a:p>
          </p:txBody>
        </p:sp>
      </p:grpSp>
      <p:grpSp>
        <p:nvGrpSpPr>
          <p:cNvPr id="6" name="Group 5">
            <a:extLst>
              <a:ext uri="{FF2B5EF4-FFF2-40B4-BE49-F238E27FC236}">
                <a16:creationId xmlns:a16="http://schemas.microsoft.com/office/drawing/2014/main" id="{537FAC67-ED81-131F-A3CF-D5506747D1BB}"/>
              </a:ext>
              <a:ext uri="{C183D7F6-B498-43B3-948B-1728B52AA6E4}">
                <adec:decorative xmlns:adec="http://schemas.microsoft.com/office/drawing/2017/decorative" val="1"/>
              </a:ext>
            </a:extLst>
          </p:cNvPr>
          <p:cNvGrpSpPr/>
          <p:nvPr/>
        </p:nvGrpSpPr>
        <p:grpSpPr>
          <a:xfrm>
            <a:off x="2815919" y="3487011"/>
            <a:ext cx="901222" cy="901219"/>
            <a:chOff x="2770858" y="3465982"/>
            <a:chExt cx="991344" cy="991341"/>
          </a:xfrm>
          <a:effectLst>
            <a:outerShdw blurRad="190500" sx="104000" sy="104000" algn="ctr" rotWithShape="0">
              <a:prstClr val="black">
                <a:alpha val="40000"/>
              </a:prstClr>
            </a:outerShdw>
          </a:effectLst>
        </p:grpSpPr>
        <p:sp>
          <p:nvSpPr>
            <p:cNvPr id="7" name="Oval 6">
              <a:extLst>
                <a:ext uri="{FF2B5EF4-FFF2-40B4-BE49-F238E27FC236}">
                  <a16:creationId xmlns:a16="http://schemas.microsoft.com/office/drawing/2014/main" id="{E2E47E75-80E8-301C-78F2-A218556402F1}"/>
                </a:ext>
              </a:extLst>
            </p:cNvPr>
            <p:cNvSpPr>
              <a:spLocks/>
            </p:cNvSpPr>
            <p:nvPr/>
          </p:nvSpPr>
          <p:spPr bwMode="auto">
            <a:xfrm>
              <a:off x="2770858" y="3465982"/>
              <a:ext cx="991344" cy="991341"/>
            </a:xfrm>
            <a:prstGeom prst="ellipse">
              <a:avLst/>
            </a:prstGeom>
            <a:gradFill flip="none" rotWithShape="1">
              <a:gsLst>
                <a:gs pos="2797">
                  <a:srgbClr val="FFA38B"/>
                </a:gs>
                <a:gs pos="42000">
                  <a:srgbClr val="FF5C39"/>
                </a:gs>
                <a:gs pos="100000">
                  <a:srgbClr val="73391D"/>
                </a:gs>
              </a:gsLst>
              <a:path path="circle">
                <a:fillToRect r="100000" b="100000"/>
              </a:path>
              <a:tileRect l="-100000" t="-100000"/>
            </a:gra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endParaRPr lang="en-US" sz="700">
                <a:solidFill>
                  <a:srgbClr val="FFFFFF"/>
                </a:solidFill>
                <a:latin typeface="Segoe UI"/>
                <a:sym typeface="Rubik Light"/>
              </a:endParaRPr>
            </a:p>
          </p:txBody>
        </p:sp>
        <p:sp>
          <p:nvSpPr>
            <p:cNvPr id="8" name="Graphic 10">
              <a:extLst>
                <a:ext uri="{FF2B5EF4-FFF2-40B4-BE49-F238E27FC236}">
                  <a16:creationId xmlns:a16="http://schemas.microsoft.com/office/drawing/2014/main" id="{9B07AF20-CABF-1E04-EC66-976FB8F67603}"/>
                </a:ext>
              </a:extLst>
            </p:cNvPr>
            <p:cNvSpPr/>
            <p:nvPr/>
          </p:nvSpPr>
          <p:spPr>
            <a:xfrm>
              <a:off x="3073659" y="3788615"/>
              <a:ext cx="385742" cy="346074"/>
            </a:xfrm>
            <a:custGeom>
              <a:avLst/>
              <a:gdLst>
                <a:gd name="connsiteX0" fmla="*/ 131922 w 352872"/>
                <a:gd name="connsiteY0" fmla="*/ 0 h 316585"/>
                <a:gd name="connsiteX1" fmla="*/ 0 w 352872"/>
                <a:gd name="connsiteY1" fmla="*/ 131844 h 316585"/>
                <a:gd name="connsiteX2" fmla="*/ 12400 w 352872"/>
                <a:gd name="connsiteY2" fmla="*/ 187714 h 316585"/>
                <a:gd name="connsiteX3" fmla="*/ 425 w 352872"/>
                <a:gd name="connsiteY3" fmla="*/ 242964 h 316585"/>
                <a:gd name="connsiteX4" fmla="*/ 14287 w 352872"/>
                <a:gd name="connsiteY4" fmla="*/ 263490 h 316585"/>
                <a:gd name="connsiteX5" fmla="*/ 20700 w 352872"/>
                <a:gd name="connsiteY5" fmla="*/ 263538 h 316585"/>
                <a:gd name="connsiteX6" fmla="*/ 77603 w 352872"/>
                <a:gd name="connsiteY6" fmla="*/ 252108 h 316585"/>
                <a:gd name="connsiteX7" fmla="*/ 252043 w 352872"/>
                <a:gd name="connsiteY7" fmla="*/ 186098 h 316585"/>
                <a:gd name="connsiteX8" fmla="*/ 186032 w 352872"/>
                <a:gd name="connsiteY8" fmla="*/ 11658 h 316585"/>
                <a:gd name="connsiteX9" fmla="*/ 131922 w 352872"/>
                <a:gd name="connsiteY9" fmla="*/ 0 h 316585"/>
                <a:gd name="connsiteX10" fmla="*/ 131253 w 352872"/>
                <a:gd name="connsiteY10" fmla="*/ 281351 h 316585"/>
                <a:gd name="connsiteX11" fmla="*/ 220934 w 352872"/>
                <a:gd name="connsiteY11" fmla="*/ 316520 h 316585"/>
                <a:gd name="connsiteX12" fmla="*/ 275235 w 352872"/>
                <a:gd name="connsiteY12" fmla="*/ 304861 h 316585"/>
                <a:gd name="connsiteX13" fmla="*/ 326458 w 352872"/>
                <a:gd name="connsiteY13" fmla="*/ 316115 h 316585"/>
                <a:gd name="connsiteX14" fmla="*/ 352360 w 352872"/>
                <a:gd name="connsiteY14" fmla="*/ 299199 h 316585"/>
                <a:gd name="connsiteX15" fmla="*/ 352254 w 352872"/>
                <a:gd name="connsiteY15" fmla="*/ 289738 h 316585"/>
                <a:gd name="connsiteX16" fmla="*/ 340455 w 352872"/>
                <a:gd name="connsiteY16" fmla="*/ 240449 h 316585"/>
                <a:gd name="connsiteX17" fmla="*/ 276715 w 352872"/>
                <a:gd name="connsiteY17" fmla="*/ 65088 h 316585"/>
                <a:gd name="connsiteX18" fmla="*/ 264069 w 352872"/>
                <a:gd name="connsiteY18" fmla="*/ 59963 h 316585"/>
                <a:gd name="connsiteX19" fmla="*/ 278136 w 352872"/>
                <a:gd name="connsiteY19" fmla="*/ 95976 h 316585"/>
                <a:gd name="connsiteX20" fmla="*/ 326440 w 352872"/>
                <a:gd name="connsiteY20" fmla="*/ 184636 h 316585"/>
                <a:gd name="connsiteX21" fmla="*/ 314747 w 352872"/>
                <a:gd name="connsiteY21" fmla="*/ 232941 h 316585"/>
                <a:gd name="connsiteX22" fmla="*/ 312461 w 352872"/>
                <a:gd name="connsiteY22" fmla="*/ 237390 h 316585"/>
                <a:gd name="connsiteX23" fmla="*/ 313692 w 352872"/>
                <a:gd name="connsiteY23" fmla="*/ 242243 h 316585"/>
                <a:gd name="connsiteX24" fmla="*/ 324981 w 352872"/>
                <a:gd name="connsiteY24" fmla="*/ 288842 h 316585"/>
                <a:gd name="connsiteX25" fmla="*/ 276800 w 352872"/>
                <a:gd name="connsiteY25" fmla="*/ 278115 h 316585"/>
                <a:gd name="connsiteX26" fmla="*/ 272157 w 352872"/>
                <a:gd name="connsiteY26" fmla="*/ 277025 h 316585"/>
                <a:gd name="connsiteX27" fmla="*/ 267884 w 352872"/>
                <a:gd name="connsiteY27" fmla="*/ 279153 h 316585"/>
                <a:gd name="connsiteX28" fmla="*/ 220934 w 352872"/>
                <a:gd name="connsiteY28" fmla="*/ 290143 h 316585"/>
                <a:gd name="connsiteX29" fmla="*/ 169587 w 352872"/>
                <a:gd name="connsiteY29" fmla="*/ 276849 h 316585"/>
                <a:gd name="connsiteX30" fmla="*/ 131253 w 352872"/>
                <a:gd name="connsiteY30" fmla="*/ 281351 h 316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2872" h="316585">
                  <a:moveTo>
                    <a:pt x="131922" y="0"/>
                  </a:moveTo>
                  <a:cubicBezTo>
                    <a:pt x="59085" y="-21"/>
                    <a:pt x="21" y="59008"/>
                    <a:pt x="0" y="131844"/>
                  </a:cubicBezTo>
                  <a:cubicBezTo>
                    <a:pt x="-6" y="151150"/>
                    <a:pt x="4227" y="170222"/>
                    <a:pt x="12400" y="187714"/>
                  </a:cubicBezTo>
                  <a:cubicBezTo>
                    <a:pt x="7974" y="206033"/>
                    <a:pt x="3982" y="224456"/>
                    <a:pt x="425" y="242964"/>
                  </a:cubicBezTo>
                  <a:cubicBezTo>
                    <a:pt x="-1415" y="252459"/>
                    <a:pt x="4791" y="261651"/>
                    <a:pt x="14287" y="263490"/>
                  </a:cubicBezTo>
                  <a:cubicBezTo>
                    <a:pt x="16403" y="263902"/>
                    <a:pt x="18578" y="263918"/>
                    <a:pt x="20700" y="263538"/>
                  </a:cubicBezTo>
                  <a:cubicBezTo>
                    <a:pt x="31655" y="261603"/>
                    <a:pt x="55482" y="257207"/>
                    <a:pt x="77603" y="252108"/>
                  </a:cubicBezTo>
                  <a:cubicBezTo>
                    <a:pt x="144002" y="282049"/>
                    <a:pt x="222100" y="252496"/>
                    <a:pt x="252043" y="186098"/>
                  </a:cubicBezTo>
                  <a:cubicBezTo>
                    <a:pt x="281984" y="119699"/>
                    <a:pt x="252429" y="41600"/>
                    <a:pt x="186032" y="11658"/>
                  </a:cubicBezTo>
                  <a:cubicBezTo>
                    <a:pt x="169023" y="3988"/>
                    <a:pt x="150580" y="15"/>
                    <a:pt x="131922" y="0"/>
                  </a:cubicBezTo>
                  <a:close/>
                  <a:moveTo>
                    <a:pt x="131253" y="281351"/>
                  </a:moveTo>
                  <a:cubicBezTo>
                    <a:pt x="155618" y="304003"/>
                    <a:pt x="187666" y="316571"/>
                    <a:pt x="220934" y="316520"/>
                  </a:cubicBezTo>
                  <a:cubicBezTo>
                    <a:pt x="240277" y="316520"/>
                    <a:pt x="258653" y="312352"/>
                    <a:pt x="275235" y="304861"/>
                  </a:cubicBezTo>
                  <a:cubicBezTo>
                    <a:pt x="293575" y="309152"/>
                    <a:pt x="313674" y="313442"/>
                    <a:pt x="326458" y="316115"/>
                  </a:cubicBezTo>
                  <a:cubicBezTo>
                    <a:pt x="338282" y="318596"/>
                    <a:pt x="349879" y="311023"/>
                    <a:pt x="352360" y="299199"/>
                  </a:cubicBezTo>
                  <a:cubicBezTo>
                    <a:pt x="353016" y="296076"/>
                    <a:pt x="352979" y="292847"/>
                    <a:pt x="352254" y="289738"/>
                  </a:cubicBezTo>
                  <a:cubicBezTo>
                    <a:pt x="349406" y="277377"/>
                    <a:pt x="344904" y="258174"/>
                    <a:pt x="340455" y="240449"/>
                  </a:cubicBezTo>
                  <a:cubicBezTo>
                    <a:pt x="371279" y="174423"/>
                    <a:pt x="342741" y="95912"/>
                    <a:pt x="276715" y="65088"/>
                  </a:cubicBezTo>
                  <a:cubicBezTo>
                    <a:pt x="272592" y="63163"/>
                    <a:pt x="268370" y="61452"/>
                    <a:pt x="264069" y="59963"/>
                  </a:cubicBezTo>
                  <a:cubicBezTo>
                    <a:pt x="270308" y="71302"/>
                    <a:pt x="275038" y="83409"/>
                    <a:pt x="278136" y="95976"/>
                  </a:cubicBezTo>
                  <a:cubicBezTo>
                    <a:pt x="308263" y="115395"/>
                    <a:pt x="326460" y="148792"/>
                    <a:pt x="326440" y="184636"/>
                  </a:cubicBezTo>
                  <a:cubicBezTo>
                    <a:pt x="326440" y="202080"/>
                    <a:pt x="322220" y="218486"/>
                    <a:pt x="314747" y="232941"/>
                  </a:cubicBezTo>
                  <a:lnTo>
                    <a:pt x="312461" y="237390"/>
                  </a:lnTo>
                  <a:lnTo>
                    <a:pt x="313692" y="242243"/>
                  </a:lnTo>
                  <a:cubicBezTo>
                    <a:pt x="317701" y="257981"/>
                    <a:pt x="321904" y="275653"/>
                    <a:pt x="324981" y="288842"/>
                  </a:cubicBezTo>
                  <a:cubicBezTo>
                    <a:pt x="311371" y="285975"/>
                    <a:pt x="293012" y="281984"/>
                    <a:pt x="276800" y="278115"/>
                  </a:cubicBezTo>
                  <a:lnTo>
                    <a:pt x="272157" y="277025"/>
                  </a:lnTo>
                  <a:lnTo>
                    <a:pt x="267884" y="279153"/>
                  </a:lnTo>
                  <a:cubicBezTo>
                    <a:pt x="253746" y="286186"/>
                    <a:pt x="237815" y="290143"/>
                    <a:pt x="220934" y="290143"/>
                  </a:cubicBezTo>
                  <a:cubicBezTo>
                    <a:pt x="202963" y="290176"/>
                    <a:pt x="185283" y="285599"/>
                    <a:pt x="169587" y="276849"/>
                  </a:cubicBezTo>
                  <a:cubicBezTo>
                    <a:pt x="157057" y="279997"/>
                    <a:pt x="144173" y="281511"/>
                    <a:pt x="131253" y="281351"/>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grpSp>
      <p:grpSp>
        <p:nvGrpSpPr>
          <p:cNvPr id="9" name="Group 8">
            <a:extLst>
              <a:ext uri="{FF2B5EF4-FFF2-40B4-BE49-F238E27FC236}">
                <a16:creationId xmlns:a16="http://schemas.microsoft.com/office/drawing/2014/main" id="{C2F3A1DF-6EC7-4FEB-8E7C-0FC4CB53A511}"/>
              </a:ext>
              <a:ext uri="{C183D7F6-B498-43B3-948B-1728B52AA6E4}">
                <adec:decorative xmlns:adec="http://schemas.microsoft.com/office/drawing/2017/decorative" val="1"/>
              </a:ext>
            </a:extLst>
          </p:cNvPr>
          <p:cNvGrpSpPr/>
          <p:nvPr/>
        </p:nvGrpSpPr>
        <p:grpSpPr>
          <a:xfrm>
            <a:off x="5645389" y="3487011"/>
            <a:ext cx="901222" cy="901219"/>
            <a:chOff x="5645389" y="3511043"/>
            <a:chExt cx="901222" cy="901219"/>
          </a:xfrm>
          <a:effectLst>
            <a:outerShdw blurRad="190500" sx="104000" sy="104000" algn="ctr" rotWithShape="0">
              <a:prstClr val="black">
                <a:alpha val="40000"/>
              </a:prstClr>
            </a:outerShdw>
          </a:effectLst>
        </p:grpSpPr>
        <p:sp>
          <p:nvSpPr>
            <p:cNvPr id="10" name="Oval 9">
              <a:extLst>
                <a:ext uri="{FF2B5EF4-FFF2-40B4-BE49-F238E27FC236}">
                  <a16:creationId xmlns:a16="http://schemas.microsoft.com/office/drawing/2014/main" id="{C4316E08-AED2-5ED9-F515-063E0FBF1092}"/>
                </a:ext>
              </a:extLst>
            </p:cNvPr>
            <p:cNvSpPr>
              <a:spLocks/>
            </p:cNvSpPr>
            <p:nvPr/>
          </p:nvSpPr>
          <p:spPr bwMode="auto">
            <a:xfrm>
              <a:off x="5645389" y="3511043"/>
              <a:ext cx="901222" cy="901219"/>
            </a:xfrm>
            <a:prstGeom prst="ellipse">
              <a:avLst/>
            </a:prstGeom>
            <a:gradFill flip="none" rotWithShape="1">
              <a:gsLst>
                <a:gs pos="4196">
                  <a:srgbClr val="D59ED7"/>
                </a:gs>
                <a:gs pos="41000">
                  <a:srgbClr val="C03BC4"/>
                </a:gs>
                <a:gs pos="99000">
                  <a:srgbClr val="702573"/>
                </a:gs>
              </a:gsLst>
              <a:path path="circle">
                <a:fillToRect r="100000" b="100000"/>
              </a:path>
              <a:tileRect l="-100000" t="-100000"/>
            </a:gradFill>
            <a:ln w="12700"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pic>
          <p:nvPicPr>
            <p:cNvPr id="11" name="Graphic 10">
              <a:extLst>
                <a:ext uri="{FF2B5EF4-FFF2-40B4-BE49-F238E27FC236}">
                  <a16:creationId xmlns:a16="http://schemas.microsoft.com/office/drawing/2014/main" id="{78A66862-603E-1495-0B6D-812223F165AB}"/>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5903188" y="3761587"/>
              <a:ext cx="385625" cy="385625"/>
            </a:xfrm>
            <a:prstGeom prst="rect">
              <a:avLst/>
            </a:prstGeom>
          </p:spPr>
        </p:pic>
      </p:grpSp>
      <p:grpSp>
        <p:nvGrpSpPr>
          <p:cNvPr id="12" name="Group 11">
            <a:extLst>
              <a:ext uri="{FF2B5EF4-FFF2-40B4-BE49-F238E27FC236}">
                <a16:creationId xmlns:a16="http://schemas.microsoft.com/office/drawing/2014/main" id="{4DF1244C-934A-5706-61C2-7D78ECBBD623}"/>
              </a:ext>
              <a:ext uri="{C183D7F6-B498-43B3-948B-1728B52AA6E4}">
                <adec:decorative xmlns:adec="http://schemas.microsoft.com/office/drawing/2017/decorative" val="1"/>
              </a:ext>
            </a:extLst>
          </p:cNvPr>
          <p:cNvGrpSpPr/>
          <p:nvPr/>
        </p:nvGrpSpPr>
        <p:grpSpPr>
          <a:xfrm>
            <a:off x="8473430" y="3487011"/>
            <a:ext cx="901222" cy="901219"/>
            <a:chOff x="8428369" y="3465982"/>
            <a:chExt cx="991344" cy="991341"/>
          </a:xfrm>
          <a:effectLst>
            <a:outerShdw blurRad="190500" sx="104000" sy="104000" algn="ctr" rotWithShape="0">
              <a:prstClr val="black">
                <a:alpha val="40000"/>
              </a:prstClr>
            </a:outerShdw>
          </a:effectLst>
        </p:grpSpPr>
        <p:sp>
          <p:nvSpPr>
            <p:cNvPr id="13" name="Oval 12">
              <a:extLst>
                <a:ext uri="{FF2B5EF4-FFF2-40B4-BE49-F238E27FC236}">
                  <a16:creationId xmlns:a16="http://schemas.microsoft.com/office/drawing/2014/main" id="{BB4F4513-E703-7D30-64B8-4368D26BBC0B}"/>
                </a:ext>
              </a:extLst>
            </p:cNvPr>
            <p:cNvSpPr>
              <a:spLocks/>
            </p:cNvSpPr>
            <p:nvPr/>
          </p:nvSpPr>
          <p:spPr bwMode="auto">
            <a:xfrm>
              <a:off x="8428369" y="3465982"/>
              <a:ext cx="991344" cy="991341"/>
            </a:xfrm>
            <a:prstGeom prst="ellipse">
              <a:avLst/>
            </a:prstGeom>
            <a:gradFill flip="none" rotWithShape="1">
              <a:gsLst>
                <a:gs pos="699">
                  <a:srgbClr val="8DC8E8"/>
                </a:gs>
                <a:gs pos="38000">
                  <a:srgbClr val="0078D4"/>
                </a:gs>
                <a:gs pos="100000">
                  <a:schemeClr val="accent6">
                    <a:lumMod val="75000"/>
                  </a:schemeClr>
                </a:gs>
              </a:gsLst>
              <a:path path="circle">
                <a:fillToRect r="100000" b="100000"/>
              </a:path>
              <a:tileRect l="-100000" t="-100000"/>
            </a:gradFill>
            <a:ln w="12700"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sp>
          <p:nvSpPr>
            <p:cNvPr id="14" name="Graphic 12">
              <a:extLst>
                <a:ext uri="{FF2B5EF4-FFF2-40B4-BE49-F238E27FC236}">
                  <a16:creationId xmlns:a16="http://schemas.microsoft.com/office/drawing/2014/main" id="{2FBACEDF-E762-C44C-4DEC-5EA4C252AE98}"/>
                </a:ext>
              </a:extLst>
            </p:cNvPr>
            <p:cNvSpPr/>
            <p:nvPr/>
          </p:nvSpPr>
          <p:spPr>
            <a:xfrm>
              <a:off x="8744079" y="3774239"/>
              <a:ext cx="359924" cy="374826"/>
            </a:xfrm>
            <a:custGeom>
              <a:avLst/>
              <a:gdLst>
                <a:gd name="connsiteX0" fmla="*/ 164812 w 329254"/>
                <a:gd name="connsiteY0" fmla="*/ 0 h 342886"/>
                <a:gd name="connsiteX1" fmla="*/ 203181 w 329254"/>
                <a:gd name="connsiteY1" fmla="*/ 4449 h 342886"/>
                <a:gd name="connsiteX2" fmla="*/ 213415 w 329254"/>
                <a:gd name="connsiteY2" fmla="*/ 15861 h 342886"/>
                <a:gd name="connsiteX3" fmla="*/ 216405 w 329254"/>
                <a:gd name="connsiteY3" fmla="*/ 42713 h 342886"/>
                <a:gd name="connsiteX4" fmla="*/ 243288 w 329254"/>
                <a:gd name="connsiteY4" fmla="*/ 64203 h 342886"/>
                <a:gd name="connsiteX5" fmla="*/ 250290 w 329254"/>
                <a:gd name="connsiteY5" fmla="*/ 62337 h 342886"/>
                <a:gd name="connsiteX6" fmla="*/ 274926 w 329254"/>
                <a:gd name="connsiteY6" fmla="*/ 51522 h 342886"/>
                <a:gd name="connsiteX7" fmla="*/ 289872 w 329254"/>
                <a:gd name="connsiteY7" fmla="*/ 54582 h 342886"/>
                <a:gd name="connsiteX8" fmla="*/ 328628 w 329254"/>
                <a:gd name="connsiteY8" fmla="*/ 121262 h 342886"/>
                <a:gd name="connsiteX9" fmla="*/ 323863 w 329254"/>
                <a:gd name="connsiteY9" fmla="*/ 135769 h 342886"/>
                <a:gd name="connsiteX10" fmla="*/ 302023 w 329254"/>
                <a:gd name="connsiteY10" fmla="*/ 151877 h 342886"/>
                <a:gd name="connsiteX11" fmla="*/ 296829 w 329254"/>
                <a:gd name="connsiteY11" fmla="*/ 185825 h 342886"/>
                <a:gd name="connsiteX12" fmla="*/ 302023 w 329254"/>
                <a:gd name="connsiteY12" fmla="*/ 191020 h 342886"/>
                <a:gd name="connsiteX13" fmla="*/ 323881 w 329254"/>
                <a:gd name="connsiteY13" fmla="*/ 207109 h 342886"/>
                <a:gd name="connsiteX14" fmla="*/ 328664 w 329254"/>
                <a:gd name="connsiteY14" fmla="*/ 221634 h 342886"/>
                <a:gd name="connsiteX15" fmla="*/ 289907 w 329254"/>
                <a:gd name="connsiteY15" fmla="*/ 288314 h 342886"/>
                <a:gd name="connsiteX16" fmla="*/ 274996 w 329254"/>
                <a:gd name="connsiteY16" fmla="*/ 291391 h 342886"/>
                <a:gd name="connsiteX17" fmla="*/ 250255 w 329254"/>
                <a:gd name="connsiteY17" fmla="*/ 280542 h 342886"/>
                <a:gd name="connsiteX18" fmla="*/ 218286 w 329254"/>
                <a:gd name="connsiteY18" fmla="*/ 293021 h 342886"/>
                <a:gd name="connsiteX19" fmla="*/ 216387 w 329254"/>
                <a:gd name="connsiteY19" fmla="*/ 300131 h 342886"/>
                <a:gd name="connsiteX20" fmla="*/ 213415 w 329254"/>
                <a:gd name="connsiteY20" fmla="*/ 326965 h 342886"/>
                <a:gd name="connsiteX21" fmla="*/ 203357 w 329254"/>
                <a:gd name="connsiteY21" fmla="*/ 338342 h 342886"/>
                <a:gd name="connsiteX22" fmla="*/ 125880 w 329254"/>
                <a:gd name="connsiteY22" fmla="*/ 338342 h 342886"/>
                <a:gd name="connsiteX23" fmla="*/ 115822 w 329254"/>
                <a:gd name="connsiteY23" fmla="*/ 326965 h 342886"/>
                <a:gd name="connsiteX24" fmla="*/ 112868 w 329254"/>
                <a:gd name="connsiteY24" fmla="*/ 300166 h 342886"/>
                <a:gd name="connsiteX25" fmla="*/ 85969 w 329254"/>
                <a:gd name="connsiteY25" fmla="*/ 278775 h 342886"/>
                <a:gd name="connsiteX26" fmla="*/ 79000 w 329254"/>
                <a:gd name="connsiteY26" fmla="*/ 280647 h 342886"/>
                <a:gd name="connsiteX27" fmla="*/ 54276 w 329254"/>
                <a:gd name="connsiteY27" fmla="*/ 291479 h 342886"/>
                <a:gd name="connsiteX28" fmla="*/ 39347 w 329254"/>
                <a:gd name="connsiteY28" fmla="*/ 288402 h 342886"/>
                <a:gd name="connsiteX29" fmla="*/ 591 w 329254"/>
                <a:gd name="connsiteY29" fmla="*/ 221652 h 342886"/>
                <a:gd name="connsiteX30" fmla="*/ 5374 w 329254"/>
                <a:gd name="connsiteY30" fmla="*/ 207127 h 342886"/>
                <a:gd name="connsiteX31" fmla="*/ 27231 w 329254"/>
                <a:gd name="connsiteY31" fmla="*/ 191020 h 342886"/>
                <a:gd name="connsiteX32" fmla="*/ 32456 w 329254"/>
                <a:gd name="connsiteY32" fmla="*/ 157101 h 342886"/>
                <a:gd name="connsiteX33" fmla="*/ 27231 w 329254"/>
                <a:gd name="connsiteY33" fmla="*/ 151877 h 342886"/>
                <a:gd name="connsiteX34" fmla="*/ 5374 w 329254"/>
                <a:gd name="connsiteY34" fmla="*/ 135804 h 342886"/>
                <a:gd name="connsiteX35" fmla="*/ 609 w 329254"/>
                <a:gd name="connsiteY35" fmla="*/ 121280 h 342886"/>
                <a:gd name="connsiteX36" fmla="*/ 39365 w 329254"/>
                <a:gd name="connsiteY36" fmla="*/ 54600 h 342886"/>
                <a:gd name="connsiteX37" fmla="*/ 54311 w 329254"/>
                <a:gd name="connsiteY37" fmla="*/ 51540 h 342886"/>
                <a:gd name="connsiteX38" fmla="*/ 78930 w 329254"/>
                <a:gd name="connsiteY38" fmla="*/ 62354 h 342886"/>
                <a:gd name="connsiteX39" fmla="*/ 111007 w 329254"/>
                <a:gd name="connsiteY39" fmla="*/ 49677 h 342886"/>
                <a:gd name="connsiteX40" fmla="*/ 112868 w 329254"/>
                <a:gd name="connsiteY40" fmla="*/ 42695 h 342886"/>
                <a:gd name="connsiteX41" fmla="*/ 115857 w 329254"/>
                <a:gd name="connsiteY41" fmla="*/ 15861 h 342886"/>
                <a:gd name="connsiteX42" fmla="*/ 126109 w 329254"/>
                <a:gd name="connsiteY42" fmla="*/ 4431 h 342886"/>
                <a:gd name="connsiteX43" fmla="*/ 164812 w 329254"/>
                <a:gd name="connsiteY43" fmla="*/ 0 h 342886"/>
                <a:gd name="connsiteX44" fmla="*/ 164601 w 329254"/>
                <a:gd name="connsiteY44" fmla="*/ 118695 h 342886"/>
                <a:gd name="connsiteX45" fmla="*/ 111848 w 329254"/>
                <a:gd name="connsiteY45" fmla="*/ 171448 h 342886"/>
                <a:gd name="connsiteX46" fmla="*/ 164601 w 329254"/>
                <a:gd name="connsiteY46" fmla="*/ 224201 h 342886"/>
                <a:gd name="connsiteX47" fmla="*/ 217354 w 329254"/>
                <a:gd name="connsiteY47" fmla="*/ 171448 h 342886"/>
                <a:gd name="connsiteX48" fmla="*/ 164601 w 329254"/>
                <a:gd name="connsiteY48" fmla="*/ 118695 h 34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29254" h="342886">
                  <a:moveTo>
                    <a:pt x="164812" y="0"/>
                  </a:moveTo>
                  <a:cubicBezTo>
                    <a:pt x="177719" y="141"/>
                    <a:pt x="190573" y="1635"/>
                    <a:pt x="203181" y="4449"/>
                  </a:cubicBezTo>
                  <a:cubicBezTo>
                    <a:pt x="208680" y="5676"/>
                    <a:pt x="212791" y="10262"/>
                    <a:pt x="213415" y="15861"/>
                  </a:cubicBezTo>
                  <a:lnTo>
                    <a:pt x="216405" y="42713"/>
                  </a:lnTo>
                  <a:cubicBezTo>
                    <a:pt x="217894" y="56071"/>
                    <a:pt x="229931" y="65692"/>
                    <a:pt x="243288" y="64203"/>
                  </a:cubicBezTo>
                  <a:cubicBezTo>
                    <a:pt x="245702" y="63934"/>
                    <a:pt x="248062" y="63305"/>
                    <a:pt x="250290" y="62337"/>
                  </a:cubicBezTo>
                  <a:lnTo>
                    <a:pt x="274926" y="51522"/>
                  </a:lnTo>
                  <a:cubicBezTo>
                    <a:pt x="280051" y="49265"/>
                    <a:pt x="286046" y="50491"/>
                    <a:pt x="289872" y="54582"/>
                  </a:cubicBezTo>
                  <a:cubicBezTo>
                    <a:pt x="307666" y="73592"/>
                    <a:pt x="320918" y="96391"/>
                    <a:pt x="328628" y="121262"/>
                  </a:cubicBezTo>
                  <a:cubicBezTo>
                    <a:pt x="330285" y="126619"/>
                    <a:pt x="328373" y="132438"/>
                    <a:pt x="323863" y="135769"/>
                  </a:cubicBezTo>
                  <a:lnTo>
                    <a:pt x="302023" y="151877"/>
                  </a:lnTo>
                  <a:cubicBezTo>
                    <a:pt x="291214" y="159816"/>
                    <a:pt x="288888" y="175016"/>
                    <a:pt x="296829" y="185825"/>
                  </a:cubicBezTo>
                  <a:cubicBezTo>
                    <a:pt x="298286" y="187809"/>
                    <a:pt x="300038" y="189562"/>
                    <a:pt x="302023" y="191020"/>
                  </a:cubicBezTo>
                  <a:lnTo>
                    <a:pt x="323881" y="207109"/>
                  </a:lnTo>
                  <a:cubicBezTo>
                    <a:pt x="328405" y="210438"/>
                    <a:pt x="330325" y="216267"/>
                    <a:pt x="328664" y="221634"/>
                  </a:cubicBezTo>
                  <a:cubicBezTo>
                    <a:pt x="320949" y="246504"/>
                    <a:pt x="307699" y="269302"/>
                    <a:pt x="289907" y="288314"/>
                  </a:cubicBezTo>
                  <a:cubicBezTo>
                    <a:pt x="286090" y="292395"/>
                    <a:pt x="280116" y="293628"/>
                    <a:pt x="274996" y="291391"/>
                  </a:cubicBezTo>
                  <a:lnTo>
                    <a:pt x="250255" y="280542"/>
                  </a:lnTo>
                  <a:cubicBezTo>
                    <a:pt x="237981" y="275159"/>
                    <a:pt x="223667" y="280748"/>
                    <a:pt x="218286" y="293021"/>
                  </a:cubicBezTo>
                  <a:cubicBezTo>
                    <a:pt x="217296" y="295281"/>
                    <a:pt x="216654" y="297678"/>
                    <a:pt x="216387" y="300131"/>
                  </a:cubicBezTo>
                  <a:lnTo>
                    <a:pt x="213415" y="326965"/>
                  </a:lnTo>
                  <a:cubicBezTo>
                    <a:pt x="212802" y="332500"/>
                    <a:pt x="208777" y="337055"/>
                    <a:pt x="203357" y="338342"/>
                  </a:cubicBezTo>
                  <a:cubicBezTo>
                    <a:pt x="177886" y="344401"/>
                    <a:pt x="151351" y="344401"/>
                    <a:pt x="125880" y="338342"/>
                  </a:cubicBezTo>
                  <a:cubicBezTo>
                    <a:pt x="120461" y="337055"/>
                    <a:pt x="116436" y="332500"/>
                    <a:pt x="115822" y="326965"/>
                  </a:cubicBezTo>
                  <a:lnTo>
                    <a:pt x="112868" y="300166"/>
                  </a:lnTo>
                  <a:cubicBezTo>
                    <a:pt x="111347" y="286832"/>
                    <a:pt x="99304" y="277254"/>
                    <a:pt x="85969" y="278775"/>
                  </a:cubicBezTo>
                  <a:cubicBezTo>
                    <a:pt x="83566" y="279049"/>
                    <a:pt x="81217" y="279680"/>
                    <a:pt x="79000" y="280647"/>
                  </a:cubicBezTo>
                  <a:lnTo>
                    <a:pt x="54276" y="291479"/>
                  </a:lnTo>
                  <a:cubicBezTo>
                    <a:pt x="49151" y="293725"/>
                    <a:pt x="43167" y="292490"/>
                    <a:pt x="39347" y="288402"/>
                  </a:cubicBezTo>
                  <a:cubicBezTo>
                    <a:pt x="21547" y="269369"/>
                    <a:pt x="8295" y="246546"/>
                    <a:pt x="591" y="221652"/>
                  </a:cubicBezTo>
                  <a:cubicBezTo>
                    <a:pt x="-1071" y="216285"/>
                    <a:pt x="849" y="210456"/>
                    <a:pt x="5374" y="207127"/>
                  </a:cubicBezTo>
                  <a:lnTo>
                    <a:pt x="27231" y="191020"/>
                  </a:lnTo>
                  <a:cubicBezTo>
                    <a:pt x="38040" y="183096"/>
                    <a:pt x="40380" y="167910"/>
                    <a:pt x="32456" y="157101"/>
                  </a:cubicBezTo>
                  <a:cubicBezTo>
                    <a:pt x="30992" y="155103"/>
                    <a:pt x="29230" y="153341"/>
                    <a:pt x="27231" y="151877"/>
                  </a:cubicBezTo>
                  <a:lnTo>
                    <a:pt x="5374" y="135804"/>
                  </a:lnTo>
                  <a:cubicBezTo>
                    <a:pt x="856" y="132471"/>
                    <a:pt x="-1057" y="126642"/>
                    <a:pt x="609" y="121280"/>
                  </a:cubicBezTo>
                  <a:cubicBezTo>
                    <a:pt x="8320" y="96409"/>
                    <a:pt x="21571" y="73610"/>
                    <a:pt x="39365" y="54600"/>
                  </a:cubicBezTo>
                  <a:cubicBezTo>
                    <a:pt x="43192" y="50509"/>
                    <a:pt x="49185" y="49282"/>
                    <a:pt x="54311" y="51540"/>
                  </a:cubicBezTo>
                  <a:lnTo>
                    <a:pt x="78930" y="62354"/>
                  </a:lnTo>
                  <a:cubicBezTo>
                    <a:pt x="91289" y="67712"/>
                    <a:pt x="105650" y="62036"/>
                    <a:pt x="111007" y="49677"/>
                  </a:cubicBezTo>
                  <a:cubicBezTo>
                    <a:pt x="111971" y="47455"/>
                    <a:pt x="112598" y="45102"/>
                    <a:pt x="112868" y="42695"/>
                  </a:cubicBezTo>
                  <a:lnTo>
                    <a:pt x="115857" y="15861"/>
                  </a:lnTo>
                  <a:cubicBezTo>
                    <a:pt x="116476" y="10250"/>
                    <a:pt x="120597" y="5654"/>
                    <a:pt x="126109" y="4431"/>
                  </a:cubicBezTo>
                  <a:cubicBezTo>
                    <a:pt x="138717" y="1635"/>
                    <a:pt x="151606" y="158"/>
                    <a:pt x="164812" y="0"/>
                  </a:cubicBezTo>
                  <a:close/>
                  <a:moveTo>
                    <a:pt x="164601" y="118695"/>
                  </a:moveTo>
                  <a:cubicBezTo>
                    <a:pt x="135465" y="118695"/>
                    <a:pt x="111848" y="142312"/>
                    <a:pt x="111848" y="171448"/>
                  </a:cubicBezTo>
                  <a:cubicBezTo>
                    <a:pt x="111848" y="200584"/>
                    <a:pt x="135465" y="224201"/>
                    <a:pt x="164601" y="224201"/>
                  </a:cubicBezTo>
                  <a:cubicBezTo>
                    <a:pt x="193737" y="224201"/>
                    <a:pt x="217354" y="200584"/>
                    <a:pt x="217354" y="171448"/>
                  </a:cubicBezTo>
                  <a:cubicBezTo>
                    <a:pt x="217354" y="142312"/>
                    <a:pt x="193737" y="118695"/>
                    <a:pt x="164601" y="118695"/>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491019" fontAlgn="base">
                <a:spcBef>
                  <a:spcPct val="0"/>
                </a:spcBef>
                <a:spcAft>
                  <a:spcPct val="0"/>
                </a:spcAft>
              </a:pPr>
              <a:endParaRPr lang="en-US" sz="2000">
                <a:ln w="3175">
                  <a:noFill/>
                </a:ln>
                <a:solidFill>
                  <a:srgbClr val="FFFFFF"/>
                </a:solidFill>
                <a:latin typeface="Segoe UI Semibold"/>
              </a:endParaRPr>
            </a:p>
          </p:txBody>
        </p:sp>
      </p:grpSp>
      <p:sp>
        <p:nvSpPr>
          <p:cNvPr id="15" name="Rectangle: Rounded Corners 14">
            <a:extLst>
              <a:ext uri="{FF2B5EF4-FFF2-40B4-BE49-F238E27FC236}">
                <a16:creationId xmlns:a16="http://schemas.microsoft.com/office/drawing/2014/main" id="{19AED43D-EA21-3434-CD04-521F2727FC58}"/>
              </a:ext>
              <a:ext uri="{C183D7F6-B498-43B3-948B-1728B52AA6E4}">
                <adec:decorative xmlns:adec="http://schemas.microsoft.com/office/drawing/2017/decorative" val="1"/>
              </a:ext>
            </a:extLst>
          </p:cNvPr>
          <p:cNvSpPr>
            <a:spLocks/>
          </p:cNvSpPr>
          <p:nvPr/>
        </p:nvSpPr>
        <p:spPr bwMode="auto">
          <a:xfrm>
            <a:off x="2121377" y="2390341"/>
            <a:ext cx="2285064" cy="916857"/>
          </a:xfrm>
          <a:prstGeom prst="roundRect">
            <a:avLst>
              <a:gd name="adj" fmla="val 6945"/>
            </a:avLst>
          </a:prstGeom>
          <a:solidFill>
            <a:schemeClr val="bg1"/>
          </a:solidFill>
          <a:ln w="12700">
            <a:solidFill>
              <a:schemeClr val="bg1">
                <a:lumMod val="85000"/>
                <a:alpha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fr-fr" sz="900" b="0" i="0" u="none" strike="noStrike" kern="1200" cap="none" spc="0" normalizeH="0" baseline="0" noProof="0">
                <a:ln w="3175">
                  <a:noFill/>
                </a:ln>
                <a:solidFill>
                  <a:schemeClr val="tx1"/>
                </a:solidFill>
                <a:effectLst/>
                <a:uLnTx/>
                <a:uFillTx/>
                <a:latin typeface="Segoe UI" panose="020B0502040204020203" pitchFamily="34" charset="0"/>
                <a:cs typeface="Segoe UI" panose="020B0502040204020203" pitchFamily="34" charset="0"/>
              </a:rPr>
              <a:t>Comment puis-je me connecter </a:t>
            </a:r>
            <a:br>
              <a:rPr kumimoji="0" lang="fr-fr" sz="900" b="0" i="0" u="none" strike="noStrike" kern="1200" cap="none" spc="0" normalizeH="0" baseline="0" noProof="0">
                <a:ln w="3175">
                  <a:noFill/>
                </a:ln>
                <a:solidFill>
                  <a:schemeClr val="tx1"/>
                </a:solidFill>
                <a:effectLst/>
                <a:uLnTx/>
                <a:uFillTx/>
                <a:latin typeface="Segoe UI" panose="020B0502040204020203" pitchFamily="34" charset="0"/>
                <a:cs typeface="Segoe UI" panose="020B0502040204020203" pitchFamily="34" charset="0"/>
              </a:rPr>
            </a:br>
            <a:r>
              <a:rPr kumimoji="0" lang="fr-fr" sz="900" b="0" i="0" u="none" strike="noStrike" kern="1200" cap="none" spc="0" normalizeH="0" baseline="0" noProof="0">
                <a:ln w="3175">
                  <a:noFill/>
                </a:ln>
                <a:solidFill>
                  <a:schemeClr val="tx1"/>
                </a:solidFill>
                <a:effectLst/>
                <a:uLnTx/>
                <a:uFillTx/>
                <a:latin typeface="Segoe UI" panose="020B0502040204020203" pitchFamily="34" charset="0"/>
                <a:cs typeface="Segoe UI" panose="020B0502040204020203" pitchFamily="34" charset="0"/>
              </a:rPr>
              <a:t>au réseau de l’entreprise ?</a:t>
            </a:r>
          </a:p>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600" b="0" i="0" u="none" strike="noStrike" kern="1200" cap="none" spc="0" normalizeH="0" baseline="0" noProof="0">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pic>
        <p:nvPicPr>
          <p:cNvPr id="16" name="Graphic 15">
            <a:extLst>
              <a:ext uri="{FF2B5EF4-FFF2-40B4-BE49-F238E27FC236}">
                <a16:creationId xmlns:a16="http://schemas.microsoft.com/office/drawing/2014/main" id="{61FB60A0-129D-C2C2-C303-74AADA7FD897}"/>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4139152" y="3034153"/>
            <a:ext cx="141171" cy="141171"/>
          </a:xfrm>
          <a:prstGeom prst="rect">
            <a:avLst/>
          </a:prstGeom>
        </p:spPr>
      </p:pic>
      <p:grpSp>
        <p:nvGrpSpPr>
          <p:cNvPr id="17" name="Group 16">
            <a:extLst>
              <a:ext uri="{FF2B5EF4-FFF2-40B4-BE49-F238E27FC236}">
                <a16:creationId xmlns:a16="http://schemas.microsoft.com/office/drawing/2014/main" id="{8EC0422A-EA24-6CE2-C73D-8DB367107A91}"/>
              </a:ext>
              <a:ext uri="{C183D7F6-B498-43B3-948B-1728B52AA6E4}">
                <adec:decorative xmlns:adec="http://schemas.microsoft.com/office/drawing/2017/decorative" val="1"/>
              </a:ext>
            </a:extLst>
          </p:cNvPr>
          <p:cNvGrpSpPr>
            <a:grpSpLocks/>
          </p:cNvGrpSpPr>
          <p:nvPr/>
        </p:nvGrpSpPr>
        <p:grpSpPr>
          <a:xfrm>
            <a:off x="2233137" y="3034153"/>
            <a:ext cx="426949" cy="141171"/>
            <a:chOff x="696092" y="2359438"/>
            <a:chExt cx="426949" cy="141171"/>
          </a:xfrm>
        </p:grpSpPr>
        <p:pic>
          <p:nvPicPr>
            <p:cNvPr id="18" name="Graphic 17">
              <a:extLst>
                <a:ext uri="{FF2B5EF4-FFF2-40B4-BE49-F238E27FC236}">
                  <a16:creationId xmlns:a16="http://schemas.microsoft.com/office/drawing/2014/main" id="{FDECA5CD-CA81-9063-8298-4C3EB8F5C854}"/>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05398" y="2359438"/>
              <a:ext cx="117643" cy="141171"/>
            </a:xfrm>
            <a:prstGeom prst="rect">
              <a:avLst/>
            </a:prstGeom>
          </p:spPr>
        </p:pic>
        <p:pic>
          <p:nvPicPr>
            <p:cNvPr id="19" name="Graphic 18">
              <a:extLst>
                <a:ext uri="{FF2B5EF4-FFF2-40B4-BE49-F238E27FC236}">
                  <a16:creationId xmlns:a16="http://schemas.microsoft.com/office/drawing/2014/main" id="{230AD519-7335-2616-C748-D6E9820D8E8D}"/>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96092" y="2368751"/>
              <a:ext cx="117643" cy="117643"/>
            </a:xfrm>
            <a:prstGeom prst="rect">
              <a:avLst/>
            </a:prstGeom>
          </p:spPr>
        </p:pic>
      </p:grpSp>
      <p:cxnSp>
        <p:nvCxnSpPr>
          <p:cNvPr id="20" name="Straight Connector 19">
            <a:extLst>
              <a:ext uri="{FF2B5EF4-FFF2-40B4-BE49-F238E27FC236}">
                <a16:creationId xmlns:a16="http://schemas.microsoft.com/office/drawing/2014/main" id="{7DD270D4-2D83-EFDF-2A46-A8CBD386A44C}"/>
              </a:ext>
              <a:ext uri="{C183D7F6-B498-43B3-948B-1728B52AA6E4}">
                <adec:decorative xmlns:adec="http://schemas.microsoft.com/office/drawing/2017/decorative" val="1"/>
              </a:ext>
            </a:extLst>
          </p:cNvPr>
          <p:cNvCxnSpPr>
            <a:cxnSpLocks/>
            <a:stCxn id="15" idx="2"/>
            <a:endCxn id="7" idx="0"/>
          </p:cNvCxnSpPr>
          <p:nvPr/>
        </p:nvCxnSpPr>
        <p:spPr>
          <a:xfrm>
            <a:off x="3263909" y="3307198"/>
            <a:ext cx="2621" cy="179813"/>
          </a:xfrm>
          <a:prstGeom prst="line">
            <a:avLst/>
          </a:prstGeom>
          <a:ln w="6350">
            <a:solidFill>
              <a:srgbClr val="FF5C39"/>
            </a:solidFill>
            <a:prstDash val="lgDash"/>
            <a:headEnd type="oval" w="sm" len="sm"/>
            <a:tailEnd type="none" w="lg"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D45BBFB-5B77-036D-688B-21B6AAB9F706}"/>
              </a:ext>
            </a:extLst>
          </p:cNvPr>
          <p:cNvSpPr txBox="1">
            <a:spLocks/>
          </p:cNvSpPr>
          <p:nvPr/>
        </p:nvSpPr>
        <p:spPr>
          <a:xfrm>
            <a:off x="1854090" y="1919274"/>
            <a:ext cx="2826385" cy="387798"/>
          </a:xfrm>
          <a:prstGeom prst="rect">
            <a:avLst/>
          </a:prstGeom>
        </p:spPr>
        <p:txBody>
          <a:bodyPr vert="horz" wrap="square" lIns="0" tIns="0" rIns="0" bIns="0" rtlCol="0" anchor="b">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fr-fr" sz="1400" i="0" u="none" strike="noStrike" kern="1200" cap="none" spc="0" normalizeH="0" baseline="0" noProof="0">
                <a:ln w="3175">
                  <a:noFill/>
                </a:ln>
                <a:solidFill>
                  <a:srgbClr val="FF5C39"/>
                </a:solidFill>
                <a:effectLst/>
                <a:uLnTx/>
                <a:uFillTx/>
                <a:latin typeface="Segoe UI Semibold"/>
                <a:ea typeface="+mn-ea"/>
                <a:cs typeface="Segoe UI" pitchFamily="34" charset="0"/>
              </a:rPr>
              <a:t>Agent d’assistance </a:t>
            </a:r>
            <a:br>
              <a:rPr kumimoji="0" lang="fr-fr" sz="1400" i="0" u="none" strike="noStrike" kern="1200" cap="none" spc="0" normalizeH="0" baseline="0" noProof="0">
                <a:ln w="3175">
                  <a:noFill/>
                </a:ln>
                <a:solidFill>
                  <a:srgbClr val="FF5C39"/>
                </a:solidFill>
                <a:effectLst/>
                <a:uLnTx/>
                <a:uFillTx/>
                <a:latin typeface="Segoe UI Semibold"/>
                <a:ea typeface="+mn-ea"/>
                <a:cs typeface="Segoe UI" pitchFamily="34" charset="0"/>
              </a:rPr>
            </a:br>
            <a:r>
              <a:rPr kumimoji="0" lang="fr-fr" sz="1400" i="0" u="none" strike="noStrike" kern="1200" cap="none" spc="0" normalizeH="0" baseline="0" noProof="0">
                <a:ln w="3175">
                  <a:noFill/>
                </a:ln>
                <a:solidFill>
                  <a:srgbClr val="FF5C39"/>
                </a:solidFill>
                <a:effectLst/>
                <a:uLnTx/>
                <a:uFillTx/>
                <a:latin typeface="Segoe UI Semibold"/>
                <a:ea typeface="+mn-ea"/>
                <a:cs typeface="Segoe UI" pitchFamily="34" charset="0"/>
              </a:rPr>
              <a:t>informatique</a:t>
            </a:r>
          </a:p>
        </p:txBody>
      </p:sp>
      <p:sp>
        <p:nvSpPr>
          <p:cNvPr id="22" name="TextBox 21">
            <a:extLst>
              <a:ext uri="{FF2B5EF4-FFF2-40B4-BE49-F238E27FC236}">
                <a16:creationId xmlns:a16="http://schemas.microsoft.com/office/drawing/2014/main" id="{4ED8894B-3434-6FA7-DC0E-EDC8B93C27A1}"/>
              </a:ext>
            </a:extLst>
          </p:cNvPr>
          <p:cNvSpPr txBox="1">
            <a:spLocks/>
          </p:cNvSpPr>
          <p:nvPr/>
        </p:nvSpPr>
        <p:spPr>
          <a:xfrm>
            <a:off x="4687796" y="1919274"/>
            <a:ext cx="2826385" cy="387798"/>
          </a:xfrm>
          <a:prstGeom prst="rect">
            <a:avLst/>
          </a:prstGeom>
        </p:spPr>
        <p:txBody>
          <a:bodyPr vert="horz" wrap="square" lIns="0" tIns="0" rIns="0" bIns="0" rtlCol="0" anchor="b">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fr-fr" sz="1400" b="0" i="0" u="none" strike="noStrike" kern="1200" cap="none" spc="0" normalizeH="0" baseline="0" noProof="0">
                <a:ln w="3175">
                  <a:noFill/>
                </a:ln>
                <a:solidFill>
                  <a:srgbClr val="C03BC4"/>
                </a:solidFill>
                <a:effectLst/>
                <a:uLnTx/>
                <a:uFillTx/>
                <a:latin typeface="Segoe UI Semibold"/>
                <a:ea typeface="+mn-ea"/>
                <a:cs typeface="Segoe UI" pitchFamily="34" charset="0"/>
              </a:rPr>
              <a:t>Agent d’actualisation </a:t>
            </a:r>
            <a:br>
              <a:rPr kumimoji="0" lang="fr-fr" sz="1400" b="0" i="0" u="none" strike="noStrike" kern="1200" cap="none" spc="0" normalizeH="0" baseline="0" noProof="0">
                <a:ln w="3175">
                  <a:noFill/>
                </a:ln>
                <a:solidFill>
                  <a:srgbClr val="C03BC4"/>
                </a:solidFill>
                <a:effectLst/>
                <a:uLnTx/>
                <a:uFillTx/>
                <a:latin typeface="Segoe UI Semibold"/>
                <a:ea typeface="+mn-ea"/>
                <a:cs typeface="Segoe UI" pitchFamily="34" charset="0"/>
              </a:rPr>
            </a:br>
            <a:r>
              <a:rPr kumimoji="0" lang="fr-fr" sz="1400" b="0" i="0" u="none" strike="noStrike" kern="1200" cap="none" spc="0" normalizeH="0" baseline="0" noProof="0">
                <a:ln w="3175">
                  <a:noFill/>
                </a:ln>
                <a:solidFill>
                  <a:srgbClr val="C03BC4"/>
                </a:solidFill>
                <a:effectLst/>
                <a:uLnTx/>
                <a:uFillTx/>
                <a:latin typeface="Segoe UI Semibold"/>
                <a:ea typeface="+mn-ea"/>
                <a:cs typeface="Segoe UI" pitchFamily="34" charset="0"/>
              </a:rPr>
              <a:t>des appareils</a:t>
            </a:r>
          </a:p>
        </p:txBody>
      </p:sp>
      <p:sp>
        <p:nvSpPr>
          <p:cNvPr id="23" name="TextBox 22">
            <a:extLst>
              <a:ext uri="{FF2B5EF4-FFF2-40B4-BE49-F238E27FC236}">
                <a16:creationId xmlns:a16="http://schemas.microsoft.com/office/drawing/2014/main" id="{7CADDE3E-F51F-6ABB-2C32-72E067478C53}"/>
              </a:ext>
            </a:extLst>
          </p:cNvPr>
          <p:cNvSpPr txBox="1">
            <a:spLocks/>
          </p:cNvSpPr>
          <p:nvPr/>
        </p:nvSpPr>
        <p:spPr>
          <a:xfrm>
            <a:off x="7499896" y="1932139"/>
            <a:ext cx="2826385" cy="387798"/>
          </a:xfrm>
          <a:prstGeom prst="rect">
            <a:avLst/>
          </a:prstGeom>
        </p:spPr>
        <p:txBody>
          <a:bodyPr vert="horz" wrap="square" lIns="0" tIns="0" rIns="0" bIns="0" rtlCol="0" anchor="b">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fr-fr" sz="1400" b="0" i="0" u="none" strike="noStrike" kern="1200" cap="none" spc="0" normalizeH="0" baseline="0" noProof="0">
                <a:ln w="3175">
                  <a:noFill/>
                </a:ln>
                <a:solidFill>
                  <a:srgbClr val="0078D4"/>
                </a:solidFill>
                <a:effectLst/>
                <a:uLnTx/>
                <a:uFillTx/>
                <a:latin typeface="Segoe UI Semibold"/>
                <a:ea typeface="+mn-ea"/>
                <a:cs typeface="Segoe UI" pitchFamily="34" charset="0"/>
              </a:rPr>
              <a:t>Agent de génération </a:t>
            </a:r>
            <a:br>
              <a:rPr kumimoji="0" lang="fr-fr" sz="1400" b="0" i="0" u="none" strike="noStrike" kern="1200" cap="none" spc="0" normalizeH="0" baseline="0" noProof="0">
                <a:ln w="3175">
                  <a:noFill/>
                </a:ln>
                <a:solidFill>
                  <a:srgbClr val="0078D4"/>
                </a:solidFill>
                <a:effectLst/>
                <a:uLnTx/>
                <a:uFillTx/>
                <a:latin typeface="Segoe UI Semibold"/>
                <a:ea typeface="+mn-ea"/>
                <a:cs typeface="Segoe UI" pitchFamily="34" charset="0"/>
              </a:rPr>
            </a:br>
            <a:r>
              <a:rPr kumimoji="0" lang="fr-fr" sz="1400" b="0" i="0" u="none" strike="noStrike" kern="1200" cap="none" spc="0" normalizeH="0" baseline="0" noProof="0">
                <a:ln w="3175">
                  <a:noFill/>
                </a:ln>
                <a:solidFill>
                  <a:srgbClr val="0078D4"/>
                </a:solidFill>
                <a:effectLst/>
                <a:uLnTx/>
                <a:uFillTx/>
                <a:latin typeface="Segoe UI Semibold"/>
                <a:ea typeface="+mn-ea"/>
                <a:cs typeface="Segoe UI" pitchFamily="34" charset="0"/>
              </a:rPr>
              <a:t>de prospects</a:t>
            </a:r>
          </a:p>
        </p:txBody>
      </p:sp>
      <p:sp>
        <p:nvSpPr>
          <p:cNvPr id="24" name="Rectangle: Rounded Corners 23">
            <a:extLst>
              <a:ext uri="{FF2B5EF4-FFF2-40B4-BE49-F238E27FC236}">
                <a16:creationId xmlns:a16="http://schemas.microsoft.com/office/drawing/2014/main" id="{B3ADDD9D-44CB-4B44-55DF-44560D150977}"/>
              </a:ext>
              <a:ext uri="{C183D7F6-B498-43B3-948B-1728B52AA6E4}">
                <adec:decorative xmlns:adec="http://schemas.microsoft.com/office/drawing/2017/decorative" val="1"/>
              </a:ext>
            </a:extLst>
          </p:cNvPr>
          <p:cNvSpPr>
            <a:spLocks/>
          </p:cNvSpPr>
          <p:nvPr/>
        </p:nvSpPr>
        <p:spPr bwMode="auto">
          <a:xfrm>
            <a:off x="4954961" y="2356370"/>
            <a:ext cx="2285064" cy="947099"/>
          </a:xfrm>
          <a:prstGeom prst="roundRect">
            <a:avLst>
              <a:gd name="adj" fmla="val 6945"/>
            </a:avLst>
          </a:prstGeom>
          <a:solidFill>
            <a:schemeClr val="bg1"/>
          </a:solidFill>
          <a:ln w="12700">
            <a:solidFill>
              <a:schemeClr val="bg1">
                <a:lumMod val="85000"/>
                <a:alpha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a:spcAft>
                <a:spcPts val="800"/>
              </a:spcAft>
              <a:defRPr/>
            </a:pPr>
            <a:r>
              <a:rPr lang="fr-fr" sz="900">
                <a:ln w="3175">
                  <a:noFill/>
                </a:ln>
                <a:solidFill>
                  <a:schemeClr val="tx1"/>
                </a:solidFill>
                <a:latin typeface="Segoe UI" panose="020B0502040204020203" pitchFamily="34" charset="0"/>
                <a:cs typeface="Segoe UI" panose="020B0502040204020203" pitchFamily="34" charset="0"/>
              </a:rPr>
              <a:t>Demander un nouvel ordinateur portable et transmettre des accords à l’aide </a:t>
            </a:r>
            <a:br>
              <a:rPr lang="fr-fr" sz="900">
                <a:ln w="3175">
                  <a:noFill/>
                </a:ln>
                <a:solidFill>
                  <a:schemeClr val="tx1"/>
                </a:solidFill>
                <a:latin typeface="Segoe UI" panose="020B0502040204020203" pitchFamily="34" charset="0"/>
                <a:cs typeface="Segoe UI" panose="020B0502040204020203" pitchFamily="34" charset="0"/>
              </a:rPr>
            </a:br>
            <a:r>
              <a:rPr lang="fr-fr" sz="900">
                <a:ln w="3175">
                  <a:noFill/>
                </a:ln>
                <a:solidFill>
                  <a:schemeClr val="tx1"/>
                </a:solidFill>
                <a:latin typeface="Segoe UI" panose="020B0502040204020203" pitchFamily="34" charset="0"/>
                <a:cs typeface="Segoe UI" panose="020B0502040204020203" pitchFamily="34" charset="0"/>
              </a:rPr>
              <a:t>de l’outil du service informatique.</a:t>
            </a:r>
          </a:p>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600" b="0" i="0" u="none" strike="noStrike" kern="1200" cap="none" spc="0" normalizeH="0" baseline="0" noProof="0">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pic>
        <p:nvPicPr>
          <p:cNvPr id="25" name="Graphic 24">
            <a:extLst>
              <a:ext uri="{FF2B5EF4-FFF2-40B4-BE49-F238E27FC236}">
                <a16:creationId xmlns:a16="http://schemas.microsoft.com/office/drawing/2014/main" id="{E810A731-870F-2DEE-A8C7-302D3BD22E9B}"/>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972736" y="3030424"/>
            <a:ext cx="141171" cy="141171"/>
          </a:xfrm>
          <a:prstGeom prst="rect">
            <a:avLst/>
          </a:prstGeom>
        </p:spPr>
      </p:pic>
      <p:grpSp>
        <p:nvGrpSpPr>
          <p:cNvPr id="26" name="Group 25">
            <a:extLst>
              <a:ext uri="{FF2B5EF4-FFF2-40B4-BE49-F238E27FC236}">
                <a16:creationId xmlns:a16="http://schemas.microsoft.com/office/drawing/2014/main" id="{56F9C1FF-A097-DD7B-824D-F01F247FDF6C}"/>
              </a:ext>
              <a:ext uri="{C183D7F6-B498-43B3-948B-1728B52AA6E4}">
                <adec:decorative xmlns:adec="http://schemas.microsoft.com/office/drawing/2017/decorative" val="1"/>
              </a:ext>
            </a:extLst>
          </p:cNvPr>
          <p:cNvGrpSpPr>
            <a:grpSpLocks/>
          </p:cNvGrpSpPr>
          <p:nvPr/>
        </p:nvGrpSpPr>
        <p:grpSpPr>
          <a:xfrm>
            <a:off x="5066721" y="3030424"/>
            <a:ext cx="426949" cy="141171"/>
            <a:chOff x="696092" y="2359438"/>
            <a:chExt cx="426949" cy="141171"/>
          </a:xfrm>
        </p:grpSpPr>
        <p:pic>
          <p:nvPicPr>
            <p:cNvPr id="27" name="Graphic 26">
              <a:extLst>
                <a:ext uri="{FF2B5EF4-FFF2-40B4-BE49-F238E27FC236}">
                  <a16:creationId xmlns:a16="http://schemas.microsoft.com/office/drawing/2014/main" id="{208B7A25-05CE-ED7D-37A9-8FE1F7914773}"/>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05398" y="2359438"/>
              <a:ext cx="117643" cy="141171"/>
            </a:xfrm>
            <a:prstGeom prst="rect">
              <a:avLst/>
            </a:prstGeom>
          </p:spPr>
        </p:pic>
        <p:pic>
          <p:nvPicPr>
            <p:cNvPr id="28" name="Graphic 27">
              <a:extLst>
                <a:ext uri="{FF2B5EF4-FFF2-40B4-BE49-F238E27FC236}">
                  <a16:creationId xmlns:a16="http://schemas.microsoft.com/office/drawing/2014/main" id="{7A090802-C05F-412F-96E6-5FF1694C4DCB}"/>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96092" y="2368751"/>
              <a:ext cx="117643" cy="117643"/>
            </a:xfrm>
            <a:prstGeom prst="rect">
              <a:avLst/>
            </a:prstGeom>
          </p:spPr>
        </p:pic>
      </p:grpSp>
      <p:cxnSp>
        <p:nvCxnSpPr>
          <p:cNvPr id="60" name="Straight Connector 59">
            <a:extLst>
              <a:ext uri="{FF2B5EF4-FFF2-40B4-BE49-F238E27FC236}">
                <a16:creationId xmlns:a16="http://schemas.microsoft.com/office/drawing/2014/main" id="{466439A2-DCE3-3883-7BA6-593F8A909CA2}"/>
              </a:ext>
              <a:ext uri="{C183D7F6-B498-43B3-948B-1728B52AA6E4}">
                <adec:decorative xmlns:adec="http://schemas.microsoft.com/office/drawing/2017/decorative" val="1"/>
              </a:ext>
            </a:extLst>
          </p:cNvPr>
          <p:cNvCxnSpPr>
            <a:cxnSpLocks/>
            <a:stCxn id="24" idx="2"/>
          </p:cNvCxnSpPr>
          <p:nvPr/>
        </p:nvCxnSpPr>
        <p:spPr>
          <a:xfrm flipH="1">
            <a:off x="6096000" y="3303469"/>
            <a:ext cx="1493" cy="501042"/>
          </a:xfrm>
          <a:prstGeom prst="line">
            <a:avLst/>
          </a:prstGeom>
          <a:ln w="6350">
            <a:solidFill>
              <a:srgbClr val="C03BC4"/>
            </a:solidFill>
            <a:prstDash val="lgDash"/>
            <a:headEnd type="oval" w="sm" len="sm"/>
            <a:tailEnd type="none" w="lg" len="med"/>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55A5B320-4B96-0FB6-563C-3C1D5450AF89}"/>
              </a:ext>
              <a:ext uri="{C183D7F6-B498-43B3-948B-1728B52AA6E4}">
                <adec:decorative xmlns:adec="http://schemas.microsoft.com/office/drawing/2017/decorative" val="1"/>
              </a:ext>
            </a:extLst>
          </p:cNvPr>
          <p:cNvSpPr>
            <a:spLocks/>
          </p:cNvSpPr>
          <p:nvPr/>
        </p:nvSpPr>
        <p:spPr bwMode="auto">
          <a:xfrm>
            <a:off x="7777591" y="2357587"/>
            <a:ext cx="2285064" cy="945883"/>
          </a:xfrm>
          <a:prstGeom prst="roundRect">
            <a:avLst>
              <a:gd name="adj" fmla="val 6945"/>
            </a:avLst>
          </a:prstGeom>
          <a:solidFill>
            <a:schemeClr val="bg1"/>
          </a:solidFill>
          <a:ln w="12700">
            <a:solidFill>
              <a:schemeClr val="bg1">
                <a:lumMod val="85000"/>
                <a:alpha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fr-fr" sz="900" b="0" i="0" u="none" strike="noStrike" kern="1200" cap="none" spc="0" normalizeH="0" baseline="0" noProof="0">
                <a:ln w="3175">
                  <a:noFill/>
                </a:ln>
                <a:solidFill>
                  <a:schemeClr val="tx1"/>
                </a:solidFill>
                <a:effectLst/>
                <a:uLnTx/>
                <a:uFillTx/>
                <a:latin typeface="Segoe UI" panose="020B0502040204020203" pitchFamily="34" charset="0"/>
                <a:cs typeface="Segoe UI" panose="020B0502040204020203" pitchFamily="34" charset="0"/>
              </a:rPr>
              <a:t>L’agent a identifié et trouvé 15 nouveaux prospects que vous pouvez examiner.</a:t>
            </a:r>
          </a:p>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600" b="0" i="0" u="none" strike="noStrike" kern="1200" cap="none" spc="0" normalizeH="0" baseline="0" noProof="0">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pic>
        <p:nvPicPr>
          <p:cNvPr id="62" name="Graphic 61">
            <a:extLst>
              <a:ext uri="{FF2B5EF4-FFF2-40B4-BE49-F238E27FC236}">
                <a16:creationId xmlns:a16="http://schemas.microsoft.com/office/drawing/2014/main" id="{3E962AAD-A2E9-7223-C2E4-CFA291062D8C}"/>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9795366" y="3030424"/>
            <a:ext cx="141171" cy="141171"/>
          </a:xfrm>
          <a:prstGeom prst="rect">
            <a:avLst/>
          </a:prstGeom>
        </p:spPr>
      </p:pic>
      <p:grpSp>
        <p:nvGrpSpPr>
          <p:cNvPr id="63" name="Group 62">
            <a:extLst>
              <a:ext uri="{FF2B5EF4-FFF2-40B4-BE49-F238E27FC236}">
                <a16:creationId xmlns:a16="http://schemas.microsoft.com/office/drawing/2014/main" id="{EC7B3490-627C-B05F-0621-537DE0FE804B}"/>
              </a:ext>
              <a:ext uri="{C183D7F6-B498-43B3-948B-1728B52AA6E4}">
                <adec:decorative xmlns:adec="http://schemas.microsoft.com/office/drawing/2017/decorative" val="1"/>
              </a:ext>
            </a:extLst>
          </p:cNvPr>
          <p:cNvGrpSpPr>
            <a:grpSpLocks/>
          </p:cNvGrpSpPr>
          <p:nvPr/>
        </p:nvGrpSpPr>
        <p:grpSpPr>
          <a:xfrm>
            <a:off x="7889351" y="3030424"/>
            <a:ext cx="426949" cy="141171"/>
            <a:chOff x="696092" y="2359438"/>
            <a:chExt cx="426949" cy="141171"/>
          </a:xfrm>
        </p:grpSpPr>
        <p:pic>
          <p:nvPicPr>
            <p:cNvPr id="64" name="Graphic 63">
              <a:extLst>
                <a:ext uri="{FF2B5EF4-FFF2-40B4-BE49-F238E27FC236}">
                  <a16:creationId xmlns:a16="http://schemas.microsoft.com/office/drawing/2014/main" id="{FF157497-6EC7-EBD0-9A43-183E01507820}"/>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005398" y="2359438"/>
              <a:ext cx="117643" cy="141171"/>
            </a:xfrm>
            <a:prstGeom prst="rect">
              <a:avLst/>
            </a:prstGeom>
          </p:spPr>
        </p:pic>
        <p:pic>
          <p:nvPicPr>
            <p:cNvPr id="65" name="Graphic 64">
              <a:extLst>
                <a:ext uri="{FF2B5EF4-FFF2-40B4-BE49-F238E27FC236}">
                  <a16:creationId xmlns:a16="http://schemas.microsoft.com/office/drawing/2014/main" id="{734BAF34-2A09-9B55-A2A0-1792C80ABD0C}"/>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696092" y="2368751"/>
              <a:ext cx="117643" cy="117643"/>
            </a:xfrm>
            <a:prstGeom prst="rect">
              <a:avLst/>
            </a:prstGeom>
          </p:spPr>
        </p:pic>
      </p:grpSp>
      <p:sp>
        <p:nvSpPr>
          <p:cNvPr id="66" name="TextBox 65">
            <a:extLst>
              <a:ext uri="{FF2B5EF4-FFF2-40B4-BE49-F238E27FC236}">
                <a16:creationId xmlns:a16="http://schemas.microsoft.com/office/drawing/2014/main" id="{771B6651-4C2D-7669-01E0-669E6C27747E}"/>
              </a:ext>
              <a:ext uri="{C183D7F6-B498-43B3-948B-1728B52AA6E4}">
                <adec:decorative xmlns:adec="http://schemas.microsoft.com/office/drawing/2017/decorative" val="1"/>
              </a:ext>
            </a:extLst>
          </p:cNvPr>
          <p:cNvSpPr txBox="1">
            <a:spLocks/>
          </p:cNvSpPr>
          <p:nvPr/>
        </p:nvSpPr>
        <p:spPr>
          <a:xfrm>
            <a:off x="2121377" y="4611199"/>
            <a:ext cx="2285064" cy="1420910"/>
          </a:xfrm>
          <a:prstGeom prst="roundRect">
            <a:avLst>
              <a:gd name="adj" fmla="val 4700"/>
            </a:avLst>
          </a:prstGeom>
          <a:solidFill>
            <a:schemeClr val="bg1"/>
          </a:solid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000000"/>
                </a:solidFill>
                <a:effectLst/>
                <a:uLnTx/>
                <a:uFillTx/>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p:txBody>
      </p:sp>
      <p:sp>
        <p:nvSpPr>
          <p:cNvPr id="67" name="TextBox 66">
            <a:extLst>
              <a:ext uri="{FF2B5EF4-FFF2-40B4-BE49-F238E27FC236}">
                <a16:creationId xmlns:a16="http://schemas.microsoft.com/office/drawing/2014/main" id="{A8BEC864-CC87-2F5E-1492-6DFE86EA6070}"/>
              </a:ext>
              <a:ext uri="{C183D7F6-B498-43B3-948B-1728B52AA6E4}">
                <adec:decorative xmlns:adec="http://schemas.microsoft.com/office/drawing/2017/decorative" val="1"/>
              </a:ext>
            </a:extLst>
          </p:cNvPr>
          <p:cNvSpPr txBox="1">
            <a:spLocks/>
          </p:cNvSpPr>
          <p:nvPr/>
        </p:nvSpPr>
        <p:spPr>
          <a:xfrm>
            <a:off x="4954961" y="4589325"/>
            <a:ext cx="2285064" cy="1442784"/>
          </a:xfrm>
          <a:prstGeom prst="roundRect">
            <a:avLst>
              <a:gd name="adj" fmla="val 4700"/>
            </a:avLst>
          </a:prstGeom>
          <a:solidFill>
            <a:schemeClr val="bg1"/>
          </a:solid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000000"/>
                </a:solidFill>
                <a:effectLst/>
                <a:uLnTx/>
                <a:uFillTx/>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p:txBody>
      </p:sp>
      <p:sp>
        <p:nvSpPr>
          <p:cNvPr id="68" name="TextBox 67">
            <a:extLst>
              <a:ext uri="{FF2B5EF4-FFF2-40B4-BE49-F238E27FC236}">
                <a16:creationId xmlns:a16="http://schemas.microsoft.com/office/drawing/2014/main" id="{C797AA4D-5DEC-5E35-CF71-1AAC07D1D858}"/>
              </a:ext>
              <a:ext uri="{C183D7F6-B498-43B3-948B-1728B52AA6E4}">
                <adec:decorative xmlns:adec="http://schemas.microsoft.com/office/drawing/2017/decorative" val="1"/>
              </a:ext>
            </a:extLst>
          </p:cNvPr>
          <p:cNvSpPr txBox="1">
            <a:spLocks/>
          </p:cNvSpPr>
          <p:nvPr/>
        </p:nvSpPr>
        <p:spPr>
          <a:xfrm>
            <a:off x="7770557" y="4611200"/>
            <a:ext cx="2285064" cy="1420909"/>
          </a:xfrm>
          <a:prstGeom prst="roundRect">
            <a:avLst>
              <a:gd name="adj" fmla="val 4700"/>
            </a:avLst>
          </a:prstGeom>
          <a:solidFill>
            <a:schemeClr val="bg1"/>
          </a:solid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000000"/>
                </a:solidFill>
                <a:effectLst/>
                <a:uLnTx/>
                <a:uFillTx/>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p:txBody>
      </p:sp>
      <p:sp>
        <p:nvSpPr>
          <p:cNvPr id="69" name="Rectangle: Top Corners Rounded 68">
            <a:extLst>
              <a:ext uri="{FF2B5EF4-FFF2-40B4-BE49-F238E27FC236}">
                <a16:creationId xmlns:a16="http://schemas.microsoft.com/office/drawing/2014/main" id="{46CD596A-A248-0E1E-1673-39DD08CB7D76}"/>
              </a:ext>
              <a:ext uri="{C183D7F6-B498-43B3-948B-1728B52AA6E4}">
                <adec:decorative xmlns:adec="http://schemas.microsoft.com/office/drawing/2017/decorative" val="1"/>
              </a:ext>
            </a:extLst>
          </p:cNvPr>
          <p:cNvSpPr/>
          <p:nvPr/>
        </p:nvSpPr>
        <p:spPr bwMode="auto">
          <a:xfrm>
            <a:off x="2911654" y="4543393"/>
            <a:ext cx="738426" cy="67806"/>
          </a:xfrm>
          <a:prstGeom prst="round2SameRect">
            <a:avLst>
              <a:gd name="adj1" fmla="val 50000"/>
              <a:gd name="adj2" fmla="val 0"/>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0" name="Rectangle: Top Corners Rounded 69">
            <a:extLst>
              <a:ext uri="{FF2B5EF4-FFF2-40B4-BE49-F238E27FC236}">
                <a16:creationId xmlns:a16="http://schemas.microsoft.com/office/drawing/2014/main" id="{B2CED758-7FE0-8219-FF87-167CAC8E2612}"/>
              </a:ext>
              <a:ext uri="{C183D7F6-B498-43B3-948B-1728B52AA6E4}">
                <adec:decorative xmlns:adec="http://schemas.microsoft.com/office/drawing/2017/decorative" val="1"/>
              </a:ext>
            </a:extLst>
          </p:cNvPr>
          <p:cNvSpPr/>
          <p:nvPr/>
        </p:nvSpPr>
        <p:spPr bwMode="auto">
          <a:xfrm>
            <a:off x="5706050" y="4536798"/>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1" name="Rectangle: Top Corners Rounded 70">
            <a:extLst>
              <a:ext uri="{FF2B5EF4-FFF2-40B4-BE49-F238E27FC236}">
                <a16:creationId xmlns:a16="http://schemas.microsoft.com/office/drawing/2014/main" id="{DC61AEEC-6DAC-7DA9-BBDF-C42EA1E611F1}"/>
              </a:ext>
              <a:ext uri="{C183D7F6-B498-43B3-948B-1728B52AA6E4}">
                <adec:decorative xmlns:adec="http://schemas.microsoft.com/office/drawing/2017/decorative" val="1"/>
              </a:ext>
            </a:extLst>
          </p:cNvPr>
          <p:cNvSpPr>
            <a:spLocks/>
          </p:cNvSpPr>
          <p:nvPr/>
        </p:nvSpPr>
        <p:spPr bwMode="auto">
          <a:xfrm>
            <a:off x="8544906" y="4551553"/>
            <a:ext cx="738426" cy="67806"/>
          </a:xfrm>
          <a:prstGeom prst="round2SameRect">
            <a:avLst>
              <a:gd name="adj1" fmla="val 50000"/>
              <a:gd name="adj2" fmla="val 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2" name="TextBox 71">
            <a:extLst>
              <a:ext uri="{FF2B5EF4-FFF2-40B4-BE49-F238E27FC236}">
                <a16:creationId xmlns:a16="http://schemas.microsoft.com/office/drawing/2014/main" id="{BF7829F4-1C93-AF72-045B-854E93169C3A}"/>
              </a:ext>
            </a:extLst>
          </p:cNvPr>
          <p:cNvSpPr txBox="1">
            <a:spLocks/>
          </p:cNvSpPr>
          <p:nvPr/>
        </p:nvSpPr>
        <p:spPr>
          <a:xfrm>
            <a:off x="2233137" y="4679006"/>
            <a:ext cx="2089474" cy="992579"/>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fr" sz="1800" b="0" i="0" u="none" strike="noStrike" kern="1200" cap="none" spc="0" normalizeH="0" baseline="0" noProof="0">
                <a:ln>
                  <a:noFill/>
                </a:ln>
                <a:solidFill>
                  <a:srgbClr val="F4364C"/>
                </a:solidFill>
                <a:effectLst/>
                <a:uLnTx/>
                <a:uFillTx/>
                <a:latin typeface="Segoe UI Semibold"/>
                <a:ea typeface="+mn-ea"/>
                <a:cs typeface="Segoe Sans Display Semibold" pitchFamily="2" charset="0"/>
              </a:rPr>
              <a:t>Récupération</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fr" sz="1100" b="0" i="0" u="none" strike="noStrike" kern="1200" cap="none" spc="0" normalizeH="0" baseline="0" noProof="0">
                <a:ln>
                  <a:noFill/>
                </a:ln>
                <a:solidFill>
                  <a:srgbClr val="000000"/>
                </a:solidFill>
                <a:effectLst/>
                <a:uLnTx/>
                <a:uFillTx/>
                <a:latin typeface="Segoe UI Semibold"/>
                <a:ea typeface="+mn-ea"/>
                <a:cs typeface="Segoe Sans Display Semibold" pitchFamily="2" charset="0"/>
              </a:rPr>
              <a:t>Récupérer des informations</a:t>
            </a:r>
            <a:r>
              <a:rPr kumimoji="0" lang="fr-fr" sz="1100" b="0" i="0" u="none" strike="noStrike" kern="1200" cap="none" spc="0" normalizeH="0" baseline="0" noProof="0">
                <a:ln>
                  <a:noFill/>
                </a:ln>
                <a:solidFill>
                  <a:srgbClr val="000000"/>
                </a:solidFill>
                <a:effectLst/>
                <a:uLnTx/>
                <a:uFillTx/>
                <a:latin typeface="Segoe UI"/>
                <a:ea typeface="+mn-ea"/>
                <a:cs typeface="Segoe Sans Display Semibold" pitchFamily="2" charset="0"/>
              </a:rPr>
              <a:t> </a:t>
            </a:r>
            <a:r>
              <a:rPr kumimoji="0" lang="fr-fr" sz="1100" b="0" i="0" u="none" strike="noStrike" kern="1200" cap="none" spc="0" normalizeH="0" baseline="0" noProof="0">
                <a:ln>
                  <a:noFill/>
                </a:ln>
                <a:solidFill>
                  <a:srgbClr val="000000"/>
                </a:solidFill>
                <a:effectLst/>
                <a:uLnTx/>
                <a:uFillTx/>
                <a:latin typeface="Segoe UI"/>
                <a:ea typeface="+mn-ea"/>
                <a:cs typeface="Segoe Sans Display" pitchFamily="2" charset="0"/>
              </a:rPr>
              <a:t>à partir de données de référence, raisonner, synthétiser et répondre aux questions des utilisateurs</a:t>
            </a:r>
          </a:p>
        </p:txBody>
      </p:sp>
      <p:sp>
        <p:nvSpPr>
          <p:cNvPr id="73" name="TextBox 72">
            <a:extLst>
              <a:ext uri="{FF2B5EF4-FFF2-40B4-BE49-F238E27FC236}">
                <a16:creationId xmlns:a16="http://schemas.microsoft.com/office/drawing/2014/main" id="{E3CC0827-F0A8-A0F4-AD27-EA84561C946B}"/>
              </a:ext>
            </a:extLst>
          </p:cNvPr>
          <p:cNvSpPr txBox="1">
            <a:spLocks/>
          </p:cNvSpPr>
          <p:nvPr/>
        </p:nvSpPr>
        <p:spPr>
          <a:xfrm>
            <a:off x="5050005" y="4679006"/>
            <a:ext cx="2124518" cy="1161857"/>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fr" sz="1800" b="0" i="0" u="none" strike="noStrike" kern="1200" cap="none" spc="0" normalizeH="0" baseline="0" noProof="0">
                <a:ln>
                  <a:noFill/>
                </a:ln>
                <a:solidFill>
                  <a:srgbClr val="C03BC4"/>
                </a:solidFill>
                <a:effectLst/>
                <a:uLnTx/>
                <a:uFillTx/>
                <a:latin typeface="Segoe UI Semibold"/>
                <a:ea typeface="+mn-ea"/>
                <a:cs typeface="Segoe Sans Display Semibold" pitchFamily="2" charset="0"/>
              </a:rPr>
              <a:t>Tâche</a:t>
            </a:r>
          </a:p>
          <a:p>
            <a:pPr marL="0" marR="0" lvl="0" indent="0" algn="ctr" defTabSz="914400" rtl="0" eaLnBrk="1" fontAlgn="auto" latinLnBrk="0" hangingPunct="1">
              <a:lnSpc>
                <a:spcPct val="100000"/>
              </a:lnSpc>
              <a:spcBef>
                <a:spcPts val="0"/>
              </a:spcBef>
              <a:spcAft>
                <a:spcPts val="300"/>
              </a:spcAft>
              <a:buClrTx/>
              <a:buSzTx/>
              <a:buFontTx/>
              <a:buNone/>
              <a:tabLst/>
              <a:defRPr/>
            </a:pPr>
            <a:r>
              <a:rPr lang="fr-fr" sz="1100" b="1">
                <a:solidFill>
                  <a:srgbClr val="000000"/>
                </a:solidFill>
                <a:latin typeface="Segoe UI"/>
                <a:cs typeface="Segoe Sans Display" pitchFamily="2" charset="0"/>
              </a:rPr>
              <a:t>Prendre des mesures </a:t>
            </a:r>
            <a:r>
              <a:rPr lang="fr-fr" sz="1100">
                <a:solidFill>
                  <a:srgbClr val="000000"/>
                </a:solidFill>
                <a:latin typeface="Segoe UI"/>
                <a:cs typeface="Segoe Sans Display" pitchFamily="2" charset="0"/>
              </a:rPr>
              <a:t>lorsque cela est demandé, automatiser les flux de travail et remplacer les tâches répétitives pour les utilisateurs</a:t>
            </a:r>
          </a:p>
        </p:txBody>
      </p:sp>
      <p:sp>
        <p:nvSpPr>
          <p:cNvPr id="74" name="TextBox 73">
            <a:extLst>
              <a:ext uri="{FF2B5EF4-FFF2-40B4-BE49-F238E27FC236}">
                <a16:creationId xmlns:a16="http://schemas.microsoft.com/office/drawing/2014/main" id="{F17F196E-CDE3-3734-10AA-1484CDD2D409}"/>
              </a:ext>
            </a:extLst>
          </p:cNvPr>
          <p:cNvSpPr txBox="1">
            <a:spLocks/>
          </p:cNvSpPr>
          <p:nvPr/>
        </p:nvSpPr>
        <p:spPr>
          <a:xfrm>
            <a:off x="7882318" y="4679006"/>
            <a:ext cx="2047186" cy="1331134"/>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fr" sz="1800" b="0" i="0" u="none" strike="noStrike" kern="1200" cap="none" spc="0" normalizeH="0" baseline="0" noProof="0">
                <a:ln>
                  <a:noFill/>
                </a:ln>
                <a:solidFill>
                  <a:srgbClr val="0078D4"/>
                </a:solidFill>
                <a:effectLst/>
                <a:uLnTx/>
                <a:uFillTx/>
                <a:latin typeface="Segoe UI Semibold"/>
                <a:ea typeface="+mn-ea"/>
                <a:cs typeface="Segoe Sans Display Semibold" pitchFamily="2" charset="0"/>
              </a:rPr>
              <a:t>Autonome</a:t>
            </a:r>
          </a:p>
          <a:p>
            <a:pPr lvl="0" algn="ctr" defTabSz="914400">
              <a:spcAft>
                <a:spcPts val="300"/>
              </a:spcAft>
              <a:defRPr/>
            </a:pPr>
            <a:r>
              <a:rPr lang="fr-FR" sz="1100">
                <a:solidFill>
                  <a:srgbClr val="000000"/>
                </a:solidFill>
                <a:latin typeface="Segoe UI Semibold"/>
                <a:cs typeface="Segoe Sans Display Semibold" pitchFamily="2" charset="0"/>
              </a:rPr>
              <a:t>Fonctionner de manière indépendante, </a:t>
            </a:r>
            <a:r>
              <a:rPr lang="fr-FR" sz="1100">
                <a:solidFill>
                  <a:srgbClr val="000000"/>
                </a:solidFill>
                <a:latin typeface="Segoe UI" panose="020B0502040204020203" pitchFamily="34" charset="0"/>
                <a:cs typeface="Segoe UI" panose="020B0502040204020203" pitchFamily="34" charset="0"/>
              </a:rPr>
              <a:t>opérer une planification dynamique, orchestrer d’autres agents, apprendre et faire remonter </a:t>
            </a:r>
            <a:br>
              <a:rPr lang="fr-FR" sz="1100">
                <a:solidFill>
                  <a:srgbClr val="000000"/>
                </a:solidFill>
                <a:latin typeface="Segoe UI" panose="020B0502040204020203" pitchFamily="34" charset="0"/>
                <a:cs typeface="Segoe UI" panose="020B0502040204020203" pitchFamily="34" charset="0"/>
              </a:rPr>
            </a:br>
            <a:r>
              <a:rPr lang="fr-FR" sz="1100">
                <a:solidFill>
                  <a:srgbClr val="000000"/>
                </a:solidFill>
                <a:latin typeface="Segoe UI" panose="020B0502040204020203" pitchFamily="34" charset="0"/>
                <a:cs typeface="Segoe UI" panose="020B0502040204020203" pitchFamily="34" charset="0"/>
              </a:rPr>
              <a:t>les problèmes</a:t>
            </a:r>
            <a:endParaRPr kumimoji="0" lang="fr-fr" sz="110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endParaRPr>
          </a:p>
        </p:txBody>
      </p:sp>
      <p:cxnSp>
        <p:nvCxnSpPr>
          <p:cNvPr id="75" name="Straight Connector 74">
            <a:extLst>
              <a:ext uri="{FF2B5EF4-FFF2-40B4-BE49-F238E27FC236}">
                <a16:creationId xmlns:a16="http://schemas.microsoft.com/office/drawing/2014/main" id="{CD52372A-ABE5-332E-F742-F1F0A3D07877}"/>
              </a:ext>
              <a:ext uri="{C183D7F6-B498-43B3-948B-1728B52AA6E4}">
                <adec:decorative xmlns:adec="http://schemas.microsoft.com/office/drawing/2017/decorative" val="1"/>
              </a:ext>
            </a:extLst>
          </p:cNvPr>
          <p:cNvCxnSpPr>
            <a:cxnSpLocks/>
            <a:stCxn id="61" idx="2"/>
            <a:endCxn id="13" idx="0"/>
          </p:cNvCxnSpPr>
          <p:nvPr/>
        </p:nvCxnSpPr>
        <p:spPr>
          <a:xfrm>
            <a:off x="8920123" y="3303470"/>
            <a:ext cx="3918" cy="183541"/>
          </a:xfrm>
          <a:prstGeom prst="line">
            <a:avLst/>
          </a:prstGeom>
          <a:ln w="6350">
            <a:solidFill>
              <a:srgbClr val="0078D4"/>
            </a:solidFill>
            <a:prstDash val="lgDash"/>
            <a:headEnd type="oval" w="sm" len="sm"/>
            <a:tailEnd type="none" w="lg" len="med"/>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09EC068F-F33C-8F35-5C26-5C68B739319E}"/>
              </a:ext>
            </a:extLst>
          </p:cNvPr>
          <p:cNvSpPr txBox="1"/>
          <p:nvPr/>
        </p:nvSpPr>
        <p:spPr>
          <a:xfrm>
            <a:off x="0" y="1224309"/>
            <a:ext cx="12192000" cy="707886"/>
          </a:xfrm>
          <a:prstGeom prst="rect">
            <a:avLst/>
          </a:prstGeom>
          <a:noFill/>
        </p:spPr>
        <p:txBody>
          <a:bodyPr wrap="square">
            <a:spAutoFit/>
          </a:bodyPr>
          <a:lstStyle/>
          <a:p>
            <a:pPr marR="0" lvl="0" indent="0" algn="ctr" defTabSz="2899785" fontAlgn="base">
              <a:spcBef>
                <a:spcPts val="1205"/>
              </a:spcBef>
              <a:spcAft>
                <a:spcPct val="0"/>
              </a:spcAft>
              <a:buClrTx/>
              <a:buSzPct val="90000"/>
              <a:tabLst/>
              <a:defRPr/>
            </a:pPr>
            <a:r>
              <a:rPr lang="fr-fr" sz="2000" b="1" spc="-50">
                <a:ln w="3175">
                  <a:noFill/>
                </a:ln>
                <a:solidFill>
                  <a:schemeClr val="bg1"/>
                </a:solidFill>
                <a:latin typeface="Segoe UI Semilight" panose="020B0402040204020203" pitchFamily="34" charset="0"/>
                <a:cs typeface="Segoe UI Semilight" panose="020B0402040204020203" pitchFamily="34" charset="0"/>
              </a:rPr>
              <a:t>Les agents utilisent l’IA pour automatiser et exécuter des processus métier, en travaillant </a:t>
            </a:r>
            <a:br>
              <a:rPr lang="fr-fr" sz="2000" b="1" spc="-50">
                <a:ln w="3175">
                  <a:noFill/>
                </a:ln>
                <a:solidFill>
                  <a:schemeClr val="bg1"/>
                </a:solidFill>
                <a:latin typeface="Segoe UI Semilight" panose="020B0402040204020203" pitchFamily="34" charset="0"/>
                <a:cs typeface="Segoe UI Semilight" panose="020B0402040204020203" pitchFamily="34" charset="0"/>
              </a:rPr>
            </a:br>
            <a:r>
              <a:rPr lang="fr-fr" sz="2000" b="1" spc="-50">
                <a:ln w="3175">
                  <a:noFill/>
                </a:ln>
                <a:solidFill>
                  <a:schemeClr val="bg1"/>
                </a:solidFill>
                <a:latin typeface="Segoe UI Semilight" panose="020B0402040204020203" pitchFamily="34" charset="0"/>
                <a:cs typeface="Segoe UI Semilight" panose="020B0402040204020203" pitchFamily="34" charset="0"/>
              </a:rPr>
              <a:t>aux côtés ou pour le compte d’une personne, d’une équipe ou d’une organisation</a:t>
            </a:r>
          </a:p>
        </p:txBody>
      </p:sp>
      <p:grpSp>
        <p:nvGrpSpPr>
          <p:cNvPr id="81" name="Group 80" descr="La complexité des agents varie">
            <a:extLst>
              <a:ext uri="{FF2B5EF4-FFF2-40B4-BE49-F238E27FC236}">
                <a16:creationId xmlns:a16="http://schemas.microsoft.com/office/drawing/2014/main" id="{F58B8AF1-8293-FCB5-49C4-AD6F91F1A692}"/>
              </a:ext>
            </a:extLst>
          </p:cNvPr>
          <p:cNvGrpSpPr/>
          <p:nvPr/>
        </p:nvGrpSpPr>
        <p:grpSpPr>
          <a:xfrm>
            <a:off x="587376" y="6299668"/>
            <a:ext cx="11012422" cy="276999"/>
            <a:chOff x="587376" y="5600016"/>
            <a:chExt cx="11012422" cy="276999"/>
          </a:xfrm>
        </p:grpSpPr>
        <p:sp>
          <p:nvSpPr>
            <p:cNvPr id="82" name="Rounded Rectangle 62">
              <a:extLst>
                <a:ext uri="{FF2B5EF4-FFF2-40B4-BE49-F238E27FC236}">
                  <a16:creationId xmlns:a16="http://schemas.microsoft.com/office/drawing/2014/main" id="{74D64335-6200-9B1C-25FC-4A7DFC74342A}"/>
                </a:ext>
                <a:ext uri="{C183D7F6-B498-43B3-948B-1728B52AA6E4}">
                  <adec:decorative xmlns:adec="http://schemas.microsoft.com/office/drawing/2017/decorative" val="1"/>
                </a:ext>
              </a:extLst>
            </p:cNvPr>
            <p:cNvSpPr/>
            <p:nvPr/>
          </p:nvSpPr>
          <p:spPr bwMode="auto">
            <a:xfrm>
              <a:off x="2888391" y="5600016"/>
              <a:ext cx="6415218" cy="276999"/>
            </a:xfrm>
            <a:prstGeom prst="rect">
              <a:avLst/>
            </a:prstGeom>
            <a:noFill/>
            <a:ln w="9525">
              <a:noFill/>
              <a:headEnd type="none" w="med" len="med"/>
              <a:tailEnd type="none" w="med" len="med"/>
            </a:ln>
            <a:effectLst>
              <a:softEdge rad="165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821996" rtl="0" eaLnBrk="1" fontAlgn="base" latinLnBrk="0" hangingPunct="1">
                <a:lnSpc>
                  <a:spcPct val="100000"/>
                </a:lnSpc>
                <a:spcBef>
                  <a:spcPct val="0"/>
                </a:spcBef>
                <a:spcAft>
                  <a:spcPct val="0"/>
                </a:spcAft>
                <a:buClrTx/>
                <a:buSzTx/>
                <a:buFontTx/>
                <a:buNone/>
                <a:tabLst>
                  <a:tab pos="920076" algn="l"/>
                </a:tabLst>
                <a:defRPr/>
              </a:pPr>
              <a:r>
                <a:rPr kumimoji="0" lang="fr-fr" sz="1800" b="1" i="0" u="none" strike="noStrike" kern="0" cap="none" spc="0" normalizeH="0" baseline="0" noProof="0">
                  <a:ln>
                    <a:noFill/>
                  </a:ln>
                  <a:solidFill>
                    <a:schemeClr val="bg1"/>
                  </a:solidFill>
                  <a:effectLst/>
                  <a:uLnTx/>
                  <a:uFillTx/>
                  <a:latin typeface="Segoe UI Light" panose="020B0502040204020203" pitchFamily="34" charset="0"/>
                  <a:cs typeface="Segoe UI Light" panose="020B0502040204020203" pitchFamily="34" charset="0"/>
                </a:rPr>
                <a:t>Les agents varient en complexité et en capacités selon vos besoins</a:t>
              </a:r>
            </a:p>
          </p:txBody>
        </p:sp>
        <p:grpSp>
          <p:nvGrpSpPr>
            <p:cNvPr id="83" name="Group 82">
              <a:extLst>
                <a:ext uri="{FF2B5EF4-FFF2-40B4-BE49-F238E27FC236}">
                  <a16:creationId xmlns:a16="http://schemas.microsoft.com/office/drawing/2014/main" id="{70D86BFD-8CDB-91EC-DA9D-01F1973D04AF}"/>
                </a:ext>
                <a:ext uri="{C183D7F6-B498-43B3-948B-1728B52AA6E4}">
                  <adec:decorative xmlns:adec="http://schemas.microsoft.com/office/drawing/2017/decorative" val="1"/>
                </a:ext>
              </a:extLst>
            </p:cNvPr>
            <p:cNvGrpSpPr/>
            <p:nvPr/>
          </p:nvGrpSpPr>
          <p:grpSpPr>
            <a:xfrm rot="16200000" flipH="1">
              <a:off x="1552050" y="4708500"/>
              <a:ext cx="130681" cy="2060030"/>
              <a:chOff x="25259549" y="2977192"/>
              <a:chExt cx="697327" cy="13435118"/>
            </a:xfrm>
          </p:grpSpPr>
          <p:cxnSp>
            <p:nvCxnSpPr>
              <p:cNvPr id="88" name="Straight Arrow Connector 87">
                <a:extLst>
                  <a:ext uri="{FF2B5EF4-FFF2-40B4-BE49-F238E27FC236}">
                    <a16:creationId xmlns:a16="http://schemas.microsoft.com/office/drawing/2014/main" id="{5F17EDC2-29F8-C7AE-2409-8B3780D32CBB}"/>
                  </a:ext>
                  <a:ext uri="{C183D7F6-B498-43B3-948B-1728B52AA6E4}">
                    <adec:decorative xmlns:adec="http://schemas.microsoft.com/office/drawing/2017/decorative" val="1"/>
                  </a:ext>
                </a:extLst>
              </p:cNvPr>
              <p:cNvCxnSpPr>
                <a:cxnSpLocks/>
              </p:cNvCxnSpPr>
              <p:nvPr/>
            </p:nvCxnSpPr>
            <p:spPr>
              <a:xfrm rot="16200000">
                <a:off x="18901395" y="9710493"/>
                <a:ext cx="13403634" cy="0"/>
              </a:xfrm>
              <a:prstGeom prst="straightConnector1">
                <a:avLst/>
              </a:prstGeom>
              <a:ln w="12700" cap="rnd">
                <a:gradFill flip="none" rotWithShape="1">
                  <a:gsLst>
                    <a:gs pos="100000">
                      <a:srgbClr val="FF5C39"/>
                    </a:gs>
                    <a:gs pos="0">
                      <a:srgbClr val="F4364C"/>
                    </a:gs>
                  </a:gsLst>
                  <a:lin ang="0" scaled="1"/>
                  <a:tileRect/>
                </a:gra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624BD9DA-5086-C3BD-FACA-4B30FA4D178F}"/>
                  </a:ext>
                  <a:ext uri="{C183D7F6-B498-43B3-948B-1728B52AA6E4}">
                    <adec:decorative xmlns:adec="http://schemas.microsoft.com/office/drawing/2017/decorative" val="1"/>
                  </a:ext>
                </a:extLst>
              </p:cNvPr>
              <p:cNvCxnSpPr>
                <a:cxnSpLocks/>
              </p:cNvCxnSpPr>
              <p:nvPr/>
            </p:nvCxnSpPr>
            <p:spPr>
              <a:xfrm rot="16200000">
                <a:off x="25269481" y="2967260"/>
                <a:ext cx="321682" cy="341545"/>
              </a:xfrm>
              <a:prstGeom prst="line">
                <a:avLst/>
              </a:prstGeom>
              <a:ln w="12700" cap="rnd">
                <a:solidFill>
                  <a:srgbClr val="FF5C3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53F8D8C9-73E6-8E00-1F9C-AA1D9E837015}"/>
                  </a:ext>
                  <a:ext uri="{C183D7F6-B498-43B3-948B-1728B52AA6E4}">
                    <adec:decorative xmlns:adec="http://schemas.microsoft.com/office/drawing/2017/decorative" val="1"/>
                  </a:ext>
                </a:extLst>
              </p:cNvPr>
              <p:cNvCxnSpPr>
                <a:cxnSpLocks/>
              </p:cNvCxnSpPr>
              <p:nvPr/>
            </p:nvCxnSpPr>
            <p:spPr>
              <a:xfrm rot="16200000" flipV="1">
                <a:off x="25625264" y="2967262"/>
                <a:ext cx="321682" cy="341542"/>
              </a:xfrm>
              <a:prstGeom prst="line">
                <a:avLst/>
              </a:prstGeom>
              <a:ln w="12700" cap="rnd">
                <a:solidFill>
                  <a:srgbClr val="FF5C3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DAA2CCC3-F4F7-B738-253D-69EA325A772A}"/>
                </a:ext>
                <a:ext uri="{C183D7F6-B498-43B3-948B-1728B52AA6E4}">
                  <adec:decorative xmlns:adec="http://schemas.microsoft.com/office/drawing/2017/decorative" val="1"/>
                </a:ext>
              </a:extLst>
            </p:cNvPr>
            <p:cNvGrpSpPr/>
            <p:nvPr/>
          </p:nvGrpSpPr>
          <p:grpSpPr>
            <a:xfrm rot="5400000">
              <a:off x="10504442" y="4708500"/>
              <a:ext cx="130681" cy="2060030"/>
              <a:chOff x="25259549" y="2977192"/>
              <a:chExt cx="697327" cy="13435118"/>
            </a:xfrm>
          </p:grpSpPr>
          <p:cxnSp>
            <p:nvCxnSpPr>
              <p:cNvPr id="85" name="Straight Arrow Connector 84">
                <a:extLst>
                  <a:ext uri="{FF2B5EF4-FFF2-40B4-BE49-F238E27FC236}">
                    <a16:creationId xmlns:a16="http://schemas.microsoft.com/office/drawing/2014/main" id="{E93E9850-79CB-454E-45AB-EA3075EDD38C}"/>
                  </a:ext>
                  <a:ext uri="{C183D7F6-B498-43B3-948B-1728B52AA6E4}">
                    <adec:decorative xmlns:adec="http://schemas.microsoft.com/office/drawing/2017/decorative" val="1"/>
                  </a:ext>
                </a:extLst>
              </p:cNvPr>
              <p:cNvCxnSpPr>
                <a:cxnSpLocks/>
              </p:cNvCxnSpPr>
              <p:nvPr/>
            </p:nvCxnSpPr>
            <p:spPr>
              <a:xfrm rot="16200000">
                <a:off x="18901395" y="9710493"/>
                <a:ext cx="13403634" cy="0"/>
              </a:xfrm>
              <a:prstGeom prst="straightConnector1">
                <a:avLst/>
              </a:prstGeom>
              <a:ln w="12700" cap="rnd">
                <a:gradFill flip="none" rotWithShape="1">
                  <a:gsLst>
                    <a:gs pos="0">
                      <a:srgbClr val="0078D4"/>
                    </a:gs>
                    <a:gs pos="100000">
                      <a:srgbClr val="49C5B1"/>
                    </a:gs>
                  </a:gsLst>
                  <a:lin ang="0" scaled="1"/>
                  <a:tileRect/>
                </a:gra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3D0A84D-AC2E-D794-F97E-A935C9A82155}"/>
                  </a:ext>
                  <a:ext uri="{C183D7F6-B498-43B3-948B-1728B52AA6E4}">
                    <adec:decorative xmlns:adec="http://schemas.microsoft.com/office/drawing/2017/decorative" val="1"/>
                  </a:ext>
                </a:extLst>
              </p:cNvPr>
              <p:cNvCxnSpPr>
                <a:cxnSpLocks/>
              </p:cNvCxnSpPr>
              <p:nvPr/>
            </p:nvCxnSpPr>
            <p:spPr>
              <a:xfrm rot="16200000">
                <a:off x="25269481" y="2967260"/>
                <a:ext cx="321682" cy="341545"/>
              </a:xfrm>
              <a:prstGeom prst="line">
                <a:avLst/>
              </a:prstGeom>
              <a:ln w="12700" cap="rnd">
                <a:solidFill>
                  <a:srgbClr val="49C5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6A0B2748-2A31-B60C-3EDB-0644C90585B1}"/>
                  </a:ext>
                  <a:ext uri="{C183D7F6-B498-43B3-948B-1728B52AA6E4}">
                    <adec:decorative xmlns:adec="http://schemas.microsoft.com/office/drawing/2017/decorative" val="1"/>
                  </a:ext>
                </a:extLst>
              </p:cNvPr>
              <p:cNvCxnSpPr>
                <a:cxnSpLocks/>
              </p:cNvCxnSpPr>
              <p:nvPr/>
            </p:nvCxnSpPr>
            <p:spPr>
              <a:xfrm rot="16200000" flipV="1">
                <a:off x="25625264" y="2967262"/>
                <a:ext cx="321682" cy="341542"/>
              </a:xfrm>
              <a:prstGeom prst="line">
                <a:avLst/>
              </a:prstGeom>
              <a:ln w="12700" cap="rnd">
                <a:solidFill>
                  <a:srgbClr val="49C5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080490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500"/>
                                        <p:tgtEl>
                                          <p:spTgt spid="76"/>
                                        </p:tgtEl>
                                      </p:cBhvr>
                                    </p:animEffect>
                                  </p:childTnLst>
                                </p:cTn>
                              </p:par>
                              <p:par>
                                <p:cTn id="8" presetID="42" presetClass="path" presetSubtype="0" decel="100000" fill="hold" grpId="1" nodeType="withEffect">
                                  <p:stCondLst>
                                    <p:cond delay="100"/>
                                  </p:stCondLst>
                                  <p:childTnLst>
                                    <p:animMotion origin="layout" path="M 0 -2.59259E-6 L 0 0.03542 " pathEditMode="relative" rAng="0" ptsTypes="AA">
                                      <p:cBhvr>
                                        <p:cTn id="9" dur="700" spd="-100000" fill="hold"/>
                                        <p:tgtEl>
                                          <p:spTgt spid="76"/>
                                        </p:tgtEl>
                                        <p:attrNameLst>
                                          <p:attrName>ppt_x</p:attrName>
                                          <p:attrName>ppt_y</p:attrName>
                                        </p:attrNameLst>
                                      </p:cBhvr>
                                      <p:rCtr x="0" y="1759"/>
                                    </p:animMotion>
                                  </p:childTnLst>
                                </p:cTn>
                              </p:par>
                            </p:childTnLst>
                          </p:cTn>
                        </p:par>
                        <p:par>
                          <p:cTn id="10" fill="hold">
                            <p:stCondLst>
                              <p:cond delay="800"/>
                            </p:stCondLst>
                            <p:childTnLst>
                              <p:par>
                                <p:cTn id="11" presetID="16" presetClass="entr" presetSubtype="37" fill="hold" nodeType="afterEffect">
                                  <p:stCondLst>
                                    <p:cond delay="0"/>
                                  </p:stCondLst>
                                  <p:childTnLst>
                                    <p:set>
                                      <p:cBhvr>
                                        <p:cTn id="12" dur="1" fill="hold">
                                          <p:stCondLst>
                                            <p:cond delay="0"/>
                                          </p:stCondLst>
                                        </p:cTn>
                                        <p:tgtEl>
                                          <p:spTgt spid="81"/>
                                        </p:tgtEl>
                                        <p:attrNameLst>
                                          <p:attrName>style.visibility</p:attrName>
                                        </p:attrNameLst>
                                      </p:cBhvr>
                                      <p:to>
                                        <p:strVal val="visible"/>
                                      </p:to>
                                    </p:set>
                                    <p:animEffect transition="in" filter="barn(outVertical)">
                                      <p:cBhvr>
                                        <p:cTn id="13" dur="500"/>
                                        <p:tgtEl>
                                          <p:spTgt spid="81"/>
                                        </p:tgtEl>
                                      </p:cBhvr>
                                    </p:animEffect>
                                  </p:childTnLst>
                                </p:cTn>
                              </p:par>
                              <p:par>
                                <p:cTn id="14" presetID="42" presetClass="path" presetSubtype="0" decel="100000" fill="hold" nodeType="withEffect">
                                  <p:stCondLst>
                                    <p:cond delay="0"/>
                                  </p:stCondLst>
                                  <p:childTnLst>
                                    <p:animMotion origin="layout" path="M 4.16667E-7 3.33333E-6 L 4.16667E-7 0.03541 " pathEditMode="relative" rAng="0" ptsTypes="AA">
                                      <p:cBhvr>
                                        <p:cTn id="15" dur="700" spd="-100000" fill="hold"/>
                                        <p:tgtEl>
                                          <p:spTgt spid="81"/>
                                        </p:tgtEl>
                                        <p:attrNameLst>
                                          <p:attrName>ppt_x</p:attrName>
                                          <p:attrName>ppt_y</p:attrName>
                                        </p:attrNameLst>
                                      </p:cBhvr>
                                      <p:rCtr x="0" y="1759"/>
                                    </p:animMotion>
                                  </p:childTnLst>
                                </p:cTn>
                              </p:par>
                              <p:par>
                                <p:cTn id="16" presetID="10" presetClass="entr" presetSubtype="0" fill="hold" grpId="0" nodeType="withEffect">
                                  <p:stCondLst>
                                    <p:cond delay="10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par>
                                <p:cTn id="19" presetID="42" presetClass="path" presetSubtype="0" decel="100000" fill="hold" grpId="1" nodeType="withEffect">
                                  <p:stCondLst>
                                    <p:cond delay="100"/>
                                  </p:stCondLst>
                                  <p:childTnLst>
                                    <p:animMotion origin="layout" path="M 0 3.7037E-7 L 0 0.03542 " pathEditMode="relative" rAng="0" ptsTypes="AA">
                                      <p:cBhvr>
                                        <p:cTn id="20" dur="700" spd="-100000" fill="hold"/>
                                        <p:tgtEl>
                                          <p:spTgt spid="21"/>
                                        </p:tgtEl>
                                        <p:attrNameLst>
                                          <p:attrName>ppt_x</p:attrName>
                                          <p:attrName>ppt_y</p:attrName>
                                        </p:attrNameLst>
                                      </p:cBhvr>
                                      <p:rCtr x="0" y="1759"/>
                                    </p:animMotion>
                                  </p:childTnLst>
                                </p:cTn>
                              </p:par>
                              <p:par>
                                <p:cTn id="21" presetID="10" presetClass="entr" presetSubtype="0" fill="hold" grpId="0" nodeType="withEffect">
                                  <p:stCondLst>
                                    <p:cond delay="10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par>
                                <p:cTn id="24" presetID="42" presetClass="path" presetSubtype="0" decel="100000" fill="hold" grpId="1" nodeType="withEffect">
                                  <p:stCondLst>
                                    <p:cond delay="100"/>
                                  </p:stCondLst>
                                  <p:childTnLst>
                                    <p:animMotion origin="layout" path="M 0 3.7037E-7 L 0 0.03542 " pathEditMode="relative" rAng="0" ptsTypes="AA">
                                      <p:cBhvr>
                                        <p:cTn id="25" dur="700" spd="-100000" fill="hold"/>
                                        <p:tgtEl>
                                          <p:spTgt spid="15"/>
                                        </p:tgtEl>
                                        <p:attrNameLst>
                                          <p:attrName>ppt_x</p:attrName>
                                          <p:attrName>ppt_y</p:attrName>
                                        </p:attrNameLst>
                                      </p:cBhvr>
                                      <p:rCtr x="0" y="1759"/>
                                    </p:animMotion>
                                  </p:childTnLst>
                                </p:cTn>
                              </p:par>
                              <p:par>
                                <p:cTn id="26" presetID="10" presetClass="entr" presetSubtype="0" fill="hold" grpId="0" nodeType="withEffect">
                                  <p:stCondLst>
                                    <p:cond delay="10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par>
                                <p:cTn id="29" presetID="42" presetClass="path" presetSubtype="0" decel="100000" fill="hold" grpId="1" nodeType="withEffect">
                                  <p:stCondLst>
                                    <p:cond delay="100"/>
                                  </p:stCondLst>
                                  <p:childTnLst>
                                    <p:animMotion origin="layout" path="M 0 3.7037E-7 L 0 0.03542 " pathEditMode="relative" rAng="0" ptsTypes="AA">
                                      <p:cBhvr>
                                        <p:cTn id="30" dur="700" spd="-100000" fill="hold"/>
                                        <p:tgtEl>
                                          <p:spTgt spid="22"/>
                                        </p:tgtEl>
                                        <p:attrNameLst>
                                          <p:attrName>ppt_x</p:attrName>
                                          <p:attrName>ppt_y</p:attrName>
                                        </p:attrNameLst>
                                      </p:cBhvr>
                                      <p:rCtr x="0" y="1759"/>
                                    </p:animMotion>
                                  </p:childTnLst>
                                </p:cTn>
                              </p:par>
                              <p:par>
                                <p:cTn id="31" presetID="10" presetClass="entr" presetSubtype="0" fill="hold" grpId="0" nodeType="withEffect">
                                  <p:stCondLst>
                                    <p:cond delay="100"/>
                                  </p:stCondLst>
                                  <p:childTnLst>
                                    <p:set>
                                      <p:cBhvr>
                                        <p:cTn id="32" dur="1" fill="hold">
                                          <p:stCondLst>
                                            <p:cond delay="0"/>
                                          </p:stCondLst>
                                        </p:cTn>
                                        <p:tgtEl>
                                          <p:spTgt spid="24"/>
                                        </p:tgtEl>
                                        <p:attrNameLst>
                                          <p:attrName>style.visibility</p:attrName>
                                        </p:attrNameLst>
                                      </p:cBhvr>
                                      <p:to>
                                        <p:strVal val="visible"/>
                                      </p:to>
                                    </p:set>
                                    <p:animEffect transition="in" filter="fade">
                                      <p:cBhvr>
                                        <p:cTn id="33" dur="500"/>
                                        <p:tgtEl>
                                          <p:spTgt spid="24"/>
                                        </p:tgtEl>
                                      </p:cBhvr>
                                    </p:animEffect>
                                  </p:childTnLst>
                                </p:cTn>
                              </p:par>
                              <p:par>
                                <p:cTn id="34" presetID="42" presetClass="path" presetSubtype="0" decel="100000" fill="hold" grpId="1" nodeType="withEffect">
                                  <p:stCondLst>
                                    <p:cond delay="100"/>
                                  </p:stCondLst>
                                  <p:childTnLst>
                                    <p:animMotion origin="layout" path="M 0 3.7037E-7 L 0 0.03542 " pathEditMode="relative" rAng="0" ptsTypes="AA">
                                      <p:cBhvr>
                                        <p:cTn id="35" dur="700" spd="-100000" fill="hold"/>
                                        <p:tgtEl>
                                          <p:spTgt spid="24"/>
                                        </p:tgtEl>
                                        <p:attrNameLst>
                                          <p:attrName>ppt_x</p:attrName>
                                          <p:attrName>ppt_y</p:attrName>
                                        </p:attrNameLst>
                                      </p:cBhvr>
                                      <p:rCtr x="0" y="1759"/>
                                    </p:animMotion>
                                  </p:childTnLst>
                                </p:cTn>
                              </p:par>
                              <p:par>
                                <p:cTn id="36" presetID="10" presetClass="entr" presetSubtype="0" fill="hold" grpId="0" nodeType="withEffect">
                                  <p:stCondLst>
                                    <p:cond delay="10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par>
                                <p:cTn id="39" presetID="42" presetClass="path" presetSubtype="0" decel="100000" fill="hold" grpId="1" nodeType="withEffect">
                                  <p:stCondLst>
                                    <p:cond delay="100"/>
                                  </p:stCondLst>
                                  <p:childTnLst>
                                    <p:animMotion origin="layout" path="M 0 3.7037E-7 L 0 0.03542 " pathEditMode="relative" rAng="0" ptsTypes="AA">
                                      <p:cBhvr>
                                        <p:cTn id="40" dur="700" spd="-100000" fill="hold"/>
                                        <p:tgtEl>
                                          <p:spTgt spid="23"/>
                                        </p:tgtEl>
                                        <p:attrNameLst>
                                          <p:attrName>ppt_x</p:attrName>
                                          <p:attrName>ppt_y</p:attrName>
                                        </p:attrNameLst>
                                      </p:cBhvr>
                                      <p:rCtr x="0" y="1759"/>
                                    </p:animMotion>
                                  </p:childTnLst>
                                </p:cTn>
                              </p:par>
                              <p:par>
                                <p:cTn id="41" presetID="10" presetClass="entr" presetSubtype="0" fill="hold" grpId="0" nodeType="withEffect">
                                  <p:stCondLst>
                                    <p:cond delay="100"/>
                                  </p:stCondLst>
                                  <p:childTnLst>
                                    <p:set>
                                      <p:cBhvr>
                                        <p:cTn id="42" dur="1" fill="hold">
                                          <p:stCondLst>
                                            <p:cond delay="0"/>
                                          </p:stCondLst>
                                        </p:cTn>
                                        <p:tgtEl>
                                          <p:spTgt spid="61"/>
                                        </p:tgtEl>
                                        <p:attrNameLst>
                                          <p:attrName>style.visibility</p:attrName>
                                        </p:attrNameLst>
                                      </p:cBhvr>
                                      <p:to>
                                        <p:strVal val="visible"/>
                                      </p:to>
                                    </p:set>
                                    <p:animEffect transition="in" filter="fade">
                                      <p:cBhvr>
                                        <p:cTn id="43" dur="500"/>
                                        <p:tgtEl>
                                          <p:spTgt spid="61"/>
                                        </p:tgtEl>
                                      </p:cBhvr>
                                    </p:animEffect>
                                  </p:childTnLst>
                                </p:cTn>
                              </p:par>
                              <p:par>
                                <p:cTn id="44" presetID="42" presetClass="path" presetSubtype="0" decel="100000" fill="hold" grpId="1" nodeType="withEffect">
                                  <p:stCondLst>
                                    <p:cond delay="100"/>
                                  </p:stCondLst>
                                  <p:childTnLst>
                                    <p:animMotion origin="layout" path="M 0 3.7037E-7 L 0 0.03542 " pathEditMode="relative" rAng="0" ptsTypes="AA">
                                      <p:cBhvr>
                                        <p:cTn id="45" dur="700" spd="-100000" fill="hold"/>
                                        <p:tgtEl>
                                          <p:spTgt spid="61"/>
                                        </p:tgtEl>
                                        <p:attrNameLst>
                                          <p:attrName>ppt_x</p:attrName>
                                          <p:attrName>ppt_y</p:attrName>
                                        </p:attrNameLst>
                                      </p:cBhvr>
                                      <p:rCtr x="0" y="1759"/>
                                    </p:animMotion>
                                  </p:childTnLst>
                                </p:cTn>
                              </p:par>
                              <p:par>
                                <p:cTn id="46" presetID="10" presetClass="entr" presetSubtype="0" fill="hold" nodeType="withEffect">
                                  <p:stCondLst>
                                    <p:cond delay="10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par>
                                <p:cTn id="49" presetID="42" presetClass="path" presetSubtype="0" decel="100000" fill="hold" nodeType="withEffect">
                                  <p:stCondLst>
                                    <p:cond delay="100"/>
                                  </p:stCondLst>
                                  <p:childTnLst>
                                    <p:animMotion origin="layout" path="M 0 3.7037E-7 L 0 0.03542 " pathEditMode="relative" rAng="0" ptsTypes="AA">
                                      <p:cBhvr>
                                        <p:cTn id="50" dur="700" spd="-100000" fill="hold"/>
                                        <p:tgtEl>
                                          <p:spTgt spid="20"/>
                                        </p:tgtEl>
                                        <p:attrNameLst>
                                          <p:attrName>ppt_x</p:attrName>
                                          <p:attrName>ppt_y</p:attrName>
                                        </p:attrNameLst>
                                      </p:cBhvr>
                                      <p:rCtr x="0" y="1759"/>
                                    </p:animMotion>
                                  </p:childTnLst>
                                </p:cTn>
                              </p:par>
                              <p:par>
                                <p:cTn id="51" presetID="10" presetClass="entr" presetSubtype="0" fill="hold" nodeType="withEffect">
                                  <p:stCondLst>
                                    <p:cond delay="100"/>
                                  </p:stCondLst>
                                  <p:childTnLst>
                                    <p:set>
                                      <p:cBhvr>
                                        <p:cTn id="52" dur="1" fill="hold">
                                          <p:stCondLst>
                                            <p:cond delay="0"/>
                                          </p:stCondLst>
                                        </p:cTn>
                                        <p:tgtEl>
                                          <p:spTgt spid="60"/>
                                        </p:tgtEl>
                                        <p:attrNameLst>
                                          <p:attrName>style.visibility</p:attrName>
                                        </p:attrNameLst>
                                      </p:cBhvr>
                                      <p:to>
                                        <p:strVal val="visible"/>
                                      </p:to>
                                    </p:set>
                                    <p:animEffect transition="in" filter="fade">
                                      <p:cBhvr>
                                        <p:cTn id="53" dur="500"/>
                                        <p:tgtEl>
                                          <p:spTgt spid="60"/>
                                        </p:tgtEl>
                                      </p:cBhvr>
                                    </p:animEffect>
                                  </p:childTnLst>
                                </p:cTn>
                              </p:par>
                              <p:par>
                                <p:cTn id="54" presetID="42" presetClass="path" presetSubtype="0" decel="100000" fill="hold" nodeType="withEffect">
                                  <p:stCondLst>
                                    <p:cond delay="100"/>
                                  </p:stCondLst>
                                  <p:childTnLst>
                                    <p:animMotion origin="layout" path="M 0 3.7037E-7 L 0 0.03542 " pathEditMode="relative" rAng="0" ptsTypes="AA">
                                      <p:cBhvr>
                                        <p:cTn id="55" dur="700" spd="-100000" fill="hold"/>
                                        <p:tgtEl>
                                          <p:spTgt spid="60"/>
                                        </p:tgtEl>
                                        <p:attrNameLst>
                                          <p:attrName>ppt_x</p:attrName>
                                          <p:attrName>ppt_y</p:attrName>
                                        </p:attrNameLst>
                                      </p:cBhvr>
                                      <p:rCtr x="0" y="1759"/>
                                    </p:animMotion>
                                  </p:childTnLst>
                                </p:cTn>
                              </p:par>
                              <p:par>
                                <p:cTn id="56" presetID="10" presetClass="entr" presetSubtype="0" fill="hold" nodeType="withEffect">
                                  <p:stCondLst>
                                    <p:cond delay="100"/>
                                  </p:stCondLst>
                                  <p:childTnLst>
                                    <p:set>
                                      <p:cBhvr>
                                        <p:cTn id="57" dur="1" fill="hold">
                                          <p:stCondLst>
                                            <p:cond delay="0"/>
                                          </p:stCondLst>
                                        </p:cTn>
                                        <p:tgtEl>
                                          <p:spTgt spid="75"/>
                                        </p:tgtEl>
                                        <p:attrNameLst>
                                          <p:attrName>style.visibility</p:attrName>
                                        </p:attrNameLst>
                                      </p:cBhvr>
                                      <p:to>
                                        <p:strVal val="visible"/>
                                      </p:to>
                                    </p:set>
                                    <p:animEffect transition="in" filter="fade">
                                      <p:cBhvr>
                                        <p:cTn id="58" dur="500"/>
                                        <p:tgtEl>
                                          <p:spTgt spid="75"/>
                                        </p:tgtEl>
                                      </p:cBhvr>
                                    </p:animEffect>
                                  </p:childTnLst>
                                </p:cTn>
                              </p:par>
                              <p:par>
                                <p:cTn id="59" presetID="42" presetClass="path" presetSubtype="0" decel="100000" fill="hold" nodeType="withEffect">
                                  <p:stCondLst>
                                    <p:cond delay="100"/>
                                  </p:stCondLst>
                                  <p:childTnLst>
                                    <p:animMotion origin="layout" path="M 0 3.7037E-7 L 0 0.03542 " pathEditMode="relative" rAng="0" ptsTypes="AA">
                                      <p:cBhvr>
                                        <p:cTn id="60" dur="700" spd="-100000" fill="hold"/>
                                        <p:tgtEl>
                                          <p:spTgt spid="75"/>
                                        </p:tgtEl>
                                        <p:attrNameLst>
                                          <p:attrName>ppt_x</p:attrName>
                                          <p:attrName>ppt_y</p:attrName>
                                        </p:attrNameLst>
                                      </p:cBhvr>
                                      <p:rCtr x="0" y="1759"/>
                                    </p:animMotion>
                                  </p:childTnLst>
                                </p:cTn>
                              </p:par>
                              <p:par>
                                <p:cTn id="61" presetID="10" presetClass="entr" presetSubtype="0" fill="hold" nodeType="withEffect">
                                  <p:stCondLst>
                                    <p:cond delay="100"/>
                                  </p:stCondLst>
                                  <p:childTnLst>
                                    <p:set>
                                      <p:cBhvr>
                                        <p:cTn id="62" dur="1" fill="hold">
                                          <p:stCondLst>
                                            <p:cond delay="0"/>
                                          </p:stCondLst>
                                        </p:cTn>
                                        <p:tgtEl>
                                          <p:spTgt spid="2"/>
                                        </p:tgtEl>
                                        <p:attrNameLst>
                                          <p:attrName>style.visibility</p:attrName>
                                        </p:attrNameLst>
                                      </p:cBhvr>
                                      <p:to>
                                        <p:strVal val="visible"/>
                                      </p:to>
                                    </p:set>
                                    <p:animEffect transition="in" filter="fade">
                                      <p:cBhvr>
                                        <p:cTn id="63" dur="500"/>
                                        <p:tgtEl>
                                          <p:spTgt spid="2"/>
                                        </p:tgtEl>
                                      </p:cBhvr>
                                    </p:animEffect>
                                  </p:childTnLst>
                                </p:cTn>
                              </p:par>
                              <p:par>
                                <p:cTn id="64" presetID="42" presetClass="path" presetSubtype="0" decel="100000" fill="hold" nodeType="withEffect">
                                  <p:stCondLst>
                                    <p:cond delay="100"/>
                                  </p:stCondLst>
                                  <p:childTnLst>
                                    <p:animMotion origin="layout" path="M 0 3.7037E-7 L 0 0.03542 " pathEditMode="relative" rAng="0" ptsTypes="AA">
                                      <p:cBhvr>
                                        <p:cTn id="65" dur="700" spd="-100000" fill="hold"/>
                                        <p:tgtEl>
                                          <p:spTgt spid="2"/>
                                        </p:tgtEl>
                                        <p:attrNameLst>
                                          <p:attrName>ppt_x</p:attrName>
                                          <p:attrName>ppt_y</p:attrName>
                                        </p:attrNameLst>
                                      </p:cBhvr>
                                      <p:rCtr x="0" y="1759"/>
                                    </p:animMotion>
                                  </p:childTnLst>
                                </p:cTn>
                              </p:par>
                              <p:par>
                                <p:cTn id="66" presetID="10" presetClass="entr" presetSubtype="0" fill="hold" nodeType="withEffect">
                                  <p:stCondLst>
                                    <p:cond delay="100"/>
                                  </p:stCondLst>
                                  <p:childTnLst>
                                    <p:set>
                                      <p:cBhvr>
                                        <p:cTn id="67" dur="1" fill="hold">
                                          <p:stCondLst>
                                            <p:cond delay="0"/>
                                          </p:stCondLst>
                                        </p:cTn>
                                        <p:tgtEl>
                                          <p:spTgt spid="6"/>
                                        </p:tgtEl>
                                        <p:attrNameLst>
                                          <p:attrName>style.visibility</p:attrName>
                                        </p:attrNameLst>
                                      </p:cBhvr>
                                      <p:to>
                                        <p:strVal val="visible"/>
                                      </p:to>
                                    </p:set>
                                    <p:animEffect transition="in" filter="fade">
                                      <p:cBhvr>
                                        <p:cTn id="68" dur="500"/>
                                        <p:tgtEl>
                                          <p:spTgt spid="6"/>
                                        </p:tgtEl>
                                      </p:cBhvr>
                                    </p:animEffect>
                                  </p:childTnLst>
                                </p:cTn>
                              </p:par>
                              <p:par>
                                <p:cTn id="69" presetID="42" presetClass="path" presetSubtype="0" decel="100000" fill="hold" nodeType="withEffect">
                                  <p:stCondLst>
                                    <p:cond delay="100"/>
                                  </p:stCondLst>
                                  <p:childTnLst>
                                    <p:animMotion origin="layout" path="M 0 3.7037E-7 L 0 0.03542 " pathEditMode="relative" rAng="0" ptsTypes="AA">
                                      <p:cBhvr>
                                        <p:cTn id="70" dur="700" spd="-100000" fill="hold"/>
                                        <p:tgtEl>
                                          <p:spTgt spid="6"/>
                                        </p:tgtEl>
                                        <p:attrNameLst>
                                          <p:attrName>ppt_x</p:attrName>
                                          <p:attrName>ppt_y</p:attrName>
                                        </p:attrNameLst>
                                      </p:cBhvr>
                                      <p:rCtr x="0" y="1759"/>
                                    </p:animMotion>
                                  </p:childTnLst>
                                </p:cTn>
                              </p:par>
                              <p:par>
                                <p:cTn id="71" presetID="10" presetClass="entr" presetSubtype="0" fill="hold" nodeType="withEffect">
                                  <p:stCondLst>
                                    <p:cond delay="100"/>
                                  </p:stCondLst>
                                  <p:childTnLst>
                                    <p:set>
                                      <p:cBhvr>
                                        <p:cTn id="72" dur="1" fill="hold">
                                          <p:stCondLst>
                                            <p:cond delay="0"/>
                                          </p:stCondLst>
                                        </p:cTn>
                                        <p:tgtEl>
                                          <p:spTgt spid="9"/>
                                        </p:tgtEl>
                                        <p:attrNameLst>
                                          <p:attrName>style.visibility</p:attrName>
                                        </p:attrNameLst>
                                      </p:cBhvr>
                                      <p:to>
                                        <p:strVal val="visible"/>
                                      </p:to>
                                    </p:set>
                                    <p:animEffect transition="in" filter="fade">
                                      <p:cBhvr>
                                        <p:cTn id="73" dur="500"/>
                                        <p:tgtEl>
                                          <p:spTgt spid="9"/>
                                        </p:tgtEl>
                                      </p:cBhvr>
                                    </p:animEffect>
                                  </p:childTnLst>
                                </p:cTn>
                              </p:par>
                              <p:par>
                                <p:cTn id="74" presetID="42" presetClass="path" presetSubtype="0" decel="100000" fill="hold" nodeType="withEffect">
                                  <p:stCondLst>
                                    <p:cond delay="100"/>
                                  </p:stCondLst>
                                  <p:childTnLst>
                                    <p:animMotion origin="layout" path="M 0 3.7037E-7 L 0 0.03542 " pathEditMode="relative" rAng="0" ptsTypes="AA">
                                      <p:cBhvr>
                                        <p:cTn id="75" dur="700" spd="-100000" fill="hold"/>
                                        <p:tgtEl>
                                          <p:spTgt spid="9"/>
                                        </p:tgtEl>
                                        <p:attrNameLst>
                                          <p:attrName>ppt_x</p:attrName>
                                          <p:attrName>ppt_y</p:attrName>
                                        </p:attrNameLst>
                                      </p:cBhvr>
                                      <p:rCtr x="0" y="1759"/>
                                    </p:animMotion>
                                  </p:childTnLst>
                                </p:cTn>
                              </p:par>
                              <p:par>
                                <p:cTn id="76" presetID="10" presetClass="entr" presetSubtype="0" fill="hold" nodeType="withEffect">
                                  <p:stCondLst>
                                    <p:cond delay="100"/>
                                  </p:stCondLst>
                                  <p:childTnLst>
                                    <p:set>
                                      <p:cBhvr>
                                        <p:cTn id="77" dur="1" fill="hold">
                                          <p:stCondLst>
                                            <p:cond delay="0"/>
                                          </p:stCondLst>
                                        </p:cTn>
                                        <p:tgtEl>
                                          <p:spTgt spid="12"/>
                                        </p:tgtEl>
                                        <p:attrNameLst>
                                          <p:attrName>style.visibility</p:attrName>
                                        </p:attrNameLst>
                                      </p:cBhvr>
                                      <p:to>
                                        <p:strVal val="visible"/>
                                      </p:to>
                                    </p:set>
                                    <p:animEffect transition="in" filter="fade">
                                      <p:cBhvr>
                                        <p:cTn id="78" dur="500"/>
                                        <p:tgtEl>
                                          <p:spTgt spid="12"/>
                                        </p:tgtEl>
                                      </p:cBhvr>
                                    </p:animEffect>
                                  </p:childTnLst>
                                </p:cTn>
                              </p:par>
                              <p:par>
                                <p:cTn id="79" presetID="42" presetClass="path" presetSubtype="0" decel="100000" fill="hold" nodeType="withEffect">
                                  <p:stCondLst>
                                    <p:cond delay="100"/>
                                  </p:stCondLst>
                                  <p:childTnLst>
                                    <p:animMotion origin="layout" path="M 0 3.7037E-7 L 0 0.03542 " pathEditMode="relative" rAng="0" ptsTypes="AA">
                                      <p:cBhvr>
                                        <p:cTn id="80" dur="700" spd="-100000" fill="hold"/>
                                        <p:tgtEl>
                                          <p:spTgt spid="12"/>
                                        </p:tgtEl>
                                        <p:attrNameLst>
                                          <p:attrName>ppt_x</p:attrName>
                                          <p:attrName>ppt_y</p:attrName>
                                        </p:attrNameLst>
                                      </p:cBhvr>
                                      <p:rCtr x="0" y="1759"/>
                                    </p:animMotion>
                                  </p:childTnLst>
                                </p:cTn>
                              </p:par>
                              <p:par>
                                <p:cTn id="81" presetID="10" presetClass="entr" presetSubtype="0" fill="hold" grpId="0" nodeType="withEffect">
                                  <p:stCondLst>
                                    <p:cond delay="100"/>
                                  </p:stCondLst>
                                  <p:childTnLst>
                                    <p:set>
                                      <p:cBhvr>
                                        <p:cTn id="82" dur="1" fill="hold">
                                          <p:stCondLst>
                                            <p:cond delay="0"/>
                                          </p:stCondLst>
                                        </p:cTn>
                                        <p:tgtEl>
                                          <p:spTgt spid="69"/>
                                        </p:tgtEl>
                                        <p:attrNameLst>
                                          <p:attrName>style.visibility</p:attrName>
                                        </p:attrNameLst>
                                      </p:cBhvr>
                                      <p:to>
                                        <p:strVal val="visible"/>
                                      </p:to>
                                    </p:set>
                                    <p:animEffect transition="in" filter="fade">
                                      <p:cBhvr>
                                        <p:cTn id="83" dur="500"/>
                                        <p:tgtEl>
                                          <p:spTgt spid="69"/>
                                        </p:tgtEl>
                                      </p:cBhvr>
                                    </p:animEffect>
                                  </p:childTnLst>
                                </p:cTn>
                              </p:par>
                              <p:par>
                                <p:cTn id="84" presetID="42" presetClass="path" presetSubtype="0" decel="100000" fill="hold" grpId="1" nodeType="withEffect">
                                  <p:stCondLst>
                                    <p:cond delay="100"/>
                                  </p:stCondLst>
                                  <p:childTnLst>
                                    <p:animMotion origin="layout" path="M 0 3.7037E-7 L 0 0.03542 " pathEditMode="relative" rAng="0" ptsTypes="AA">
                                      <p:cBhvr>
                                        <p:cTn id="85" dur="700" spd="-100000" fill="hold"/>
                                        <p:tgtEl>
                                          <p:spTgt spid="69"/>
                                        </p:tgtEl>
                                        <p:attrNameLst>
                                          <p:attrName>ppt_x</p:attrName>
                                          <p:attrName>ppt_y</p:attrName>
                                        </p:attrNameLst>
                                      </p:cBhvr>
                                      <p:rCtr x="0" y="1759"/>
                                    </p:animMotion>
                                  </p:childTnLst>
                                </p:cTn>
                              </p:par>
                              <p:par>
                                <p:cTn id="86" presetID="10" presetClass="entr" presetSubtype="0" fill="hold" grpId="0" nodeType="withEffect">
                                  <p:stCondLst>
                                    <p:cond delay="100"/>
                                  </p:stCondLst>
                                  <p:childTnLst>
                                    <p:set>
                                      <p:cBhvr>
                                        <p:cTn id="87" dur="1" fill="hold">
                                          <p:stCondLst>
                                            <p:cond delay="0"/>
                                          </p:stCondLst>
                                        </p:cTn>
                                        <p:tgtEl>
                                          <p:spTgt spid="70"/>
                                        </p:tgtEl>
                                        <p:attrNameLst>
                                          <p:attrName>style.visibility</p:attrName>
                                        </p:attrNameLst>
                                      </p:cBhvr>
                                      <p:to>
                                        <p:strVal val="visible"/>
                                      </p:to>
                                    </p:set>
                                    <p:animEffect transition="in" filter="fade">
                                      <p:cBhvr>
                                        <p:cTn id="88" dur="500"/>
                                        <p:tgtEl>
                                          <p:spTgt spid="70"/>
                                        </p:tgtEl>
                                      </p:cBhvr>
                                    </p:animEffect>
                                  </p:childTnLst>
                                </p:cTn>
                              </p:par>
                              <p:par>
                                <p:cTn id="89" presetID="42" presetClass="path" presetSubtype="0" decel="100000" fill="hold" grpId="1" nodeType="withEffect">
                                  <p:stCondLst>
                                    <p:cond delay="100"/>
                                  </p:stCondLst>
                                  <p:childTnLst>
                                    <p:animMotion origin="layout" path="M 0 3.7037E-7 L 0 0.03542 " pathEditMode="relative" rAng="0" ptsTypes="AA">
                                      <p:cBhvr>
                                        <p:cTn id="90" dur="700" spd="-100000" fill="hold"/>
                                        <p:tgtEl>
                                          <p:spTgt spid="70"/>
                                        </p:tgtEl>
                                        <p:attrNameLst>
                                          <p:attrName>ppt_x</p:attrName>
                                          <p:attrName>ppt_y</p:attrName>
                                        </p:attrNameLst>
                                      </p:cBhvr>
                                      <p:rCtr x="0" y="1759"/>
                                    </p:animMotion>
                                  </p:childTnLst>
                                </p:cTn>
                              </p:par>
                              <p:par>
                                <p:cTn id="91" presetID="10" presetClass="entr" presetSubtype="0" fill="hold" grpId="0" nodeType="withEffect">
                                  <p:stCondLst>
                                    <p:cond delay="100"/>
                                  </p:stCondLst>
                                  <p:childTnLst>
                                    <p:set>
                                      <p:cBhvr>
                                        <p:cTn id="92" dur="1" fill="hold">
                                          <p:stCondLst>
                                            <p:cond delay="0"/>
                                          </p:stCondLst>
                                        </p:cTn>
                                        <p:tgtEl>
                                          <p:spTgt spid="72"/>
                                        </p:tgtEl>
                                        <p:attrNameLst>
                                          <p:attrName>style.visibility</p:attrName>
                                        </p:attrNameLst>
                                      </p:cBhvr>
                                      <p:to>
                                        <p:strVal val="visible"/>
                                      </p:to>
                                    </p:set>
                                    <p:animEffect transition="in" filter="fade">
                                      <p:cBhvr>
                                        <p:cTn id="93" dur="500"/>
                                        <p:tgtEl>
                                          <p:spTgt spid="72"/>
                                        </p:tgtEl>
                                      </p:cBhvr>
                                    </p:animEffect>
                                  </p:childTnLst>
                                </p:cTn>
                              </p:par>
                              <p:par>
                                <p:cTn id="94" presetID="42" presetClass="path" presetSubtype="0" decel="100000" fill="hold" grpId="1" nodeType="withEffect">
                                  <p:stCondLst>
                                    <p:cond delay="100"/>
                                  </p:stCondLst>
                                  <p:childTnLst>
                                    <p:animMotion origin="layout" path="M 0 3.7037E-7 L 0 0.03542 " pathEditMode="relative" rAng="0" ptsTypes="AA">
                                      <p:cBhvr>
                                        <p:cTn id="95" dur="700" spd="-100000" fill="hold"/>
                                        <p:tgtEl>
                                          <p:spTgt spid="72"/>
                                        </p:tgtEl>
                                        <p:attrNameLst>
                                          <p:attrName>ppt_x</p:attrName>
                                          <p:attrName>ppt_y</p:attrName>
                                        </p:attrNameLst>
                                      </p:cBhvr>
                                      <p:rCtr x="0" y="1759"/>
                                    </p:animMotion>
                                  </p:childTnLst>
                                </p:cTn>
                              </p:par>
                              <p:par>
                                <p:cTn id="96" presetID="10" presetClass="entr" presetSubtype="0" fill="hold" grpId="0" nodeType="withEffect">
                                  <p:stCondLst>
                                    <p:cond delay="100"/>
                                  </p:stCondLst>
                                  <p:childTnLst>
                                    <p:set>
                                      <p:cBhvr>
                                        <p:cTn id="97" dur="1" fill="hold">
                                          <p:stCondLst>
                                            <p:cond delay="0"/>
                                          </p:stCondLst>
                                        </p:cTn>
                                        <p:tgtEl>
                                          <p:spTgt spid="66"/>
                                        </p:tgtEl>
                                        <p:attrNameLst>
                                          <p:attrName>style.visibility</p:attrName>
                                        </p:attrNameLst>
                                      </p:cBhvr>
                                      <p:to>
                                        <p:strVal val="visible"/>
                                      </p:to>
                                    </p:set>
                                    <p:animEffect transition="in" filter="fade">
                                      <p:cBhvr>
                                        <p:cTn id="98" dur="500"/>
                                        <p:tgtEl>
                                          <p:spTgt spid="66"/>
                                        </p:tgtEl>
                                      </p:cBhvr>
                                    </p:animEffect>
                                  </p:childTnLst>
                                </p:cTn>
                              </p:par>
                              <p:par>
                                <p:cTn id="99" presetID="42" presetClass="path" presetSubtype="0" decel="100000" fill="hold" grpId="1" nodeType="withEffect">
                                  <p:stCondLst>
                                    <p:cond delay="100"/>
                                  </p:stCondLst>
                                  <p:childTnLst>
                                    <p:animMotion origin="layout" path="M 0 3.7037E-7 L 0 0.03542 " pathEditMode="relative" rAng="0" ptsTypes="AA">
                                      <p:cBhvr>
                                        <p:cTn id="100" dur="700" spd="-100000" fill="hold"/>
                                        <p:tgtEl>
                                          <p:spTgt spid="66"/>
                                        </p:tgtEl>
                                        <p:attrNameLst>
                                          <p:attrName>ppt_x</p:attrName>
                                          <p:attrName>ppt_y</p:attrName>
                                        </p:attrNameLst>
                                      </p:cBhvr>
                                      <p:rCtr x="0" y="1759"/>
                                    </p:animMotion>
                                  </p:childTnLst>
                                </p:cTn>
                              </p:par>
                              <p:par>
                                <p:cTn id="101" presetID="10" presetClass="entr" presetSubtype="0" fill="hold" grpId="0" nodeType="withEffect">
                                  <p:stCondLst>
                                    <p:cond delay="100"/>
                                  </p:stCondLst>
                                  <p:childTnLst>
                                    <p:set>
                                      <p:cBhvr>
                                        <p:cTn id="102" dur="1" fill="hold">
                                          <p:stCondLst>
                                            <p:cond delay="0"/>
                                          </p:stCondLst>
                                        </p:cTn>
                                        <p:tgtEl>
                                          <p:spTgt spid="71"/>
                                        </p:tgtEl>
                                        <p:attrNameLst>
                                          <p:attrName>style.visibility</p:attrName>
                                        </p:attrNameLst>
                                      </p:cBhvr>
                                      <p:to>
                                        <p:strVal val="visible"/>
                                      </p:to>
                                    </p:set>
                                    <p:animEffect transition="in" filter="fade">
                                      <p:cBhvr>
                                        <p:cTn id="103" dur="500"/>
                                        <p:tgtEl>
                                          <p:spTgt spid="71"/>
                                        </p:tgtEl>
                                      </p:cBhvr>
                                    </p:animEffect>
                                  </p:childTnLst>
                                </p:cTn>
                              </p:par>
                              <p:par>
                                <p:cTn id="104" presetID="42" presetClass="path" presetSubtype="0" decel="100000" fill="hold" grpId="1" nodeType="withEffect">
                                  <p:stCondLst>
                                    <p:cond delay="100"/>
                                  </p:stCondLst>
                                  <p:childTnLst>
                                    <p:animMotion origin="layout" path="M 0 3.7037E-7 L 0 0.03542 " pathEditMode="relative" rAng="0" ptsTypes="AA">
                                      <p:cBhvr>
                                        <p:cTn id="105" dur="700" spd="-100000" fill="hold"/>
                                        <p:tgtEl>
                                          <p:spTgt spid="71"/>
                                        </p:tgtEl>
                                        <p:attrNameLst>
                                          <p:attrName>ppt_x</p:attrName>
                                          <p:attrName>ppt_y</p:attrName>
                                        </p:attrNameLst>
                                      </p:cBhvr>
                                      <p:rCtr x="0" y="1759"/>
                                    </p:animMotion>
                                  </p:childTnLst>
                                </p:cTn>
                              </p:par>
                              <p:par>
                                <p:cTn id="106" presetID="10" presetClass="entr" presetSubtype="0" fill="hold" grpId="0" nodeType="withEffect">
                                  <p:stCondLst>
                                    <p:cond delay="100"/>
                                  </p:stCondLst>
                                  <p:childTnLst>
                                    <p:set>
                                      <p:cBhvr>
                                        <p:cTn id="107" dur="1" fill="hold">
                                          <p:stCondLst>
                                            <p:cond delay="0"/>
                                          </p:stCondLst>
                                        </p:cTn>
                                        <p:tgtEl>
                                          <p:spTgt spid="73"/>
                                        </p:tgtEl>
                                        <p:attrNameLst>
                                          <p:attrName>style.visibility</p:attrName>
                                        </p:attrNameLst>
                                      </p:cBhvr>
                                      <p:to>
                                        <p:strVal val="visible"/>
                                      </p:to>
                                    </p:set>
                                    <p:animEffect transition="in" filter="fade">
                                      <p:cBhvr>
                                        <p:cTn id="108" dur="500"/>
                                        <p:tgtEl>
                                          <p:spTgt spid="73"/>
                                        </p:tgtEl>
                                      </p:cBhvr>
                                    </p:animEffect>
                                  </p:childTnLst>
                                </p:cTn>
                              </p:par>
                              <p:par>
                                <p:cTn id="109" presetID="42" presetClass="path" presetSubtype="0" decel="100000" fill="hold" grpId="1" nodeType="withEffect">
                                  <p:stCondLst>
                                    <p:cond delay="100"/>
                                  </p:stCondLst>
                                  <p:childTnLst>
                                    <p:animMotion origin="layout" path="M 0 3.7037E-7 L 0 0.03542 " pathEditMode="relative" rAng="0" ptsTypes="AA">
                                      <p:cBhvr>
                                        <p:cTn id="110" dur="700" spd="-100000" fill="hold"/>
                                        <p:tgtEl>
                                          <p:spTgt spid="73"/>
                                        </p:tgtEl>
                                        <p:attrNameLst>
                                          <p:attrName>ppt_x</p:attrName>
                                          <p:attrName>ppt_y</p:attrName>
                                        </p:attrNameLst>
                                      </p:cBhvr>
                                      <p:rCtr x="0" y="1759"/>
                                    </p:animMotion>
                                  </p:childTnLst>
                                </p:cTn>
                              </p:par>
                              <p:par>
                                <p:cTn id="111" presetID="10" presetClass="entr" presetSubtype="0" fill="hold" grpId="0" nodeType="withEffect">
                                  <p:stCondLst>
                                    <p:cond delay="100"/>
                                  </p:stCondLst>
                                  <p:childTnLst>
                                    <p:set>
                                      <p:cBhvr>
                                        <p:cTn id="112" dur="1" fill="hold">
                                          <p:stCondLst>
                                            <p:cond delay="0"/>
                                          </p:stCondLst>
                                        </p:cTn>
                                        <p:tgtEl>
                                          <p:spTgt spid="67"/>
                                        </p:tgtEl>
                                        <p:attrNameLst>
                                          <p:attrName>style.visibility</p:attrName>
                                        </p:attrNameLst>
                                      </p:cBhvr>
                                      <p:to>
                                        <p:strVal val="visible"/>
                                      </p:to>
                                    </p:set>
                                    <p:animEffect transition="in" filter="fade">
                                      <p:cBhvr>
                                        <p:cTn id="113" dur="500"/>
                                        <p:tgtEl>
                                          <p:spTgt spid="67"/>
                                        </p:tgtEl>
                                      </p:cBhvr>
                                    </p:animEffect>
                                  </p:childTnLst>
                                </p:cTn>
                              </p:par>
                              <p:par>
                                <p:cTn id="114" presetID="42" presetClass="path" presetSubtype="0" decel="100000" fill="hold" grpId="1" nodeType="withEffect">
                                  <p:stCondLst>
                                    <p:cond delay="100"/>
                                  </p:stCondLst>
                                  <p:childTnLst>
                                    <p:animMotion origin="layout" path="M 0 3.7037E-7 L 0 0.03542 " pathEditMode="relative" rAng="0" ptsTypes="AA">
                                      <p:cBhvr>
                                        <p:cTn id="115" dur="700" spd="-100000" fill="hold"/>
                                        <p:tgtEl>
                                          <p:spTgt spid="67"/>
                                        </p:tgtEl>
                                        <p:attrNameLst>
                                          <p:attrName>ppt_x</p:attrName>
                                          <p:attrName>ppt_y</p:attrName>
                                        </p:attrNameLst>
                                      </p:cBhvr>
                                      <p:rCtr x="0" y="1759"/>
                                    </p:animMotion>
                                  </p:childTnLst>
                                </p:cTn>
                              </p:par>
                              <p:par>
                                <p:cTn id="116" presetID="10" presetClass="entr" presetSubtype="0" fill="hold" grpId="0" nodeType="withEffect">
                                  <p:stCondLst>
                                    <p:cond delay="100"/>
                                  </p:stCondLst>
                                  <p:childTnLst>
                                    <p:set>
                                      <p:cBhvr>
                                        <p:cTn id="117" dur="1" fill="hold">
                                          <p:stCondLst>
                                            <p:cond delay="0"/>
                                          </p:stCondLst>
                                        </p:cTn>
                                        <p:tgtEl>
                                          <p:spTgt spid="74"/>
                                        </p:tgtEl>
                                        <p:attrNameLst>
                                          <p:attrName>style.visibility</p:attrName>
                                        </p:attrNameLst>
                                      </p:cBhvr>
                                      <p:to>
                                        <p:strVal val="visible"/>
                                      </p:to>
                                    </p:set>
                                    <p:animEffect transition="in" filter="fade">
                                      <p:cBhvr>
                                        <p:cTn id="118" dur="500"/>
                                        <p:tgtEl>
                                          <p:spTgt spid="74"/>
                                        </p:tgtEl>
                                      </p:cBhvr>
                                    </p:animEffect>
                                  </p:childTnLst>
                                </p:cTn>
                              </p:par>
                              <p:par>
                                <p:cTn id="119" presetID="42" presetClass="path" presetSubtype="0" decel="100000" fill="hold" grpId="1" nodeType="withEffect">
                                  <p:stCondLst>
                                    <p:cond delay="100"/>
                                  </p:stCondLst>
                                  <p:childTnLst>
                                    <p:animMotion origin="layout" path="M 0 3.7037E-7 L 0 0.03542 " pathEditMode="relative" rAng="0" ptsTypes="AA">
                                      <p:cBhvr>
                                        <p:cTn id="120" dur="700" spd="-100000" fill="hold"/>
                                        <p:tgtEl>
                                          <p:spTgt spid="74"/>
                                        </p:tgtEl>
                                        <p:attrNameLst>
                                          <p:attrName>ppt_x</p:attrName>
                                          <p:attrName>ppt_y</p:attrName>
                                        </p:attrNameLst>
                                      </p:cBhvr>
                                      <p:rCtr x="0" y="1759"/>
                                    </p:animMotion>
                                  </p:childTnLst>
                                </p:cTn>
                              </p:par>
                              <p:par>
                                <p:cTn id="121" presetID="10" presetClass="entr" presetSubtype="0" fill="hold" grpId="0" nodeType="withEffect">
                                  <p:stCondLst>
                                    <p:cond delay="100"/>
                                  </p:stCondLst>
                                  <p:childTnLst>
                                    <p:set>
                                      <p:cBhvr>
                                        <p:cTn id="122" dur="1" fill="hold">
                                          <p:stCondLst>
                                            <p:cond delay="0"/>
                                          </p:stCondLst>
                                        </p:cTn>
                                        <p:tgtEl>
                                          <p:spTgt spid="68"/>
                                        </p:tgtEl>
                                        <p:attrNameLst>
                                          <p:attrName>style.visibility</p:attrName>
                                        </p:attrNameLst>
                                      </p:cBhvr>
                                      <p:to>
                                        <p:strVal val="visible"/>
                                      </p:to>
                                    </p:set>
                                    <p:animEffect transition="in" filter="fade">
                                      <p:cBhvr>
                                        <p:cTn id="123" dur="500"/>
                                        <p:tgtEl>
                                          <p:spTgt spid="68"/>
                                        </p:tgtEl>
                                      </p:cBhvr>
                                    </p:animEffect>
                                  </p:childTnLst>
                                </p:cTn>
                              </p:par>
                              <p:par>
                                <p:cTn id="124" presetID="42" presetClass="path" presetSubtype="0" decel="100000" fill="hold" grpId="1" nodeType="withEffect">
                                  <p:stCondLst>
                                    <p:cond delay="100"/>
                                  </p:stCondLst>
                                  <p:childTnLst>
                                    <p:animMotion origin="layout" path="M 0 3.7037E-7 L 0 0.03542 " pathEditMode="relative" rAng="0" ptsTypes="AA">
                                      <p:cBhvr>
                                        <p:cTn id="125" dur="700" spd="-100000" fill="hold"/>
                                        <p:tgtEl>
                                          <p:spTgt spid="6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21" grpId="0"/>
      <p:bldP spid="21" grpId="1"/>
      <p:bldP spid="22" grpId="0"/>
      <p:bldP spid="22" grpId="1"/>
      <p:bldP spid="23" grpId="0"/>
      <p:bldP spid="23" grpId="1"/>
      <p:bldP spid="24" grpId="0" animBg="1"/>
      <p:bldP spid="24" grpId="1" animBg="1"/>
      <p:bldP spid="61" grpId="0" animBg="1"/>
      <p:bldP spid="61" grpId="1" animBg="1"/>
      <p:bldP spid="66" grpId="0" animBg="1"/>
      <p:bldP spid="66" grpId="1" animBg="1"/>
      <p:bldP spid="67" grpId="0" animBg="1"/>
      <p:bldP spid="67" grpId="1" animBg="1"/>
      <p:bldP spid="68" grpId="0" animBg="1"/>
      <p:bldP spid="68" grpId="1" animBg="1"/>
      <p:bldP spid="69" grpId="0" animBg="1"/>
      <p:bldP spid="69" grpId="1" animBg="1"/>
      <p:bldP spid="70" grpId="0" animBg="1"/>
      <p:bldP spid="70" grpId="1" animBg="1"/>
      <p:bldP spid="71" grpId="0" animBg="1"/>
      <p:bldP spid="71" grpId="1" animBg="1"/>
      <p:bldP spid="72" grpId="0"/>
      <p:bldP spid="72" grpId="1"/>
      <p:bldP spid="73" grpId="0"/>
      <p:bldP spid="73" grpId="1"/>
      <p:bldP spid="74" grpId="0"/>
      <p:bldP spid="74" grpId="1"/>
      <p:bldP spid="76" grpId="0"/>
      <p:bldP spid="76" grpId="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050E21-C376-CEB4-4D98-A3E685FD2B2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E5BAAB6-76ED-520A-858B-2DBD0DD5F198}"/>
              </a:ext>
            </a:extLst>
          </p:cNvPr>
          <p:cNvSpPr>
            <a:spLocks noGrp="1"/>
          </p:cNvSpPr>
          <p:nvPr>
            <p:ph type="title"/>
          </p:nvPr>
        </p:nvSpPr>
        <p:spPr/>
        <p:txBody>
          <a:bodyPr/>
          <a:lstStyle/>
          <a:p>
            <a:r>
              <a:rPr lang="fr-fr"/>
              <a:t>Utilisation des agents (préversion)</a:t>
            </a:r>
          </a:p>
        </p:txBody>
      </p:sp>
      <p:sp>
        <p:nvSpPr>
          <p:cNvPr id="14" name="TextBox 13">
            <a:extLst>
              <a:ext uri="{FF2B5EF4-FFF2-40B4-BE49-F238E27FC236}">
                <a16:creationId xmlns:a16="http://schemas.microsoft.com/office/drawing/2014/main" id="{0A8C479D-E291-2E7C-5F5E-F5A8B0FA4063}"/>
              </a:ext>
            </a:extLst>
          </p:cNvPr>
          <p:cNvSpPr txBox="1"/>
          <p:nvPr/>
        </p:nvSpPr>
        <p:spPr>
          <a:xfrm>
            <a:off x="563186" y="1749203"/>
            <a:ext cx="7388118" cy="4355038"/>
          </a:xfrm>
          <a:prstGeom prst="rect">
            <a:avLst/>
          </a:prstGeom>
          <a:noFill/>
        </p:spPr>
        <p:txBody>
          <a:bodyPr wrap="square" lIns="0" tIns="0" rIns="0" bIns="0" anchor="t">
            <a:spAutoFit/>
          </a:bodyPr>
          <a:lstStyle/>
          <a:p>
            <a:pPr>
              <a:spcAft>
                <a:spcPts val="1200"/>
              </a:spcAft>
            </a:pPr>
            <a:r>
              <a:rPr lang="fr-fr" sz="2100">
                <a:solidFill>
                  <a:schemeClr val="bg1"/>
                </a:solidFill>
              </a:rPr>
              <a:t>Le rapport d’utilisation des agents permet de suivre la manière dont les agents sont utilisés dans Microsoft 365 Copilot Chat et les applications Microsoft 365.</a:t>
            </a:r>
          </a:p>
          <a:p>
            <a:pPr>
              <a:spcAft>
                <a:spcPts val="1200"/>
              </a:spcAft>
            </a:pPr>
            <a:r>
              <a:rPr lang="fr-fr" sz="2100">
                <a:solidFill>
                  <a:schemeClr val="bg1"/>
                </a:solidFill>
              </a:rPr>
              <a:t>Vous pouvez voir quels agents sont utilisés par les utilisateurs Microsoft 365 Copilot, qu’ils disposent d’une licence ou non, sur les 7 ou 30 derniers jours.</a:t>
            </a:r>
          </a:p>
          <a:p>
            <a:pPr>
              <a:spcAft>
                <a:spcPts val="1200"/>
              </a:spcAft>
            </a:pPr>
            <a:r>
              <a:rPr lang="fr-fr" sz="2100">
                <a:solidFill>
                  <a:schemeClr val="bg1"/>
                </a:solidFill>
              </a:rPr>
              <a:t>Les données d’utilisation sont disponibles environ une heure après l’interaction des utilisateurs avec les agents, et le rapport inclut les indicateurs clés suivants :</a:t>
            </a:r>
          </a:p>
          <a:p>
            <a:pPr marL="342900" indent="-342900">
              <a:spcAft>
                <a:spcPts val="600"/>
              </a:spcAft>
              <a:buFont typeface="Arial" panose="020B0604020202020204" pitchFamily="34" charset="0"/>
              <a:buChar char="•"/>
            </a:pPr>
            <a:r>
              <a:rPr lang="fr-fr" sz="1800">
                <a:solidFill>
                  <a:schemeClr val="bg1"/>
                </a:solidFill>
              </a:rPr>
              <a:t>Nombre total d’utilisateurs actifs et d’agents</a:t>
            </a:r>
          </a:p>
          <a:p>
            <a:pPr marL="342900" indent="-342900">
              <a:spcAft>
                <a:spcPts val="600"/>
              </a:spcAft>
              <a:buFont typeface="Arial" panose="020B0604020202020204" pitchFamily="34" charset="0"/>
              <a:buChar char="•"/>
            </a:pPr>
            <a:r>
              <a:rPr lang="fr-fr" sz="1800">
                <a:solidFill>
                  <a:schemeClr val="bg1"/>
                </a:solidFill>
              </a:rPr>
              <a:t>Résumé et série chronologique quotidienne</a:t>
            </a:r>
          </a:p>
          <a:p>
            <a:pPr marL="342900" indent="-342900">
              <a:spcAft>
                <a:spcPts val="600"/>
              </a:spcAft>
              <a:buFont typeface="Arial" panose="020B0604020202020204" pitchFamily="34" charset="0"/>
              <a:buChar char="•"/>
            </a:pPr>
            <a:r>
              <a:rPr lang="fr-fr" sz="1800">
                <a:solidFill>
                  <a:schemeClr val="bg1"/>
                </a:solidFill>
              </a:rPr>
              <a:t>Utilisation active par utilisateur, par agent et par paire agent-utilisateur</a:t>
            </a:r>
          </a:p>
        </p:txBody>
      </p:sp>
      <p:pic>
        <p:nvPicPr>
          <p:cNvPr id="6" name="Picture 5">
            <a:extLst>
              <a:ext uri="{FF2B5EF4-FFF2-40B4-BE49-F238E27FC236}">
                <a16:creationId xmlns:a16="http://schemas.microsoft.com/office/drawing/2014/main" id="{EF00D175-2352-B77E-0D87-E9EC94076072}"/>
              </a:ext>
            </a:extLst>
          </p:cNvPr>
          <p:cNvPicPr>
            <a:picLocks noChangeAspect="1"/>
          </p:cNvPicPr>
          <p:nvPr/>
        </p:nvPicPr>
        <p:blipFill>
          <a:blip r:embed="rId3"/>
          <a:stretch>
            <a:fillRect/>
          </a:stretch>
        </p:blipFill>
        <p:spPr>
          <a:xfrm>
            <a:off x="8474835" y="1445341"/>
            <a:ext cx="3419022" cy="29787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1B056007-E6D0-6AFD-F3BE-ABCAC3FE9427}"/>
              </a:ext>
            </a:extLst>
          </p:cNvPr>
          <p:cNvPicPr>
            <a:picLocks noChangeAspect="1"/>
          </p:cNvPicPr>
          <p:nvPr/>
        </p:nvPicPr>
        <p:blipFill>
          <a:blip r:embed="rId4"/>
          <a:stretch>
            <a:fillRect/>
          </a:stretch>
        </p:blipFill>
        <p:spPr>
          <a:xfrm>
            <a:off x="8474835" y="4629072"/>
            <a:ext cx="3419022" cy="174344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549574350"/>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D87ED3-B1B0-CABB-AC66-7075A89E7D9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6113ACA-9A71-061C-6268-0DB082DBCC7B}"/>
              </a:ext>
            </a:extLst>
          </p:cNvPr>
          <p:cNvSpPr>
            <a:spLocks noGrp="1"/>
          </p:cNvSpPr>
          <p:nvPr>
            <p:ph type="title"/>
          </p:nvPr>
        </p:nvSpPr>
        <p:spPr/>
        <p:txBody>
          <a:bodyPr/>
          <a:lstStyle/>
          <a:p>
            <a:r>
              <a:rPr lang="fr-fr"/>
              <a:t>Consommation de crédits (préversion)</a:t>
            </a:r>
          </a:p>
        </p:txBody>
      </p:sp>
      <p:sp>
        <p:nvSpPr>
          <p:cNvPr id="14" name="TextBox 13">
            <a:extLst>
              <a:ext uri="{FF2B5EF4-FFF2-40B4-BE49-F238E27FC236}">
                <a16:creationId xmlns:a16="http://schemas.microsoft.com/office/drawing/2014/main" id="{25C2552D-E063-D8FF-23C7-B66E1CD2DB4D}"/>
              </a:ext>
            </a:extLst>
          </p:cNvPr>
          <p:cNvSpPr txBox="1"/>
          <p:nvPr/>
        </p:nvSpPr>
        <p:spPr>
          <a:xfrm>
            <a:off x="563185" y="1749203"/>
            <a:ext cx="5927261" cy="4154984"/>
          </a:xfrm>
          <a:prstGeom prst="rect">
            <a:avLst/>
          </a:prstGeom>
          <a:noFill/>
        </p:spPr>
        <p:txBody>
          <a:bodyPr wrap="square" lIns="0" tIns="0" rIns="0" bIns="0" anchor="t">
            <a:spAutoFit/>
          </a:bodyPr>
          <a:lstStyle/>
          <a:p>
            <a:pPr>
              <a:spcAft>
                <a:spcPts val="1200"/>
              </a:spcAft>
            </a:pPr>
            <a:r>
              <a:rPr lang="fr-fr" sz="2200">
                <a:solidFill>
                  <a:schemeClr val="bg1"/>
                </a:solidFill>
              </a:rPr>
              <a:t>Les administrateurs peuvent surveiller l’utilisation des agents déclaratifs dans le MAC</a:t>
            </a:r>
          </a:p>
          <a:p>
            <a:pPr>
              <a:spcAft>
                <a:spcPts val="1200"/>
              </a:spcAft>
            </a:pPr>
            <a:r>
              <a:rPr lang="fr-fr" sz="2200">
                <a:solidFill>
                  <a:schemeClr val="bg1"/>
                </a:solidFill>
              </a:rPr>
              <a:t>Comprend l’utilisation des </a:t>
            </a:r>
            <a:r>
              <a:rPr lang="fr-fr" sz="2200" b="1">
                <a:solidFill>
                  <a:schemeClr val="bg1"/>
                </a:solidFill>
              </a:rPr>
              <a:t>agents déclaratifs </a:t>
            </a:r>
            <a:r>
              <a:rPr lang="fr-fr" sz="2200">
                <a:solidFill>
                  <a:schemeClr val="bg1"/>
                </a:solidFill>
              </a:rPr>
              <a:t>utilisant les données de l’organisation ou d’autres fonctionnalités facturables, telles </a:t>
            </a:r>
            <a:br>
              <a:rPr lang="fr-fr" sz="2200">
                <a:solidFill>
                  <a:schemeClr val="bg1"/>
                </a:solidFill>
              </a:rPr>
            </a:br>
            <a:r>
              <a:rPr lang="fr-fr" sz="2200">
                <a:solidFill>
                  <a:schemeClr val="bg1"/>
                </a:solidFill>
              </a:rPr>
              <a:t>que les outils utilisés par des utilisateurs ne disposant pas de licence Microsoft 365 Copilot</a:t>
            </a:r>
          </a:p>
          <a:p>
            <a:pPr>
              <a:spcAft>
                <a:spcPts val="1200"/>
              </a:spcAft>
            </a:pPr>
            <a:r>
              <a:rPr lang="fr-fr" sz="2200">
                <a:solidFill>
                  <a:schemeClr val="bg1"/>
                </a:solidFill>
              </a:rPr>
              <a:t>Possibilité de visualiser l’utilisation au niveau </a:t>
            </a:r>
            <a:br>
              <a:rPr lang="fr-fr" sz="2200">
                <a:solidFill>
                  <a:schemeClr val="bg1"/>
                </a:solidFill>
              </a:rPr>
            </a:br>
            <a:r>
              <a:rPr lang="fr-fr" sz="2200">
                <a:solidFill>
                  <a:schemeClr val="bg1"/>
                </a:solidFill>
              </a:rPr>
              <a:t>des utilisateurs, des agents, des politiques </a:t>
            </a:r>
            <a:br>
              <a:rPr lang="fr-fr" sz="2200">
                <a:solidFill>
                  <a:schemeClr val="bg1"/>
                </a:solidFill>
              </a:rPr>
            </a:br>
            <a:r>
              <a:rPr lang="fr-fr" sz="2200">
                <a:solidFill>
                  <a:schemeClr val="bg1"/>
                </a:solidFill>
              </a:rPr>
              <a:t>de facturation, ainsi qu’au niveau combiné </a:t>
            </a:r>
            <a:br>
              <a:rPr lang="fr-fr" sz="2200">
                <a:solidFill>
                  <a:schemeClr val="bg1"/>
                </a:solidFill>
              </a:rPr>
            </a:br>
            <a:r>
              <a:rPr lang="fr-fr" sz="2200">
                <a:solidFill>
                  <a:schemeClr val="bg1"/>
                </a:solidFill>
              </a:rPr>
              <a:t>des utilisateurs et agents</a:t>
            </a:r>
          </a:p>
        </p:txBody>
      </p:sp>
      <p:pic>
        <p:nvPicPr>
          <p:cNvPr id="2" name="Picture 1">
            <a:extLst>
              <a:ext uri="{FF2B5EF4-FFF2-40B4-BE49-F238E27FC236}">
                <a16:creationId xmlns:a16="http://schemas.microsoft.com/office/drawing/2014/main" id="{00776601-F859-755A-E214-A27858E6F5D0}"/>
              </a:ext>
            </a:extLst>
          </p:cNvPr>
          <p:cNvPicPr>
            <a:picLocks noChangeAspect="1"/>
          </p:cNvPicPr>
          <p:nvPr/>
        </p:nvPicPr>
        <p:blipFill>
          <a:blip r:embed="rId3"/>
          <a:stretch>
            <a:fillRect/>
          </a:stretch>
        </p:blipFill>
        <p:spPr>
          <a:xfrm>
            <a:off x="6707424" y="3967955"/>
            <a:ext cx="5274508" cy="2550002"/>
          </a:xfrm>
          <a:prstGeom prst="roundRect">
            <a:avLst>
              <a:gd name="adj" fmla="val 4162"/>
            </a:avLst>
          </a:prstGeom>
          <a:solidFill>
            <a:srgbClr val="FFFFFF">
              <a:shade val="85000"/>
            </a:srgbClr>
          </a:solidFill>
          <a:ln>
            <a:noFill/>
          </a:ln>
          <a:effectLst>
            <a:reflection blurRad="12700" stA="38000" endPos="28000" dist="5000" dir="5400000" sy="-100000" algn="bl" rotWithShape="0"/>
          </a:effectLst>
        </p:spPr>
      </p:pic>
      <p:pic>
        <p:nvPicPr>
          <p:cNvPr id="7" name="Picture 6">
            <a:extLst>
              <a:ext uri="{FF2B5EF4-FFF2-40B4-BE49-F238E27FC236}">
                <a16:creationId xmlns:a16="http://schemas.microsoft.com/office/drawing/2014/main" id="{11325F40-3B54-BBD3-6447-25784486BE2B}"/>
              </a:ext>
            </a:extLst>
          </p:cNvPr>
          <p:cNvPicPr>
            <a:picLocks noChangeAspect="1"/>
          </p:cNvPicPr>
          <p:nvPr/>
        </p:nvPicPr>
        <p:blipFill>
          <a:blip r:embed="rId4"/>
          <a:stretch>
            <a:fillRect/>
          </a:stretch>
        </p:blipFill>
        <p:spPr>
          <a:xfrm>
            <a:off x="7431905" y="1086477"/>
            <a:ext cx="3825546" cy="2779079"/>
          </a:xfrm>
          <a:prstGeom prst="roundRect">
            <a:avLst>
              <a:gd name="adj" fmla="val 3201"/>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554351421"/>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FC047E-3EE7-82C9-DF60-0DAAADE5356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DD2FAE1-66D7-782F-8CE2-8B1860F36C04}"/>
              </a:ext>
            </a:extLst>
          </p:cNvPr>
          <p:cNvSpPr>
            <a:spLocks noGrp="1"/>
          </p:cNvSpPr>
          <p:nvPr>
            <p:ph type="title"/>
          </p:nvPr>
        </p:nvSpPr>
        <p:spPr/>
        <p:txBody>
          <a:bodyPr/>
          <a:lstStyle/>
          <a:p>
            <a:r>
              <a:rPr lang="fr-fr"/>
              <a:t>Consultation de la capacité et de la consommation des crédits (PPAC)</a:t>
            </a:r>
          </a:p>
        </p:txBody>
      </p:sp>
      <p:sp>
        <p:nvSpPr>
          <p:cNvPr id="14" name="TextBox 13">
            <a:extLst>
              <a:ext uri="{FF2B5EF4-FFF2-40B4-BE49-F238E27FC236}">
                <a16:creationId xmlns:a16="http://schemas.microsoft.com/office/drawing/2014/main" id="{6BA13230-480D-5156-686C-1D57978BB588}"/>
              </a:ext>
            </a:extLst>
          </p:cNvPr>
          <p:cNvSpPr txBox="1"/>
          <p:nvPr/>
        </p:nvSpPr>
        <p:spPr>
          <a:xfrm>
            <a:off x="563186" y="1749203"/>
            <a:ext cx="5386202" cy="4031873"/>
          </a:xfrm>
          <a:prstGeom prst="rect">
            <a:avLst/>
          </a:prstGeom>
          <a:noFill/>
        </p:spPr>
        <p:txBody>
          <a:bodyPr wrap="square" lIns="0" tIns="0" rIns="0" bIns="0" anchor="t">
            <a:spAutoFit/>
          </a:bodyPr>
          <a:lstStyle/>
          <a:p>
            <a:pPr>
              <a:spcAft>
                <a:spcPts val="1200"/>
              </a:spcAft>
            </a:pPr>
            <a:r>
              <a:rPr lang="fr-fr" sz="2200">
                <a:solidFill>
                  <a:schemeClr val="bg1"/>
                </a:solidFill>
              </a:rPr>
              <a:t>Vous pouvez surveiller l’utilisation des messages Copilot Studio dans Licences &gt; Produits &gt; Copilot Studio</a:t>
            </a:r>
          </a:p>
          <a:p>
            <a:pPr>
              <a:spcAft>
                <a:spcPts val="1200"/>
              </a:spcAft>
            </a:pPr>
            <a:r>
              <a:rPr lang="fr-fr" sz="2200">
                <a:solidFill>
                  <a:schemeClr val="bg1"/>
                </a:solidFill>
              </a:rPr>
              <a:t>Des détails sont fournis dans l’onglet </a:t>
            </a:r>
            <a:br>
              <a:rPr lang="fr-fr" sz="2200">
                <a:solidFill>
                  <a:schemeClr val="bg1"/>
                </a:solidFill>
              </a:rPr>
            </a:br>
            <a:r>
              <a:rPr lang="fr-fr" sz="2200">
                <a:solidFill>
                  <a:schemeClr val="bg1"/>
                </a:solidFill>
              </a:rPr>
              <a:t>de capacité des messages, pour la consommation prépayée ainsi que </a:t>
            </a:r>
            <a:br>
              <a:rPr lang="fr-fr" sz="2200">
                <a:solidFill>
                  <a:schemeClr val="bg1"/>
                </a:solidFill>
              </a:rPr>
            </a:br>
            <a:r>
              <a:rPr lang="fr-fr" sz="2200">
                <a:solidFill>
                  <a:schemeClr val="bg1"/>
                </a:solidFill>
              </a:rPr>
              <a:t>la consommation à l’utilisation, pour </a:t>
            </a:r>
            <a:br>
              <a:rPr lang="fr-fr" sz="2200">
                <a:solidFill>
                  <a:schemeClr val="bg1"/>
                </a:solidFill>
              </a:rPr>
            </a:br>
            <a:r>
              <a:rPr lang="fr-fr" sz="2200">
                <a:solidFill>
                  <a:schemeClr val="bg1"/>
                </a:solidFill>
              </a:rPr>
              <a:t>le mois en cours, les deux derniers </a:t>
            </a:r>
            <a:br>
              <a:rPr lang="fr-fr" sz="2200">
                <a:solidFill>
                  <a:schemeClr val="bg1"/>
                </a:solidFill>
              </a:rPr>
            </a:br>
            <a:r>
              <a:rPr lang="fr-fr" sz="2200">
                <a:solidFill>
                  <a:schemeClr val="bg1"/>
                </a:solidFill>
              </a:rPr>
              <a:t>mois et les 12 derniers mois</a:t>
            </a:r>
          </a:p>
          <a:p>
            <a:pPr>
              <a:spcAft>
                <a:spcPts val="1200"/>
              </a:spcAft>
            </a:pPr>
            <a:r>
              <a:rPr lang="fr-fr" sz="2200">
                <a:solidFill>
                  <a:schemeClr val="bg1"/>
                </a:solidFill>
              </a:rPr>
              <a:t>Les rapports peuvent être téléchargés </a:t>
            </a:r>
            <a:br>
              <a:rPr lang="fr-fr" sz="2200">
                <a:solidFill>
                  <a:schemeClr val="bg1"/>
                </a:solidFill>
              </a:rPr>
            </a:br>
            <a:r>
              <a:rPr lang="fr-fr" sz="2200">
                <a:solidFill>
                  <a:schemeClr val="bg1"/>
                </a:solidFill>
              </a:rPr>
              <a:t>au format Excel </a:t>
            </a:r>
          </a:p>
        </p:txBody>
      </p:sp>
      <p:pic>
        <p:nvPicPr>
          <p:cNvPr id="2" name="Picture 1" descr="Image de l’écran de capacité de message dans Copilot Studio">
            <a:extLst>
              <a:ext uri="{FF2B5EF4-FFF2-40B4-BE49-F238E27FC236}">
                <a16:creationId xmlns:a16="http://schemas.microsoft.com/office/drawing/2014/main" id="{B8819659-E1B6-E8D0-3B98-1CE5F7D7ED7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183313" y="1749203"/>
            <a:ext cx="5782003" cy="3251060"/>
          </a:xfrm>
          <a:prstGeom prst="roundRect">
            <a:avLst>
              <a:gd name="adj" fmla="val 3872"/>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019747545"/>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C5501-A798-ED73-9BDD-57E68971ADB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A8D7F78-949A-6BA8-B74B-AE05B727A701}"/>
              </a:ext>
            </a:extLst>
          </p:cNvPr>
          <p:cNvSpPr>
            <a:spLocks noGrp="1"/>
          </p:cNvSpPr>
          <p:nvPr>
            <p:ph type="title"/>
          </p:nvPr>
        </p:nvSpPr>
        <p:spPr/>
        <p:txBody>
          <a:bodyPr/>
          <a:lstStyle/>
          <a:p>
            <a:r>
              <a:rPr lang="fr-fr"/>
              <a:t>Rapports des crédits Copilot téléchargeables</a:t>
            </a:r>
          </a:p>
        </p:txBody>
      </p:sp>
      <p:sp>
        <p:nvSpPr>
          <p:cNvPr id="14" name="TextBox 13">
            <a:extLst>
              <a:ext uri="{FF2B5EF4-FFF2-40B4-BE49-F238E27FC236}">
                <a16:creationId xmlns:a16="http://schemas.microsoft.com/office/drawing/2014/main" id="{96370BDF-0BD6-4AF1-217D-139E25354B44}"/>
              </a:ext>
            </a:extLst>
          </p:cNvPr>
          <p:cNvSpPr txBox="1"/>
          <p:nvPr/>
        </p:nvSpPr>
        <p:spPr>
          <a:xfrm>
            <a:off x="563185" y="1749203"/>
            <a:ext cx="5062111" cy="2369880"/>
          </a:xfrm>
          <a:prstGeom prst="rect">
            <a:avLst/>
          </a:prstGeom>
          <a:noFill/>
        </p:spPr>
        <p:txBody>
          <a:bodyPr wrap="square" lIns="0" tIns="0" rIns="0" bIns="0" anchor="t">
            <a:spAutoFit/>
          </a:bodyPr>
          <a:lstStyle/>
          <a:p>
            <a:pPr>
              <a:spcAft>
                <a:spcPts val="1200"/>
              </a:spcAft>
            </a:pPr>
            <a:r>
              <a:rPr lang="fr-fr" sz="2400">
                <a:solidFill>
                  <a:schemeClr val="bg1"/>
                </a:solidFill>
              </a:rPr>
              <a:t>Les administrateurs peuvent télécharger des rapports de crédits Copilot au niveau des </a:t>
            </a:r>
            <a:r>
              <a:rPr lang="fr-fr" sz="2400" b="1">
                <a:solidFill>
                  <a:schemeClr val="bg1"/>
                </a:solidFill>
              </a:rPr>
              <a:t>agents</a:t>
            </a:r>
            <a:r>
              <a:rPr lang="fr-fr" sz="2400">
                <a:solidFill>
                  <a:schemeClr val="bg1"/>
                </a:solidFill>
              </a:rPr>
              <a:t> </a:t>
            </a:r>
            <a:br>
              <a:rPr lang="fr-fr" sz="2400">
                <a:solidFill>
                  <a:schemeClr val="bg1"/>
                </a:solidFill>
              </a:rPr>
            </a:br>
            <a:r>
              <a:rPr lang="fr-fr" sz="2400">
                <a:solidFill>
                  <a:schemeClr val="bg1"/>
                </a:solidFill>
              </a:rPr>
              <a:t>et des </a:t>
            </a:r>
            <a:r>
              <a:rPr lang="fr-fr" sz="2400" b="1">
                <a:solidFill>
                  <a:schemeClr val="bg1"/>
                </a:solidFill>
              </a:rPr>
              <a:t>utilisateurs</a:t>
            </a:r>
          </a:p>
          <a:p>
            <a:pPr>
              <a:spcAft>
                <a:spcPts val="1200"/>
              </a:spcAft>
            </a:pPr>
            <a:r>
              <a:rPr lang="fr-fr" sz="2400">
                <a:solidFill>
                  <a:schemeClr val="bg1"/>
                </a:solidFill>
              </a:rPr>
              <a:t>Jusqu’à 180 jours d’historique consultable</a:t>
            </a:r>
          </a:p>
        </p:txBody>
      </p:sp>
      <p:pic>
        <p:nvPicPr>
          <p:cNvPr id="7" name="Picture 6">
            <a:extLst>
              <a:ext uri="{FF2B5EF4-FFF2-40B4-BE49-F238E27FC236}">
                <a16:creationId xmlns:a16="http://schemas.microsoft.com/office/drawing/2014/main" id="{C0047A8E-F4C8-0DAF-711C-C4C85A1BD5D0}"/>
              </a:ext>
            </a:extLst>
          </p:cNvPr>
          <p:cNvPicPr>
            <a:picLocks noChangeAspect="1"/>
          </p:cNvPicPr>
          <p:nvPr/>
        </p:nvPicPr>
        <p:blipFill>
          <a:blip r:embed="rId3"/>
          <a:stretch>
            <a:fillRect/>
          </a:stretch>
        </p:blipFill>
        <p:spPr>
          <a:xfrm>
            <a:off x="5729469" y="1749203"/>
            <a:ext cx="6096091" cy="3177117"/>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7A63AAE7-A0DC-7DF3-4DA3-69F29166C32F}"/>
              </a:ext>
            </a:extLst>
          </p:cNvPr>
          <p:cNvPicPr>
            <a:picLocks noChangeAspect="1"/>
          </p:cNvPicPr>
          <p:nvPr/>
        </p:nvPicPr>
        <p:blipFill>
          <a:blip r:embed="rId4"/>
          <a:stretch>
            <a:fillRect/>
          </a:stretch>
        </p:blipFill>
        <p:spPr>
          <a:xfrm>
            <a:off x="4116009" y="4004841"/>
            <a:ext cx="7305579" cy="2367678"/>
          </a:xfrm>
          <a:prstGeom prst="rect">
            <a:avLst/>
          </a:prstGeom>
        </p:spPr>
      </p:pic>
    </p:spTree>
    <p:extLst>
      <p:ext uri="{BB962C8B-B14F-4D97-AF65-F5344CB8AC3E}">
        <p14:creationId xmlns:p14="http://schemas.microsoft.com/office/powerpoint/2010/main" val="626488068"/>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708510-AAAD-9624-552B-E9BDF291155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551687B-E9C4-05CB-BD31-67BC4928D763}"/>
              </a:ext>
            </a:extLst>
          </p:cNvPr>
          <p:cNvSpPr>
            <a:spLocks noGrp="1"/>
          </p:cNvSpPr>
          <p:nvPr>
            <p:ph type="title"/>
          </p:nvPr>
        </p:nvSpPr>
        <p:spPr/>
        <p:txBody>
          <a:bodyPr/>
          <a:lstStyle/>
          <a:p>
            <a:r>
              <a:rPr lang="fr-fr" b="1"/>
              <a:t>Inventaire des agents </a:t>
            </a:r>
            <a:r>
              <a:rPr lang="fr-fr" b="1" err="1"/>
              <a:t>Copilot</a:t>
            </a:r>
            <a:r>
              <a:rPr lang="fr-fr" b="1"/>
              <a:t> Studio dans le PPAC</a:t>
            </a:r>
            <a:r>
              <a:rPr lang="fr-fr"/>
              <a:t> (préversion) </a:t>
            </a:r>
          </a:p>
        </p:txBody>
      </p:sp>
      <p:pic>
        <p:nvPicPr>
          <p:cNvPr id="5" name="Picture 4" descr="Capture d’écran d’un ordinateur  Le contenu généré par IA peut être incorrect.">
            <a:extLst>
              <a:ext uri="{FF2B5EF4-FFF2-40B4-BE49-F238E27FC236}">
                <a16:creationId xmlns:a16="http://schemas.microsoft.com/office/drawing/2014/main" id="{9768F2BC-88D3-3729-593D-B9B759E9A05C}"/>
              </a:ext>
            </a:extLst>
          </p:cNvPr>
          <p:cNvPicPr>
            <a:picLocks noChangeAspect="1"/>
          </p:cNvPicPr>
          <p:nvPr/>
        </p:nvPicPr>
        <p:blipFill>
          <a:blip r:embed="rId3"/>
          <a:stretch>
            <a:fillRect/>
          </a:stretch>
        </p:blipFill>
        <p:spPr>
          <a:xfrm>
            <a:off x="5657850" y="1749203"/>
            <a:ext cx="6294120" cy="2776579"/>
          </a:xfrm>
          <a:prstGeom prst="roundRect">
            <a:avLst>
              <a:gd name="adj" fmla="val 2856"/>
            </a:avLst>
          </a:prstGeom>
          <a:solidFill>
            <a:srgbClr val="FFFFFF">
              <a:shade val="85000"/>
            </a:srgbClr>
          </a:solidFill>
          <a:ln>
            <a:noFill/>
          </a:ln>
          <a:effectLst>
            <a:reflection blurRad="12700" stA="38000" endPos="28000" dist="5000" dir="5400000" sy="-100000" algn="bl" rotWithShape="0"/>
          </a:effectLst>
        </p:spPr>
      </p:pic>
      <p:sp>
        <p:nvSpPr>
          <p:cNvPr id="8" name="TextBox 7">
            <a:extLst>
              <a:ext uri="{FF2B5EF4-FFF2-40B4-BE49-F238E27FC236}">
                <a16:creationId xmlns:a16="http://schemas.microsoft.com/office/drawing/2014/main" id="{97602A16-43C6-2F6F-C037-E94CD2FA5669}"/>
              </a:ext>
            </a:extLst>
          </p:cNvPr>
          <p:cNvSpPr txBox="1"/>
          <p:nvPr/>
        </p:nvSpPr>
        <p:spPr>
          <a:xfrm>
            <a:off x="563185" y="1749203"/>
            <a:ext cx="4797485" cy="4216539"/>
          </a:xfrm>
          <a:prstGeom prst="rect">
            <a:avLst/>
          </a:prstGeom>
          <a:noFill/>
        </p:spPr>
        <p:txBody>
          <a:bodyPr wrap="square" lIns="0" tIns="0" rIns="0" bIns="0" anchor="t">
            <a:spAutoFit/>
          </a:bodyPr>
          <a:lstStyle/>
          <a:p>
            <a:pPr>
              <a:spcAft>
                <a:spcPts val="1200"/>
              </a:spcAft>
            </a:pPr>
            <a:r>
              <a:rPr lang="fr-fr" sz="2400">
                <a:solidFill>
                  <a:schemeClr val="bg1"/>
                </a:solidFill>
              </a:rPr>
              <a:t>Le centre d’administration Power Platform propose désormais une expérience d’inventaire des agents améliorée, permettant aux administrateurs informatiques </a:t>
            </a:r>
            <a:br>
              <a:rPr lang="fr-fr" sz="2400">
                <a:solidFill>
                  <a:schemeClr val="bg1"/>
                </a:solidFill>
              </a:rPr>
            </a:br>
            <a:r>
              <a:rPr lang="fr-fr" sz="2400">
                <a:solidFill>
                  <a:schemeClr val="bg1"/>
                </a:solidFill>
              </a:rPr>
              <a:t>de disposer d’une visibilité complète sur tous les agents Microsoft Copilot Studio créés dans l’environnement du locataire</a:t>
            </a:r>
          </a:p>
          <a:p>
            <a:pPr>
              <a:spcAft>
                <a:spcPts val="1200"/>
              </a:spcAft>
            </a:pPr>
            <a:r>
              <a:rPr lang="fr-fr" sz="2400">
                <a:solidFill>
                  <a:schemeClr val="bg1"/>
                </a:solidFill>
              </a:rPr>
              <a:t>Nécessite l’activation des analyses au niveau du locataire</a:t>
            </a:r>
          </a:p>
        </p:txBody>
      </p:sp>
    </p:spTree>
    <p:extLst>
      <p:ext uri="{BB962C8B-B14F-4D97-AF65-F5344CB8AC3E}">
        <p14:creationId xmlns:p14="http://schemas.microsoft.com/office/powerpoint/2010/main" val="2536969398"/>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AEBD5A-F89E-5689-F61B-0F444B4CC99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5AF1C57-BCC6-3503-D93A-7606D35185BF}"/>
              </a:ext>
            </a:extLst>
          </p:cNvPr>
          <p:cNvSpPr>
            <a:spLocks noGrp="1"/>
          </p:cNvSpPr>
          <p:nvPr>
            <p:ph type="title"/>
          </p:nvPr>
        </p:nvSpPr>
        <p:spPr/>
        <p:txBody>
          <a:bodyPr/>
          <a:lstStyle/>
          <a:p>
            <a:r>
              <a:rPr lang="fr-fr"/>
              <a:t>Informations sur les agents SharePoint </a:t>
            </a:r>
          </a:p>
        </p:txBody>
      </p:sp>
      <p:sp>
        <p:nvSpPr>
          <p:cNvPr id="14" name="TextBox 13">
            <a:extLst>
              <a:ext uri="{FF2B5EF4-FFF2-40B4-BE49-F238E27FC236}">
                <a16:creationId xmlns:a16="http://schemas.microsoft.com/office/drawing/2014/main" id="{45D743BB-44B2-E0E7-5252-B3163551226A}"/>
              </a:ext>
            </a:extLst>
          </p:cNvPr>
          <p:cNvSpPr txBox="1"/>
          <p:nvPr/>
        </p:nvSpPr>
        <p:spPr>
          <a:xfrm>
            <a:off x="563185" y="1749203"/>
            <a:ext cx="6809165" cy="4524315"/>
          </a:xfrm>
          <a:prstGeom prst="rect">
            <a:avLst/>
          </a:prstGeom>
          <a:noFill/>
        </p:spPr>
        <p:txBody>
          <a:bodyPr wrap="square" lIns="0" tIns="0" rIns="0" bIns="0" anchor="t">
            <a:spAutoFit/>
          </a:bodyPr>
          <a:lstStyle/>
          <a:p>
            <a:pPr>
              <a:spcAft>
                <a:spcPts val="1200"/>
              </a:spcAft>
            </a:pPr>
            <a:r>
              <a:rPr lang="fr-fr" sz="2000">
                <a:solidFill>
                  <a:schemeClr val="bg1"/>
                </a:solidFill>
              </a:rPr>
              <a:t>Les rapports d’informations sur les agents dans le centre d’administration SharePoint fournissent des informations détaillées sur l’utilisation des agents à travers les sites</a:t>
            </a:r>
          </a:p>
          <a:p>
            <a:pPr>
              <a:spcAft>
                <a:spcPts val="1200"/>
              </a:spcAft>
            </a:pPr>
            <a:r>
              <a:rPr lang="fr-fr" sz="2000">
                <a:solidFill>
                  <a:schemeClr val="bg1"/>
                </a:solidFill>
              </a:rPr>
              <a:t>Ils </a:t>
            </a:r>
            <a:r>
              <a:rPr lang="fr-FR" sz="2000">
                <a:solidFill>
                  <a:schemeClr val="bg1"/>
                </a:solidFill>
              </a:rPr>
              <a:t>indiquent</a:t>
            </a:r>
            <a:r>
              <a:rPr lang="fr-fr" sz="2000">
                <a:solidFill>
                  <a:schemeClr val="bg1"/>
                </a:solidFill>
              </a:rPr>
              <a:t> le nombre d’agents créés, ainsi que des détails </a:t>
            </a:r>
            <a:br>
              <a:rPr lang="fr-fr" sz="2000">
                <a:solidFill>
                  <a:schemeClr val="bg1"/>
                </a:solidFill>
              </a:rPr>
            </a:br>
            <a:r>
              <a:rPr lang="fr-fr" sz="2000">
                <a:solidFill>
                  <a:schemeClr val="bg1"/>
                </a:solidFill>
              </a:rPr>
              <a:t>sur les stratégies associées à un site, telles que la découverte de contenu limitée et le contrôle d’accès restreint ​</a:t>
            </a:r>
          </a:p>
          <a:p>
            <a:pPr>
              <a:spcAft>
                <a:spcPts val="1200"/>
              </a:spcAft>
            </a:pPr>
            <a:r>
              <a:rPr lang="fr-fr" sz="2000">
                <a:solidFill>
                  <a:schemeClr val="bg1"/>
                </a:solidFill>
              </a:rPr>
              <a:t>Le rapport doit être généré pour un historique maximal </a:t>
            </a:r>
            <a:br>
              <a:rPr lang="fr-fr" sz="2000">
                <a:solidFill>
                  <a:schemeClr val="bg1"/>
                </a:solidFill>
              </a:rPr>
            </a:br>
            <a:r>
              <a:rPr lang="fr-fr" sz="2000">
                <a:solidFill>
                  <a:schemeClr val="bg1"/>
                </a:solidFill>
              </a:rPr>
              <a:t>de 28 jours ​</a:t>
            </a:r>
          </a:p>
          <a:p>
            <a:pPr>
              <a:spcAft>
                <a:spcPts val="1200"/>
              </a:spcAft>
            </a:pPr>
            <a:r>
              <a:rPr lang="fr-fr" sz="2000">
                <a:solidFill>
                  <a:schemeClr val="bg1"/>
                </a:solidFill>
              </a:rPr>
              <a:t>Téléchargeable pour une analyse plus approfondie​</a:t>
            </a:r>
          </a:p>
          <a:p>
            <a:pPr>
              <a:spcAft>
                <a:spcPts val="600"/>
              </a:spcAft>
            </a:pPr>
            <a:r>
              <a:rPr lang="fr-fr" sz="2000">
                <a:solidFill>
                  <a:schemeClr val="bg1"/>
                </a:solidFill>
              </a:rPr>
              <a:t>Disponible également via des commandes PowerShell​</a:t>
            </a:r>
          </a:p>
          <a:p>
            <a:pPr marL="342900" indent="-342900">
              <a:spcAft>
                <a:spcPts val="600"/>
              </a:spcAft>
              <a:buFont typeface="Arial" panose="020B0604020202020204" pitchFamily="34" charset="0"/>
              <a:buChar char="•"/>
            </a:pPr>
            <a:r>
              <a:rPr lang="fr-fr" sz="1800">
                <a:solidFill>
                  <a:schemeClr val="bg1"/>
                </a:solidFill>
              </a:rPr>
              <a:t>Start-SPOCopilotAgentInsightsReport​</a:t>
            </a:r>
          </a:p>
          <a:p>
            <a:pPr marL="342900" indent="-342900">
              <a:spcAft>
                <a:spcPts val="600"/>
              </a:spcAft>
              <a:buFont typeface="Arial" panose="020B0604020202020204" pitchFamily="34" charset="0"/>
              <a:buChar char="•"/>
            </a:pPr>
            <a:r>
              <a:rPr lang="fr-fr" sz="1800">
                <a:solidFill>
                  <a:schemeClr val="bg1"/>
                </a:solidFill>
              </a:rPr>
              <a:t>Get-SPOCopilotAgentInsightsReport </a:t>
            </a:r>
            <a:r>
              <a:rPr lang="fr-fr" sz="2000">
                <a:solidFill>
                  <a:schemeClr val="bg1"/>
                </a:solidFill>
              </a:rPr>
              <a:t>​</a:t>
            </a:r>
          </a:p>
        </p:txBody>
      </p:sp>
      <p:pic>
        <p:nvPicPr>
          <p:cNvPr id="12" name="Picture 11">
            <a:extLst>
              <a:ext uri="{FF2B5EF4-FFF2-40B4-BE49-F238E27FC236}">
                <a16:creationId xmlns:a16="http://schemas.microsoft.com/office/drawing/2014/main" id="{5467A5BA-9705-DA59-801A-EBA6762A6025}"/>
              </a:ext>
            </a:extLst>
          </p:cNvPr>
          <p:cNvPicPr>
            <a:picLocks noChangeAspect="1"/>
          </p:cNvPicPr>
          <p:nvPr/>
        </p:nvPicPr>
        <p:blipFill>
          <a:blip r:embed="rId3"/>
          <a:stretch>
            <a:fillRect/>
          </a:stretch>
        </p:blipFill>
        <p:spPr>
          <a:xfrm>
            <a:off x="7462376" y="1574342"/>
            <a:ext cx="4443287" cy="208591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4197830A-7CAA-D650-9E07-C9A4851F758D}"/>
              </a:ext>
            </a:extLst>
          </p:cNvPr>
          <p:cNvPicPr>
            <a:picLocks noChangeAspect="1"/>
          </p:cNvPicPr>
          <p:nvPr/>
        </p:nvPicPr>
        <p:blipFill>
          <a:blip r:embed="rId4"/>
          <a:stretch>
            <a:fillRect/>
          </a:stretch>
        </p:blipFill>
        <p:spPr>
          <a:xfrm>
            <a:off x="8371769" y="3786121"/>
            <a:ext cx="2624503" cy="258639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814270143"/>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5FE07-0937-F796-1F04-08A3DC27CE2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17731C6-3EEB-8DE8-7B63-32C908B03467}"/>
              </a:ext>
            </a:extLst>
          </p:cNvPr>
          <p:cNvSpPr>
            <a:spLocks noGrp="1"/>
          </p:cNvSpPr>
          <p:nvPr>
            <p:ph type="title"/>
          </p:nvPr>
        </p:nvSpPr>
        <p:spPr>
          <a:xfrm>
            <a:off x="588263" y="485481"/>
            <a:ext cx="11316866" cy="498598"/>
          </a:xfrm>
        </p:spPr>
        <p:txBody>
          <a:bodyPr/>
          <a:lstStyle/>
          <a:p>
            <a:r>
              <a:rPr lang="fr-fr"/>
              <a:t>Agents </a:t>
            </a:r>
            <a:r>
              <a:rPr lang="fr-fr" err="1"/>
              <a:t>Copilot</a:t>
            </a:r>
            <a:r>
              <a:rPr lang="fr-fr"/>
              <a:t> Studio dans Viva Insights (préversion) </a:t>
            </a:r>
          </a:p>
        </p:txBody>
      </p:sp>
      <p:sp>
        <p:nvSpPr>
          <p:cNvPr id="14" name="TextBox 13">
            <a:extLst>
              <a:ext uri="{FF2B5EF4-FFF2-40B4-BE49-F238E27FC236}">
                <a16:creationId xmlns:a16="http://schemas.microsoft.com/office/drawing/2014/main" id="{700F15A6-EEC1-4962-D7BF-4D99941776D1}"/>
              </a:ext>
            </a:extLst>
          </p:cNvPr>
          <p:cNvSpPr txBox="1"/>
          <p:nvPr/>
        </p:nvSpPr>
        <p:spPr>
          <a:xfrm>
            <a:off x="563185" y="1749203"/>
            <a:ext cx="4896321" cy="3970318"/>
          </a:xfrm>
          <a:prstGeom prst="rect">
            <a:avLst/>
          </a:prstGeom>
          <a:noFill/>
        </p:spPr>
        <p:txBody>
          <a:bodyPr wrap="square" lIns="0" tIns="0" rIns="0" bIns="0" anchor="t">
            <a:spAutoFit/>
          </a:bodyPr>
          <a:lstStyle/>
          <a:p>
            <a:pPr>
              <a:spcAft>
                <a:spcPts val="1200"/>
              </a:spcAft>
            </a:pPr>
            <a:r>
              <a:rPr lang="fr-fr" sz="2000">
                <a:solidFill>
                  <a:schemeClr val="bg1"/>
                </a:solidFill>
              </a:rPr>
              <a:t>Le rapport sur les agents Copilot Studio dans Viva Insights permet de comprendre l’adoption et l’impact des agents créés dans Microsoft Copilot Studio, qui sont déployés sur divers canaux au sein de votre organisation, tels que :</a:t>
            </a:r>
          </a:p>
          <a:p>
            <a:pPr marL="342900" indent="-342900">
              <a:spcAft>
                <a:spcPts val="600"/>
              </a:spcAft>
              <a:buFont typeface="Arial" panose="020B0604020202020204" pitchFamily="34" charset="0"/>
              <a:buChar char="•"/>
            </a:pPr>
            <a:r>
              <a:rPr lang="fr-fr" sz="1800">
                <a:solidFill>
                  <a:schemeClr val="bg1"/>
                </a:solidFill>
              </a:rPr>
              <a:t>Sites Web personnalisés et de démonstration</a:t>
            </a:r>
          </a:p>
          <a:p>
            <a:pPr marL="342900" indent="-342900">
              <a:spcAft>
                <a:spcPts val="600"/>
              </a:spcAft>
              <a:buFont typeface="Arial" panose="020B0604020202020204" pitchFamily="34" charset="0"/>
              <a:buChar char="•"/>
            </a:pPr>
            <a:r>
              <a:rPr lang="fr-fr" sz="1800">
                <a:solidFill>
                  <a:schemeClr val="bg1"/>
                </a:solidFill>
              </a:rPr>
              <a:t>Microsoft Teams et Microsoft 365 Copilot</a:t>
            </a:r>
          </a:p>
          <a:p>
            <a:pPr marL="342900" indent="-342900">
              <a:spcAft>
                <a:spcPts val="600"/>
              </a:spcAft>
              <a:buFont typeface="Arial" panose="020B0604020202020204" pitchFamily="34" charset="0"/>
              <a:buChar char="•"/>
            </a:pPr>
            <a:r>
              <a:rPr lang="fr-fr" sz="1800">
                <a:solidFill>
                  <a:schemeClr val="bg1"/>
                </a:solidFill>
              </a:rPr>
              <a:t>Applications mobiles</a:t>
            </a:r>
          </a:p>
          <a:p>
            <a:pPr marL="342900" indent="-342900">
              <a:spcAft>
                <a:spcPts val="600"/>
              </a:spcAft>
              <a:buFont typeface="Arial" panose="020B0604020202020204" pitchFamily="34" charset="0"/>
              <a:buChar char="•"/>
            </a:pPr>
            <a:r>
              <a:rPr lang="fr-fr" sz="1800">
                <a:solidFill>
                  <a:schemeClr val="bg1"/>
                </a:solidFill>
              </a:rPr>
              <a:t>Facebook</a:t>
            </a:r>
          </a:p>
          <a:p>
            <a:pPr marL="342900" indent="-342900">
              <a:spcAft>
                <a:spcPts val="600"/>
              </a:spcAft>
              <a:buFont typeface="Arial" panose="020B0604020202020204" pitchFamily="34" charset="0"/>
              <a:buChar char="•"/>
            </a:pPr>
            <a:r>
              <a:rPr lang="fr-fr" sz="1800">
                <a:solidFill>
                  <a:schemeClr val="bg1"/>
                </a:solidFill>
              </a:rPr>
              <a:t>Canaux Azure Bot Service tels que Skype, Twilio et Microsoft Cortana</a:t>
            </a:r>
          </a:p>
        </p:txBody>
      </p:sp>
      <p:pic>
        <p:nvPicPr>
          <p:cNvPr id="3" name="Picture 2">
            <a:extLst>
              <a:ext uri="{FF2B5EF4-FFF2-40B4-BE49-F238E27FC236}">
                <a16:creationId xmlns:a16="http://schemas.microsoft.com/office/drawing/2014/main" id="{D526F0EA-0070-3BC6-8700-CB3BB95BA26C}"/>
              </a:ext>
            </a:extLst>
          </p:cNvPr>
          <p:cNvPicPr>
            <a:picLocks noChangeAspect="1"/>
          </p:cNvPicPr>
          <p:nvPr/>
        </p:nvPicPr>
        <p:blipFill>
          <a:blip r:embed="rId3"/>
          <a:stretch>
            <a:fillRect/>
          </a:stretch>
        </p:blipFill>
        <p:spPr>
          <a:xfrm>
            <a:off x="5623560" y="1749203"/>
            <a:ext cx="6385560" cy="33166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81009152"/>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55B501-FBC4-403C-D4DA-FB697A37946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8D0057B-9AB4-16EA-ECE8-0CD7FB796E25}"/>
              </a:ext>
            </a:extLst>
          </p:cNvPr>
          <p:cNvSpPr>
            <a:spLocks noGrp="1"/>
          </p:cNvSpPr>
          <p:nvPr>
            <p:ph type="title"/>
          </p:nvPr>
        </p:nvSpPr>
        <p:spPr>
          <a:xfrm>
            <a:off x="588263" y="485481"/>
            <a:ext cx="11890608" cy="498598"/>
          </a:xfrm>
        </p:spPr>
        <p:txBody>
          <a:bodyPr/>
          <a:lstStyle/>
          <a:p>
            <a:r>
              <a:rPr lang="fr-fr" sz="3300"/>
              <a:t>Gestion de la posture de sécurité des données (préversion)</a:t>
            </a:r>
          </a:p>
        </p:txBody>
      </p:sp>
      <p:sp>
        <p:nvSpPr>
          <p:cNvPr id="14" name="TextBox 13">
            <a:extLst>
              <a:ext uri="{FF2B5EF4-FFF2-40B4-BE49-F238E27FC236}">
                <a16:creationId xmlns:a16="http://schemas.microsoft.com/office/drawing/2014/main" id="{4339D456-6C0E-CB7B-1FC9-9366DA8287F2}"/>
              </a:ext>
            </a:extLst>
          </p:cNvPr>
          <p:cNvSpPr txBox="1"/>
          <p:nvPr/>
        </p:nvSpPr>
        <p:spPr>
          <a:xfrm>
            <a:off x="563186" y="1909223"/>
            <a:ext cx="4031964" cy="4555093"/>
          </a:xfrm>
          <a:prstGeom prst="rect">
            <a:avLst/>
          </a:prstGeom>
          <a:noFill/>
        </p:spPr>
        <p:txBody>
          <a:bodyPr wrap="square" lIns="0" tIns="0" rIns="0" bIns="0" anchor="t">
            <a:spAutoFit/>
          </a:bodyPr>
          <a:lstStyle/>
          <a:p>
            <a:pPr>
              <a:spcAft>
                <a:spcPts val="1200"/>
              </a:spcAft>
            </a:pPr>
            <a:r>
              <a:rPr lang="fr-fr" sz="2200">
                <a:solidFill>
                  <a:schemeClr val="bg1"/>
                </a:solidFill>
              </a:rPr>
              <a:t>Fournit une visibilité sur les risques liés à la sécurité des données et recommande des contrôles pour protéger les données et surveiller de manière proactive l’utilisation de l’IA. </a:t>
            </a:r>
          </a:p>
          <a:p>
            <a:pPr>
              <a:spcAft>
                <a:spcPts val="1200"/>
              </a:spcAft>
            </a:pPr>
            <a:endParaRPr lang="en-US" sz="2400">
              <a:solidFill>
                <a:schemeClr val="bg1"/>
              </a:solidFill>
            </a:endParaRPr>
          </a:p>
          <a:p>
            <a:pPr>
              <a:spcAft>
                <a:spcPts val="1200"/>
              </a:spcAft>
            </a:pPr>
            <a:r>
              <a:rPr lang="fr-fr" sz="2200">
                <a:solidFill>
                  <a:schemeClr val="bg1"/>
                </a:solidFill>
              </a:rPr>
              <a:t>Renforce la sécurité et la conformité des données </a:t>
            </a:r>
            <a:br>
              <a:rPr lang="fr-fr" sz="2200">
                <a:solidFill>
                  <a:schemeClr val="bg1"/>
                </a:solidFill>
              </a:rPr>
            </a:br>
            <a:r>
              <a:rPr lang="fr-fr" sz="2200">
                <a:solidFill>
                  <a:schemeClr val="bg1"/>
                </a:solidFill>
              </a:rPr>
              <a:t>de l’organisation pour Microsoft 365 Copilot et Microsoft 365 Copilot Chat</a:t>
            </a:r>
          </a:p>
        </p:txBody>
      </p:sp>
      <p:pic>
        <p:nvPicPr>
          <p:cNvPr id="5" name="Picture 4">
            <a:extLst>
              <a:ext uri="{FF2B5EF4-FFF2-40B4-BE49-F238E27FC236}">
                <a16:creationId xmlns:a16="http://schemas.microsoft.com/office/drawing/2014/main" id="{D313D894-DE40-9D6E-4907-80AFFD40B641}"/>
              </a:ext>
            </a:extLst>
          </p:cNvPr>
          <p:cNvPicPr>
            <a:picLocks noChangeAspect="1"/>
          </p:cNvPicPr>
          <p:nvPr/>
        </p:nvPicPr>
        <p:blipFill>
          <a:blip r:embed="rId3"/>
          <a:stretch>
            <a:fillRect/>
          </a:stretch>
        </p:blipFill>
        <p:spPr>
          <a:xfrm>
            <a:off x="5057464" y="1909223"/>
            <a:ext cx="6937767" cy="3831820"/>
          </a:xfrm>
          <a:prstGeom prst="roundRect">
            <a:avLst>
              <a:gd name="adj" fmla="val 2750"/>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039204317"/>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BFAE24-D462-7B62-C88F-C2792E3B168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7CD571A-C2E0-7475-1E82-6CB838F13317}"/>
              </a:ext>
            </a:extLst>
          </p:cNvPr>
          <p:cNvSpPr>
            <a:spLocks noGrp="1"/>
          </p:cNvSpPr>
          <p:nvPr>
            <p:ph type="title"/>
          </p:nvPr>
        </p:nvSpPr>
        <p:spPr/>
        <p:txBody>
          <a:bodyPr/>
          <a:lstStyle/>
          <a:p>
            <a:r>
              <a:rPr lang="fr-fr"/>
              <a:t>DSPM – Applications et agents</a:t>
            </a:r>
          </a:p>
        </p:txBody>
      </p:sp>
      <p:sp>
        <p:nvSpPr>
          <p:cNvPr id="14" name="TextBox 13">
            <a:extLst>
              <a:ext uri="{FF2B5EF4-FFF2-40B4-BE49-F238E27FC236}">
                <a16:creationId xmlns:a16="http://schemas.microsoft.com/office/drawing/2014/main" id="{36580715-4041-FAF4-C999-58A786159570}"/>
              </a:ext>
            </a:extLst>
          </p:cNvPr>
          <p:cNvSpPr txBox="1"/>
          <p:nvPr/>
        </p:nvSpPr>
        <p:spPr>
          <a:xfrm>
            <a:off x="563186" y="1813526"/>
            <a:ext cx="5351477" cy="4847481"/>
          </a:xfrm>
          <a:prstGeom prst="rect">
            <a:avLst/>
          </a:prstGeom>
          <a:noFill/>
        </p:spPr>
        <p:txBody>
          <a:bodyPr wrap="square" lIns="0" tIns="0" rIns="0" bIns="0" anchor="t">
            <a:spAutoFit/>
          </a:bodyPr>
          <a:lstStyle/>
          <a:p>
            <a:pPr>
              <a:lnSpc>
                <a:spcPct val="95000"/>
              </a:lnSpc>
              <a:spcAft>
                <a:spcPts val="1200"/>
              </a:spcAft>
            </a:pPr>
            <a:r>
              <a:rPr lang="fr-fr" sz="2000">
                <a:solidFill>
                  <a:schemeClr val="bg1"/>
                </a:solidFill>
              </a:rPr>
              <a:t>Permet de comprendre l’étendue et la profondeur de la protection Microsoft Purview pour les applications et agents d’IA au cours des 30 derniers jours</a:t>
            </a:r>
          </a:p>
          <a:p>
            <a:pPr>
              <a:lnSpc>
                <a:spcPct val="95000"/>
              </a:lnSpc>
              <a:spcAft>
                <a:spcPts val="1200"/>
              </a:spcAft>
            </a:pPr>
            <a:r>
              <a:rPr lang="fr-fr" sz="2000">
                <a:solidFill>
                  <a:schemeClr val="bg1"/>
                </a:solidFill>
              </a:rPr>
              <a:t>Comprend quatre rapports différents avec les </a:t>
            </a:r>
            <a:r>
              <a:rPr lang="fr-fr" sz="2000" b="1">
                <a:solidFill>
                  <a:schemeClr val="bg1"/>
                </a:solidFill>
              </a:rPr>
              <a:t>20 principaux agents de moteur personnalisé</a:t>
            </a:r>
            <a:r>
              <a:rPr lang="fr-fr" sz="2000">
                <a:solidFill>
                  <a:schemeClr val="bg1"/>
                </a:solidFill>
              </a:rPr>
              <a:t> ayant le plus grand nombre d’interactions </a:t>
            </a:r>
            <a:br>
              <a:rPr lang="fr-fr" sz="2000">
                <a:solidFill>
                  <a:schemeClr val="bg1"/>
                </a:solidFill>
              </a:rPr>
            </a:br>
            <a:r>
              <a:rPr lang="fr-fr" sz="2000">
                <a:solidFill>
                  <a:schemeClr val="bg1"/>
                </a:solidFill>
              </a:rPr>
              <a:t>au cours des 30 derniers jours</a:t>
            </a:r>
          </a:p>
          <a:p>
            <a:pPr>
              <a:spcAft>
                <a:spcPts val="600"/>
              </a:spcAft>
            </a:pPr>
            <a:r>
              <a:rPr lang="fr-fr" sz="2000">
                <a:solidFill>
                  <a:schemeClr val="bg1"/>
                </a:solidFill>
              </a:rPr>
              <a:t>Permet de voir des détails tels que :</a:t>
            </a:r>
          </a:p>
          <a:p>
            <a:pPr marL="342900" indent="-342900">
              <a:lnSpc>
                <a:spcPct val="95000"/>
              </a:lnSpc>
              <a:spcAft>
                <a:spcPts val="600"/>
              </a:spcAft>
              <a:buFont typeface="Arial" panose="020B0604020202020204" pitchFamily="34" charset="0"/>
              <a:buChar char="•"/>
            </a:pPr>
            <a:r>
              <a:rPr lang="fr-fr" sz="1800">
                <a:solidFill>
                  <a:schemeClr val="bg1"/>
                </a:solidFill>
              </a:rPr>
              <a:t>Les stratégies de sécurité et de conformité des données au niveau des agents</a:t>
            </a:r>
          </a:p>
          <a:p>
            <a:pPr marL="342900" indent="-342900">
              <a:lnSpc>
                <a:spcPct val="95000"/>
              </a:lnSpc>
              <a:spcAft>
                <a:spcPts val="600"/>
              </a:spcAft>
              <a:buFont typeface="Arial" panose="020B0604020202020204" pitchFamily="34" charset="0"/>
              <a:buChar char="•"/>
            </a:pPr>
            <a:r>
              <a:rPr lang="fr-fr" sz="1800">
                <a:solidFill>
                  <a:schemeClr val="bg1"/>
                </a:solidFill>
              </a:rPr>
              <a:t>L’activité des utilisateurs, des requêtes et des réponses</a:t>
            </a:r>
          </a:p>
          <a:p>
            <a:pPr marL="342900" indent="-342900">
              <a:lnSpc>
                <a:spcPct val="95000"/>
              </a:lnSpc>
              <a:spcAft>
                <a:spcPts val="600"/>
              </a:spcAft>
              <a:buFont typeface="Arial" panose="020B0604020202020204" pitchFamily="34" charset="0"/>
              <a:buChar char="•"/>
            </a:pPr>
            <a:r>
              <a:rPr lang="fr-fr" sz="1800">
                <a:solidFill>
                  <a:schemeClr val="bg1"/>
                </a:solidFill>
              </a:rPr>
              <a:t>Le taux de requêtes et de réponses contenant </a:t>
            </a:r>
            <a:br>
              <a:rPr lang="fr-fr" sz="1800">
                <a:solidFill>
                  <a:schemeClr val="bg1"/>
                </a:solidFill>
              </a:rPr>
            </a:br>
            <a:r>
              <a:rPr lang="fr-fr" sz="1800">
                <a:solidFill>
                  <a:schemeClr val="bg1"/>
                </a:solidFill>
              </a:rPr>
              <a:t>des données sensibles</a:t>
            </a:r>
          </a:p>
        </p:txBody>
      </p:sp>
      <p:pic>
        <p:nvPicPr>
          <p:cNvPr id="5" name="Picture 4">
            <a:extLst>
              <a:ext uri="{FF2B5EF4-FFF2-40B4-BE49-F238E27FC236}">
                <a16:creationId xmlns:a16="http://schemas.microsoft.com/office/drawing/2014/main" id="{697F9B73-3F29-EE06-AE1A-42FEF1700C6E}"/>
              </a:ext>
            </a:extLst>
          </p:cNvPr>
          <p:cNvPicPr>
            <a:picLocks noChangeAspect="1"/>
          </p:cNvPicPr>
          <p:nvPr/>
        </p:nvPicPr>
        <p:blipFill>
          <a:blip r:embed="rId3"/>
          <a:stretch>
            <a:fillRect/>
          </a:stretch>
        </p:blipFill>
        <p:spPr>
          <a:xfrm>
            <a:off x="6096000" y="1605393"/>
            <a:ext cx="5752615" cy="2598236"/>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5336878C-F71E-6A62-7582-FDC94FC64918}"/>
              </a:ext>
            </a:extLst>
          </p:cNvPr>
          <p:cNvPicPr>
            <a:picLocks noChangeAspect="1"/>
          </p:cNvPicPr>
          <p:nvPr/>
        </p:nvPicPr>
        <p:blipFill>
          <a:blip r:embed="rId4"/>
          <a:stretch>
            <a:fillRect/>
          </a:stretch>
        </p:blipFill>
        <p:spPr>
          <a:xfrm>
            <a:off x="6515360" y="4094436"/>
            <a:ext cx="3304521" cy="2461572"/>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521E8790-5191-20C6-1D6C-EBA29B9A36F1}"/>
              </a:ext>
            </a:extLst>
          </p:cNvPr>
          <p:cNvPicPr>
            <a:picLocks noChangeAspect="1"/>
          </p:cNvPicPr>
          <p:nvPr/>
        </p:nvPicPr>
        <p:blipFill>
          <a:blip r:embed="rId5"/>
          <a:stretch>
            <a:fillRect/>
          </a:stretch>
        </p:blipFill>
        <p:spPr>
          <a:xfrm>
            <a:off x="9507364" y="4456090"/>
            <a:ext cx="2005982" cy="191642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064824362"/>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9205C8-0211-D445-7247-AAB47ABFE4E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0C0A18C-95A1-4C95-CB73-30DD97AB23E1}"/>
              </a:ext>
            </a:extLst>
          </p:cNvPr>
          <p:cNvSpPr>
            <a:spLocks noGrp="1"/>
          </p:cNvSpPr>
          <p:nvPr>
            <p:ph type="title"/>
          </p:nvPr>
        </p:nvSpPr>
        <p:spPr/>
        <p:txBody>
          <a:bodyPr/>
          <a:lstStyle/>
          <a:p>
            <a:r>
              <a:rPr lang="fr-fr"/>
              <a:t>DSPM – Observabilité de l’IA (Agent 365)</a:t>
            </a:r>
          </a:p>
        </p:txBody>
      </p:sp>
      <p:sp>
        <p:nvSpPr>
          <p:cNvPr id="14" name="TextBox 13">
            <a:extLst>
              <a:ext uri="{FF2B5EF4-FFF2-40B4-BE49-F238E27FC236}">
                <a16:creationId xmlns:a16="http://schemas.microsoft.com/office/drawing/2014/main" id="{E2189FC5-3E06-819E-44DB-899EB48275CC}"/>
              </a:ext>
            </a:extLst>
          </p:cNvPr>
          <p:cNvSpPr txBox="1"/>
          <p:nvPr/>
        </p:nvSpPr>
        <p:spPr>
          <a:xfrm>
            <a:off x="563186" y="1492534"/>
            <a:ext cx="6427923" cy="4893647"/>
          </a:xfrm>
          <a:prstGeom prst="rect">
            <a:avLst/>
          </a:prstGeom>
          <a:noFill/>
        </p:spPr>
        <p:txBody>
          <a:bodyPr wrap="square" lIns="0" tIns="0" rIns="0" bIns="0" anchor="t">
            <a:spAutoFit/>
          </a:bodyPr>
          <a:lstStyle/>
          <a:p>
            <a:pPr>
              <a:spcAft>
                <a:spcPts val="1200"/>
              </a:spcAft>
            </a:pPr>
            <a:r>
              <a:rPr lang="fr-fr" sz="1500" spc="-20">
                <a:solidFill>
                  <a:schemeClr val="bg1"/>
                </a:solidFill>
              </a:rPr>
              <a:t>Obtenez une vue centralisée de l’activité des agents dans votre organisation</a:t>
            </a:r>
          </a:p>
          <a:p>
            <a:pPr>
              <a:spcAft>
                <a:spcPts val="1200"/>
              </a:spcAft>
            </a:pPr>
            <a:r>
              <a:rPr lang="fr-fr" sz="1500">
                <a:solidFill>
                  <a:schemeClr val="bg1"/>
                </a:solidFill>
              </a:rPr>
              <a:t>Depuis la page d’observabilité de l’IA :</a:t>
            </a:r>
          </a:p>
          <a:p>
            <a:pPr marL="342900" indent="-342900">
              <a:spcAft>
                <a:spcPts val="1200"/>
              </a:spcAft>
              <a:buFont typeface="Arial" panose="020B0604020202020204" pitchFamily="34" charset="0"/>
              <a:buChar char="•"/>
            </a:pPr>
            <a:r>
              <a:rPr lang="fr-fr" sz="1500">
                <a:solidFill>
                  <a:schemeClr val="bg1"/>
                </a:solidFill>
              </a:rPr>
              <a:t>Consultez une vue d’ensemble de tous les agents de votre organisation ayant eu une activité au cours des 30 derniers jours, priorisés selon le niveau de risque le plus élevé déterminé par la solution de gestion des risques liés aux menaces internes.</a:t>
            </a:r>
          </a:p>
          <a:p>
            <a:pPr marL="342900" indent="-342900">
              <a:spcAft>
                <a:spcPts val="1200"/>
              </a:spcAft>
              <a:buFont typeface="Arial" panose="020B0604020202020204" pitchFamily="34" charset="0"/>
              <a:buChar char="•"/>
            </a:pPr>
            <a:r>
              <a:rPr lang="fr-fr" sz="1500">
                <a:solidFill>
                  <a:schemeClr val="bg1"/>
                </a:solidFill>
              </a:rPr>
              <a:t>Analysez les activités les plus risquées : partage excessif d’informations, exfiltration de données et comportements contraires à l’éthique.</a:t>
            </a:r>
          </a:p>
          <a:p>
            <a:pPr marL="342900" indent="-342900">
              <a:spcAft>
                <a:spcPts val="1200"/>
              </a:spcAft>
              <a:buFont typeface="Arial" panose="020B0604020202020204" pitchFamily="34" charset="0"/>
              <a:buChar char="•"/>
            </a:pPr>
            <a:r>
              <a:rPr lang="fr-fr" sz="1500">
                <a:solidFill>
                  <a:schemeClr val="bg1"/>
                </a:solidFill>
              </a:rPr>
              <a:t>Sélectionnez un agent spécifique pour consulter les détails :</a:t>
            </a:r>
          </a:p>
          <a:p>
            <a:pPr marL="800083" lvl="1" indent="-342900">
              <a:spcAft>
                <a:spcPts val="1200"/>
              </a:spcAft>
              <a:buFont typeface="Courier New" panose="02070309020205020404" pitchFamily="49" charset="0"/>
              <a:buChar char="o"/>
            </a:pPr>
            <a:r>
              <a:rPr lang="fr-fr" sz="1400">
                <a:solidFill>
                  <a:schemeClr val="bg1"/>
                </a:solidFill>
              </a:rPr>
              <a:t>Détails de l’agent incluant le statut Entra, la date de création, le propriétaire, l’identifiant utilisateur de l’agent et l’instance d’agent correspondante.</a:t>
            </a:r>
          </a:p>
          <a:p>
            <a:pPr marL="800083" lvl="1" indent="-342900">
              <a:spcAft>
                <a:spcPts val="1200"/>
              </a:spcAft>
              <a:buFont typeface="Courier New" panose="02070309020205020404" pitchFamily="49" charset="0"/>
              <a:buChar char="o"/>
            </a:pPr>
            <a:r>
              <a:rPr lang="fr-fr" sz="1400">
                <a:solidFill>
                  <a:schemeClr val="bg1"/>
                </a:solidFill>
              </a:rPr>
              <a:t>Activités de l’agent incluant le niveau de risque déterminé par la solution de gestion des risques liés aux menaces internes ainsi que toute activité à risque issue des interactions de l’agent.</a:t>
            </a:r>
          </a:p>
          <a:p>
            <a:pPr marL="800083" lvl="1" indent="-342900">
              <a:spcAft>
                <a:spcPts val="1200"/>
              </a:spcAft>
              <a:buFont typeface="Courier New" panose="02070309020205020404" pitchFamily="49" charset="0"/>
              <a:buChar char="o"/>
            </a:pPr>
            <a:r>
              <a:rPr lang="fr-fr" sz="1400">
                <a:solidFill>
                  <a:schemeClr val="bg1"/>
                </a:solidFill>
              </a:rPr>
              <a:t>Recommandations de remédiation basées sur les solutions Microsoft Purview, en fonction des risques identifiés.</a:t>
            </a:r>
          </a:p>
        </p:txBody>
      </p:sp>
      <p:pic>
        <p:nvPicPr>
          <p:cNvPr id="5" name="Picture 4">
            <a:extLst>
              <a:ext uri="{FF2B5EF4-FFF2-40B4-BE49-F238E27FC236}">
                <a16:creationId xmlns:a16="http://schemas.microsoft.com/office/drawing/2014/main" id="{7C2EDD26-81A6-EFC4-FA28-256590AC2090}"/>
              </a:ext>
            </a:extLst>
          </p:cNvPr>
          <p:cNvPicPr>
            <a:picLocks noChangeAspect="1"/>
          </p:cNvPicPr>
          <p:nvPr/>
        </p:nvPicPr>
        <p:blipFill>
          <a:blip r:embed="rId3"/>
          <a:stretch>
            <a:fillRect/>
          </a:stretch>
        </p:blipFill>
        <p:spPr>
          <a:xfrm>
            <a:off x="7207655" y="1596706"/>
            <a:ext cx="4807566" cy="3067891"/>
          </a:xfrm>
          <a:prstGeom prst="roundRect">
            <a:avLst>
              <a:gd name="adj" fmla="val 3233"/>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28168990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08424F-7A12-8B9F-26DF-8E363E29B0BC}"/>
            </a:ext>
          </a:extLst>
        </p:cNvPr>
        <p:cNvGrpSpPr/>
        <p:nvPr/>
      </p:nvGrpSpPr>
      <p:grpSpPr>
        <a:xfrm>
          <a:off x="0" y="0"/>
          <a:ext cx="0" cy="0"/>
          <a:chOff x="0" y="0"/>
          <a:chExt cx="0" cy="0"/>
        </a:xfrm>
      </p:grpSpPr>
      <p:sp>
        <p:nvSpPr>
          <p:cNvPr id="29" name="Title 3">
            <a:extLst>
              <a:ext uri="{FF2B5EF4-FFF2-40B4-BE49-F238E27FC236}">
                <a16:creationId xmlns:a16="http://schemas.microsoft.com/office/drawing/2014/main" id="{1B81AB2A-4F31-DE88-19AB-26A2BCF3FA74}"/>
              </a:ext>
            </a:extLst>
          </p:cNvPr>
          <p:cNvSpPr>
            <a:spLocks noGrp="1"/>
          </p:cNvSpPr>
          <p:nvPr>
            <p:ph type="title"/>
          </p:nvPr>
        </p:nvSpPr>
        <p:spPr>
          <a:xfrm>
            <a:off x="588263" y="485481"/>
            <a:ext cx="11018520" cy="498598"/>
          </a:xfrm>
        </p:spPr>
        <p:txBody>
          <a:bodyPr/>
          <a:lstStyle/>
          <a:p>
            <a:r>
              <a:rPr lang="fr-fr"/>
              <a:t>Types d’agents</a:t>
            </a:r>
          </a:p>
        </p:txBody>
      </p:sp>
      <p:sp>
        <p:nvSpPr>
          <p:cNvPr id="2" name="Freeform: Shape 115">
            <a:extLst>
              <a:ext uri="{FF2B5EF4-FFF2-40B4-BE49-F238E27FC236}">
                <a16:creationId xmlns:a16="http://schemas.microsoft.com/office/drawing/2014/main" id="{344CD611-4EAB-1E1D-4C63-F1101BAAEC45}"/>
              </a:ext>
              <a:ext uri="{C183D7F6-B498-43B3-948B-1728B52AA6E4}">
                <adec:decorative xmlns:adec="http://schemas.microsoft.com/office/drawing/2017/decorative" val="1"/>
              </a:ext>
            </a:extLst>
          </p:cNvPr>
          <p:cNvSpPr/>
          <p:nvPr/>
        </p:nvSpPr>
        <p:spPr bwMode="auto">
          <a:xfrm>
            <a:off x="3416596" y="1297786"/>
            <a:ext cx="933700" cy="93370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Segoe UI"/>
              <a:ea typeface="+mn-ea"/>
              <a:cs typeface="Segoe UI" pitchFamily="34" charset="0"/>
            </a:endParaRPr>
          </a:p>
        </p:txBody>
      </p:sp>
      <p:sp>
        <p:nvSpPr>
          <p:cNvPr id="3" name="Freeform: Shape 115">
            <a:extLst>
              <a:ext uri="{FF2B5EF4-FFF2-40B4-BE49-F238E27FC236}">
                <a16:creationId xmlns:a16="http://schemas.microsoft.com/office/drawing/2014/main" id="{20DF6383-B522-86F3-35C8-CB7B0BFA128F}"/>
              </a:ext>
              <a:ext uri="{C183D7F6-B498-43B3-948B-1728B52AA6E4}">
                <adec:decorative xmlns:adec="http://schemas.microsoft.com/office/drawing/2017/decorative" val="1"/>
              </a:ext>
            </a:extLst>
          </p:cNvPr>
          <p:cNvSpPr/>
          <p:nvPr/>
        </p:nvSpPr>
        <p:spPr bwMode="auto">
          <a:xfrm>
            <a:off x="8756003" y="1297786"/>
            <a:ext cx="933700" cy="93370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Segoe UI"/>
              <a:ea typeface="+mn-ea"/>
              <a:cs typeface="Segoe UI" pitchFamily="34" charset="0"/>
            </a:endParaRPr>
          </a:p>
        </p:txBody>
      </p:sp>
      <p:sp>
        <p:nvSpPr>
          <p:cNvPr id="4" name="Freeform: Shape 3">
            <a:extLst>
              <a:ext uri="{FF2B5EF4-FFF2-40B4-BE49-F238E27FC236}">
                <a16:creationId xmlns:a16="http://schemas.microsoft.com/office/drawing/2014/main" id="{B4AC4F0C-DCAB-122F-0808-A7BE8E9D0813}"/>
              </a:ext>
              <a:ext uri="{C183D7F6-B498-43B3-948B-1728B52AA6E4}">
                <adec:decorative xmlns:adec="http://schemas.microsoft.com/office/drawing/2017/decorative" val="1"/>
              </a:ext>
            </a:extLst>
          </p:cNvPr>
          <p:cNvSpPr>
            <a:spLocks/>
          </p:cNvSpPr>
          <p:nvPr/>
        </p:nvSpPr>
        <p:spPr>
          <a:xfrm>
            <a:off x="1198715" y="2545193"/>
            <a:ext cx="10688839" cy="3992765"/>
          </a:xfrm>
          <a:custGeom>
            <a:avLst/>
            <a:gdLst>
              <a:gd name="connsiteX0" fmla="*/ 138675 w 10985500"/>
              <a:gd name="connsiteY0" fmla="*/ 0 h 2271868"/>
              <a:gd name="connsiteX1" fmla="*/ 165434 w 10985500"/>
              <a:gd name="connsiteY1" fmla="*/ 0 h 2271868"/>
              <a:gd name="connsiteX2" fmla="*/ 169003 w 10985500"/>
              <a:gd name="connsiteY2" fmla="*/ 35408 h 2271868"/>
              <a:gd name="connsiteX3" fmla="*/ 461093 w 10985500"/>
              <a:gd name="connsiteY3" fmla="*/ 273468 h 2271868"/>
              <a:gd name="connsiteX4" fmla="*/ 4870753 w 10985500"/>
              <a:gd name="connsiteY4" fmla="*/ 273469 h 2271868"/>
              <a:gd name="connsiteX5" fmla="*/ 5162843 w 10985500"/>
              <a:gd name="connsiteY5" fmla="*/ 35409 h 2271868"/>
              <a:gd name="connsiteX6" fmla="*/ 5166413 w 10985500"/>
              <a:gd name="connsiteY6" fmla="*/ 0 h 2271868"/>
              <a:gd name="connsiteX7" fmla="*/ 5820309 w 10985500"/>
              <a:gd name="connsiteY7" fmla="*/ 0 h 2271868"/>
              <a:gd name="connsiteX8" fmla="*/ 5823878 w 10985500"/>
              <a:gd name="connsiteY8" fmla="*/ 35408 h 2271868"/>
              <a:gd name="connsiteX9" fmla="*/ 6115968 w 10985500"/>
              <a:gd name="connsiteY9" fmla="*/ 273468 h 2271868"/>
              <a:gd name="connsiteX10" fmla="*/ 10525628 w 10985500"/>
              <a:gd name="connsiteY10" fmla="*/ 273469 h 2271868"/>
              <a:gd name="connsiteX11" fmla="*/ 10817718 w 10985500"/>
              <a:gd name="connsiteY11" fmla="*/ 35409 h 2271868"/>
              <a:gd name="connsiteX12" fmla="*/ 10821287 w 10985500"/>
              <a:gd name="connsiteY12" fmla="*/ 0 h 2271868"/>
              <a:gd name="connsiteX13" fmla="*/ 10846825 w 10985500"/>
              <a:gd name="connsiteY13" fmla="*/ 0 h 2271868"/>
              <a:gd name="connsiteX14" fmla="*/ 10985500 w 10985500"/>
              <a:gd name="connsiteY14" fmla="*/ 138675 h 2271868"/>
              <a:gd name="connsiteX15" fmla="*/ 10985500 w 10985500"/>
              <a:gd name="connsiteY15" fmla="*/ 2133193 h 2271868"/>
              <a:gd name="connsiteX16" fmla="*/ 10846825 w 10985500"/>
              <a:gd name="connsiteY16" fmla="*/ 2271868 h 2271868"/>
              <a:gd name="connsiteX17" fmla="*/ 138675 w 10985500"/>
              <a:gd name="connsiteY17" fmla="*/ 2271868 h 2271868"/>
              <a:gd name="connsiteX18" fmla="*/ 0 w 10985500"/>
              <a:gd name="connsiteY18" fmla="*/ 2133193 h 2271868"/>
              <a:gd name="connsiteX19" fmla="*/ 0 w 10985500"/>
              <a:gd name="connsiteY19" fmla="*/ 138675 h 2271868"/>
              <a:gd name="connsiteX20" fmla="*/ 138675 w 10985500"/>
              <a:gd name="connsiteY20" fmla="*/ 0 h 2271868"/>
              <a:gd name="connsiteX0" fmla="*/ 5823878 w 10985500"/>
              <a:gd name="connsiteY0" fmla="*/ 35408 h 2271868"/>
              <a:gd name="connsiteX1" fmla="*/ 6115968 w 10985500"/>
              <a:gd name="connsiteY1" fmla="*/ 273468 h 2271868"/>
              <a:gd name="connsiteX2" fmla="*/ 10525628 w 10985500"/>
              <a:gd name="connsiteY2" fmla="*/ 273469 h 2271868"/>
              <a:gd name="connsiteX3" fmla="*/ 10817718 w 10985500"/>
              <a:gd name="connsiteY3" fmla="*/ 35409 h 2271868"/>
              <a:gd name="connsiteX4" fmla="*/ 10821287 w 10985500"/>
              <a:gd name="connsiteY4" fmla="*/ 0 h 2271868"/>
              <a:gd name="connsiteX5" fmla="*/ 10846825 w 10985500"/>
              <a:gd name="connsiteY5" fmla="*/ 0 h 2271868"/>
              <a:gd name="connsiteX6" fmla="*/ 10985500 w 10985500"/>
              <a:gd name="connsiteY6" fmla="*/ 138675 h 2271868"/>
              <a:gd name="connsiteX7" fmla="*/ 10985500 w 10985500"/>
              <a:gd name="connsiteY7" fmla="*/ 2133193 h 2271868"/>
              <a:gd name="connsiteX8" fmla="*/ 10846825 w 10985500"/>
              <a:gd name="connsiteY8" fmla="*/ 2271868 h 2271868"/>
              <a:gd name="connsiteX9" fmla="*/ 138675 w 10985500"/>
              <a:gd name="connsiteY9" fmla="*/ 2271868 h 2271868"/>
              <a:gd name="connsiteX10" fmla="*/ 0 w 10985500"/>
              <a:gd name="connsiteY10" fmla="*/ 2133193 h 2271868"/>
              <a:gd name="connsiteX11" fmla="*/ 0 w 10985500"/>
              <a:gd name="connsiteY11" fmla="*/ 138675 h 2271868"/>
              <a:gd name="connsiteX12" fmla="*/ 138675 w 10985500"/>
              <a:gd name="connsiteY12" fmla="*/ 0 h 2271868"/>
              <a:gd name="connsiteX13" fmla="*/ 165434 w 10985500"/>
              <a:gd name="connsiteY13" fmla="*/ 0 h 2271868"/>
              <a:gd name="connsiteX14" fmla="*/ 169003 w 10985500"/>
              <a:gd name="connsiteY14" fmla="*/ 35408 h 2271868"/>
              <a:gd name="connsiteX15" fmla="*/ 461093 w 10985500"/>
              <a:gd name="connsiteY15" fmla="*/ 273468 h 2271868"/>
              <a:gd name="connsiteX16" fmla="*/ 4870753 w 10985500"/>
              <a:gd name="connsiteY16" fmla="*/ 273469 h 2271868"/>
              <a:gd name="connsiteX17" fmla="*/ 5162843 w 10985500"/>
              <a:gd name="connsiteY17" fmla="*/ 35409 h 2271868"/>
              <a:gd name="connsiteX18" fmla="*/ 5166413 w 10985500"/>
              <a:gd name="connsiteY18" fmla="*/ 0 h 2271868"/>
              <a:gd name="connsiteX19" fmla="*/ 5820309 w 10985500"/>
              <a:gd name="connsiteY19" fmla="*/ 0 h 2271868"/>
              <a:gd name="connsiteX20" fmla="*/ 5915318 w 10985500"/>
              <a:gd name="connsiteY20" fmla="*/ 126848 h 2271868"/>
              <a:gd name="connsiteX0" fmla="*/ 5823878 w 10985500"/>
              <a:gd name="connsiteY0" fmla="*/ 35408 h 2271868"/>
              <a:gd name="connsiteX1" fmla="*/ 6115968 w 10985500"/>
              <a:gd name="connsiteY1" fmla="*/ 273468 h 2271868"/>
              <a:gd name="connsiteX2" fmla="*/ 10525628 w 10985500"/>
              <a:gd name="connsiteY2" fmla="*/ 273469 h 2271868"/>
              <a:gd name="connsiteX3" fmla="*/ 10817718 w 10985500"/>
              <a:gd name="connsiteY3" fmla="*/ 35409 h 2271868"/>
              <a:gd name="connsiteX4" fmla="*/ 10821287 w 10985500"/>
              <a:gd name="connsiteY4" fmla="*/ 0 h 2271868"/>
              <a:gd name="connsiteX5" fmla="*/ 10846825 w 10985500"/>
              <a:gd name="connsiteY5" fmla="*/ 0 h 2271868"/>
              <a:gd name="connsiteX6" fmla="*/ 10985500 w 10985500"/>
              <a:gd name="connsiteY6" fmla="*/ 138675 h 2271868"/>
              <a:gd name="connsiteX7" fmla="*/ 10985500 w 10985500"/>
              <a:gd name="connsiteY7" fmla="*/ 2133193 h 2271868"/>
              <a:gd name="connsiteX8" fmla="*/ 10846825 w 10985500"/>
              <a:gd name="connsiteY8" fmla="*/ 2271868 h 2271868"/>
              <a:gd name="connsiteX9" fmla="*/ 138675 w 10985500"/>
              <a:gd name="connsiteY9" fmla="*/ 2271868 h 2271868"/>
              <a:gd name="connsiteX10" fmla="*/ 0 w 10985500"/>
              <a:gd name="connsiteY10" fmla="*/ 2133193 h 2271868"/>
              <a:gd name="connsiteX11" fmla="*/ 0 w 10985500"/>
              <a:gd name="connsiteY11" fmla="*/ 138675 h 2271868"/>
              <a:gd name="connsiteX12" fmla="*/ 138675 w 10985500"/>
              <a:gd name="connsiteY12" fmla="*/ 0 h 2271868"/>
              <a:gd name="connsiteX13" fmla="*/ 165434 w 10985500"/>
              <a:gd name="connsiteY13" fmla="*/ 0 h 2271868"/>
              <a:gd name="connsiteX14" fmla="*/ 169003 w 10985500"/>
              <a:gd name="connsiteY14" fmla="*/ 35408 h 2271868"/>
              <a:gd name="connsiteX15" fmla="*/ 461093 w 10985500"/>
              <a:gd name="connsiteY15" fmla="*/ 273468 h 2271868"/>
              <a:gd name="connsiteX16" fmla="*/ 4870753 w 10985500"/>
              <a:gd name="connsiteY16" fmla="*/ 273469 h 2271868"/>
              <a:gd name="connsiteX17" fmla="*/ 5162843 w 10985500"/>
              <a:gd name="connsiteY17" fmla="*/ 35409 h 2271868"/>
              <a:gd name="connsiteX18" fmla="*/ 5166413 w 10985500"/>
              <a:gd name="connsiteY18" fmla="*/ 0 h 2271868"/>
              <a:gd name="connsiteX19" fmla="*/ 5820309 w 10985500"/>
              <a:gd name="connsiteY19" fmla="*/ 0 h 2271868"/>
              <a:gd name="connsiteX0" fmla="*/ 5823878 w 10985500"/>
              <a:gd name="connsiteY0" fmla="*/ 35408 h 2271868"/>
              <a:gd name="connsiteX1" fmla="*/ 5827047 w 10985500"/>
              <a:gd name="connsiteY1" fmla="*/ 87412 h 2271868"/>
              <a:gd name="connsiteX2" fmla="*/ 6115968 w 10985500"/>
              <a:gd name="connsiteY2" fmla="*/ 273468 h 2271868"/>
              <a:gd name="connsiteX3" fmla="*/ 10525628 w 10985500"/>
              <a:gd name="connsiteY3" fmla="*/ 273469 h 2271868"/>
              <a:gd name="connsiteX4" fmla="*/ 10817718 w 10985500"/>
              <a:gd name="connsiteY4" fmla="*/ 35409 h 2271868"/>
              <a:gd name="connsiteX5" fmla="*/ 10821287 w 10985500"/>
              <a:gd name="connsiteY5" fmla="*/ 0 h 2271868"/>
              <a:gd name="connsiteX6" fmla="*/ 10846825 w 10985500"/>
              <a:gd name="connsiteY6" fmla="*/ 0 h 2271868"/>
              <a:gd name="connsiteX7" fmla="*/ 10985500 w 10985500"/>
              <a:gd name="connsiteY7" fmla="*/ 138675 h 2271868"/>
              <a:gd name="connsiteX8" fmla="*/ 10985500 w 10985500"/>
              <a:gd name="connsiteY8" fmla="*/ 2133193 h 2271868"/>
              <a:gd name="connsiteX9" fmla="*/ 10846825 w 10985500"/>
              <a:gd name="connsiteY9" fmla="*/ 2271868 h 2271868"/>
              <a:gd name="connsiteX10" fmla="*/ 138675 w 10985500"/>
              <a:gd name="connsiteY10" fmla="*/ 2271868 h 2271868"/>
              <a:gd name="connsiteX11" fmla="*/ 0 w 10985500"/>
              <a:gd name="connsiteY11" fmla="*/ 2133193 h 2271868"/>
              <a:gd name="connsiteX12" fmla="*/ 0 w 10985500"/>
              <a:gd name="connsiteY12" fmla="*/ 138675 h 2271868"/>
              <a:gd name="connsiteX13" fmla="*/ 138675 w 10985500"/>
              <a:gd name="connsiteY13" fmla="*/ 0 h 2271868"/>
              <a:gd name="connsiteX14" fmla="*/ 165434 w 10985500"/>
              <a:gd name="connsiteY14" fmla="*/ 0 h 2271868"/>
              <a:gd name="connsiteX15" fmla="*/ 169003 w 10985500"/>
              <a:gd name="connsiteY15" fmla="*/ 35408 h 2271868"/>
              <a:gd name="connsiteX16" fmla="*/ 461093 w 10985500"/>
              <a:gd name="connsiteY16" fmla="*/ 273468 h 2271868"/>
              <a:gd name="connsiteX17" fmla="*/ 4870753 w 10985500"/>
              <a:gd name="connsiteY17" fmla="*/ 273469 h 2271868"/>
              <a:gd name="connsiteX18" fmla="*/ 5162843 w 10985500"/>
              <a:gd name="connsiteY18" fmla="*/ 35409 h 2271868"/>
              <a:gd name="connsiteX19" fmla="*/ 5166413 w 10985500"/>
              <a:gd name="connsiteY19" fmla="*/ 0 h 2271868"/>
              <a:gd name="connsiteX20" fmla="*/ 5820309 w 10985500"/>
              <a:gd name="connsiteY20" fmla="*/ 0 h 2271868"/>
              <a:gd name="connsiteX0" fmla="*/ 5823878 w 10985500"/>
              <a:gd name="connsiteY0" fmla="*/ 35408 h 2271868"/>
              <a:gd name="connsiteX1" fmla="*/ 6115968 w 10985500"/>
              <a:gd name="connsiteY1" fmla="*/ 273468 h 2271868"/>
              <a:gd name="connsiteX2" fmla="*/ 10525628 w 10985500"/>
              <a:gd name="connsiteY2" fmla="*/ 273469 h 2271868"/>
              <a:gd name="connsiteX3" fmla="*/ 10817718 w 10985500"/>
              <a:gd name="connsiteY3" fmla="*/ 35409 h 2271868"/>
              <a:gd name="connsiteX4" fmla="*/ 10821287 w 10985500"/>
              <a:gd name="connsiteY4" fmla="*/ 0 h 2271868"/>
              <a:gd name="connsiteX5" fmla="*/ 10846825 w 10985500"/>
              <a:gd name="connsiteY5" fmla="*/ 0 h 2271868"/>
              <a:gd name="connsiteX6" fmla="*/ 10985500 w 10985500"/>
              <a:gd name="connsiteY6" fmla="*/ 138675 h 2271868"/>
              <a:gd name="connsiteX7" fmla="*/ 10985500 w 10985500"/>
              <a:gd name="connsiteY7" fmla="*/ 2133193 h 2271868"/>
              <a:gd name="connsiteX8" fmla="*/ 10846825 w 10985500"/>
              <a:gd name="connsiteY8" fmla="*/ 2271868 h 2271868"/>
              <a:gd name="connsiteX9" fmla="*/ 138675 w 10985500"/>
              <a:gd name="connsiteY9" fmla="*/ 2271868 h 2271868"/>
              <a:gd name="connsiteX10" fmla="*/ 0 w 10985500"/>
              <a:gd name="connsiteY10" fmla="*/ 2133193 h 2271868"/>
              <a:gd name="connsiteX11" fmla="*/ 0 w 10985500"/>
              <a:gd name="connsiteY11" fmla="*/ 138675 h 2271868"/>
              <a:gd name="connsiteX12" fmla="*/ 138675 w 10985500"/>
              <a:gd name="connsiteY12" fmla="*/ 0 h 2271868"/>
              <a:gd name="connsiteX13" fmla="*/ 165434 w 10985500"/>
              <a:gd name="connsiteY13" fmla="*/ 0 h 2271868"/>
              <a:gd name="connsiteX14" fmla="*/ 169003 w 10985500"/>
              <a:gd name="connsiteY14" fmla="*/ 35408 h 2271868"/>
              <a:gd name="connsiteX15" fmla="*/ 461093 w 10985500"/>
              <a:gd name="connsiteY15" fmla="*/ 273468 h 2271868"/>
              <a:gd name="connsiteX16" fmla="*/ 4870753 w 10985500"/>
              <a:gd name="connsiteY16" fmla="*/ 273469 h 2271868"/>
              <a:gd name="connsiteX17" fmla="*/ 5162843 w 10985500"/>
              <a:gd name="connsiteY17" fmla="*/ 35409 h 2271868"/>
              <a:gd name="connsiteX18" fmla="*/ 5166413 w 10985500"/>
              <a:gd name="connsiteY18" fmla="*/ 0 h 2271868"/>
              <a:gd name="connsiteX19" fmla="*/ 5820309 w 10985500"/>
              <a:gd name="connsiteY19" fmla="*/ 0 h 2271868"/>
              <a:gd name="connsiteX0" fmla="*/ 5823878 w 10985500"/>
              <a:gd name="connsiteY0" fmla="*/ 35408 h 2271868"/>
              <a:gd name="connsiteX1" fmla="*/ 6115968 w 10985500"/>
              <a:gd name="connsiteY1" fmla="*/ 273468 h 2271868"/>
              <a:gd name="connsiteX2" fmla="*/ 10525628 w 10985500"/>
              <a:gd name="connsiteY2" fmla="*/ 273469 h 2271868"/>
              <a:gd name="connsiteX3" fmla="*/ 10817718 w 10985500"/>
              <a:gd name="connsiteY3" fmla="*/ 35409 h 2271868"/>
              <a:gd name="connsiteX4" fmla="*/ 10821287 w 10985500"/>
              <a:gd name="connsiteY4" fmla="*/ 0 h 2271868"/>
              <a:gd name="connsiteX5" fmla="*/ 10846825 w 10985500"/>
              <a:gd name="connsiteY5" fmla="*/ 0 h 2271868"/>
              <a:gd name="connsiteX6" fmla="*/ 10985500 w 10985500"/>
              <a:gd name="connsiteY6" fmla="*/ 138675 h 2271868"/>
              <a:gd name="connsiteX7" fmla="*/ 10985500 w 10985500"/>
              <a:gd name="connsiteY7" fmla="*/ 2133193 h 2271868"/>
              <a:gd name="connsiteX8" fmla="*/ 10846825 w 10985500"/>
              <a:gd name="connsiteY8" fmla="*/ 2271868 h 2271868"/>
              <a:gd name="connsiteX9" fmla="*/ 138675 w 10985500"/>
              <a:gd name="connsiteY9" fmla="*/ 2271868 h 2271868"/>
              <a:gd name="connsiteX10" fmla="*/ 0 w 10985500"/>
              <a:gd name="connsiteY10" fmla="*/ 2133193 h 2271868"/>
              <a:gd name="connsiteX11" fmla="*/ 0 w 10985500"/>
              <a:gd name="connsiteY11" fmla="*/ 138675 h 2271868"/>
              <a:gd name="connsiteX12" fmla="*/ 138675 w 10985500"/>
              <a:gd name="connsiteY12" fmla="*/ 0 h 2271868"/>
              <a:gd name="connsiteX13" fmla="*/ 165434 w 10985500"/>
              <a:gd name="connsiteY13" fmla="*/ 0 h 2271868"/>
              <a:gd name="connsiteX14" fmla="*/ 169003 w 10985500"/>
              <a:gd name="connsiteY14" fmla="*/ 35408 h 2271868"/>
              <a:gd name="connsiteX15" fmla="*/ 461093 w 10985500"/>
              <a:gd name="connsiteY15" fmla="*/ 273468 h 2271868"/>
              <a:gd name="connsiteX16" fmla="*/ 4870753 w 10985500"/>
              <a:gd name="connsiteY16" fmla="*/ 273469 h 2271868"/>
              <a:gd name="connsiteX17" fmla="*/ 5162843 w 10985500"/>
              <a:gd name="connsiteY17" fmla="*/ 35409 h 2271868"/>
              <a:gd name="connsiteX18" fmla="*/ 5166413 w 10985500"/>
              <a:gd name="connsiteY18" fmla="*/ 0 h 2271868"/>
              <a:gd name="connsiteX0" fmla="*/ 5823878 w 10985500"/>
              <a:gd name="connsiteY0" fmla="*/ 35408 h 2271868"/>
              <a:gd name="connsiteX1" fmla="*/ 10525628 w 10985500"/>
              <a:gd name="connsiteY1" fmla="*/ 273469 h 2271868"/>
              <a:gd name="connsiteX2" fmla="*/ 10817718 w 10985500"/>
              <a:gd name="connsiteY2" fmla="*/ 35409 h 2271868"/>
              <a:gd name="connsiteX3" fmla="*/ 10821287 w 10985500"/>
              <a:gd name="connsiteY3" fmla="*/ 0 h 2271868"/>
              <a:gd name="connsiteX4" fmla="*/ 10846825 w 10985500"/>
              <a:gd name="connsiteY4" fmla="*/ 0 h 2271868"/>
              <a:gd name="connsiteX5" fmla="*/ 10985500 w 10985500"/>
              <a:gd name="connsiteY5" fmla="*/ 138675 h 2271868"/>
              <a:gd name="connsiteX6" fmla="*/ 10985500 w 10985500"/>
              <a:gd name="connsiteY6" fmla="*/ 2133193 h 2271868"/>
              <a:gd name="connsiteX7" fmla="*/ 10846825 w 10985500"/>
              <a:gd name="connsiteY7" fmla="*/ 2271868 h 2271868"/>
              <a:gd name="connsiteX8" fmla="*/ 138675 w 10985500"/>
              <a:gd name="connsiteY8" fmla="*/ 2271868 h 2271868"/>
              <a:gd name="connsiteX9" fmla="*/ 0 w 10985500"/>
              <a:gd name="connsiteY9" fmla="*/ 2133193 h 2271868"/>
              <a:gd name="connsiteX10" fmla="*/ 0 w 10985500"/>
              <a:gd name="connsiteY10" fmla="*/ 138675 h 2271868"/>
              <a:gd name="connsiteX11" fmla="*/ 138675 w 10985500"/>
              <a:gd name="connsiteY11" fmla="*/ 0 h 2271868"/>
              <a:gd name="connsiteX12" fmla="*/ 165434 w 10985500"/>
              <a:gd name="connsiteY12" fmla="*/ 0 h 2271868"/>
              <a:gd name="connsiteX13" fmla="*/ 169003 w 10985500"/>
              <a:gd name="connsiteY13" fmla="*/ 35408 h 2271868"/>
              <a:gd name="connsiteX14" fmla="*/ 461093 w 10985500"/>
              <a:gd name="connsiteY14" fmla="*/ 273468 h 2271868"/>
              <a:gd name="connsiteX15" fmla="*/ 4870753 w 10985500"/>
              <a:gd name="connsiteY15" fmla="*/ 273469 h 2271868"/>
              <a:gd name="connsiteX16" fmla="*/ 5162843 w 10985500"/>
              <a:gd name="connsiteY16" fmla="*/ 35409 h 2271868"/>
              <a:gd name="connsiteX17" fmla="*/ 5166413 w 10985500"/>
              <a:gd name="connsiteY17" fmla="*/ 0 h 2271868"/>
              <a:gd name="connsiteX0" fmla="*/ 10525628 w 10985500"/>
              <a:gd name="connsiteY0" fmla="*/ 273469 h 2271868"/>
              <a:gd name="connsiteX1" fmla="*/ 10817718 w 10985500"/>
              <a:gd name="connsiteY1" fmla="*/ 35409 h 2271868"/>
              <a:gd name="connsiteX2" fmla="*/ 10821287 w 10985500"/>
              <a:gd name="connsiteY2" fmla="*/ 0 h 2271868"/>
              <a:gd name="connsiteX3" fmla="*/ 10846825 w 10985500"/>
              <a:gd name="connsiteY3" fmla="*/ 0 h 2271868"/>
              <a:gd name="connsiteX4" fmla="*/ 10985500 w 10985500"/>
              <a:gd name="connsiteY4" fmla="*/ 138675 h 2271868"/>
              <a:gd name="connsiteX5" fmla="*/ 10985500 w 10985500"/>
              <a:gd name="connsiteY5" fmla="*/ 2133193 h 2271868"/>
              <a:gd name="connsiteX6" fmla="*/ 10846825 w 10985500"/>
              <a:gd name="connsiteY6" fmla="*/ 2271868 h 2271868"/>
              <a:gd name="connsiteX7" fmla="*/ 138675 w 10985500"/>
              <a:gd name="connsiteY7" fmla="*/ 2271868 h 2271868"/>
              <a:gd name="connsiteX8" fmla="*/ 0 w 10985500"/>
              <a:gd name="connsiteY8" fmla="*/ 2133193 h 2271868"/>
              <a:gd name="connsiteX9" fmla="*/ 0 w 10985500"/>
              <a:gd name="connsiteY9" fmla="*/ 138675 h 2271868"/>
              <a:gd name="connsiteX10" fmla="*/ 138675 w 10985500"/>
              <a:gd name="connsiteY10" fmla="*/ 0 h 2271868"/>
              <a:gd name="connsiteX11" fmla="*/ 165434 w 10985500"/>
              <a:gd name="connsiteY11" fmla="*/ 0 h 2271868"/>
              <a:gd name="connsiteX12" fmla="*/ 169003 w 10985500"/>
              <a:gd name="connsiteY12" fmla="*/ 35408 h 2271868"/>
              <a:gd name="connsiteX13" fmla="*/ 461093 w 10985500"/>
              <a:gd name="connsiteY13" fmla="*/ 273468 h 2271868"/>
              <a:gd name="connsiteX14" fmla="*/ 4870753 w 10985500"/>
              <a:gd name="connsiteY14" fmla="*/ 273469 h 2271868"/>
              <a:gd name="connsiteX15" fmla="*/ 5162843 w 10985500"/>
              <a:gd name="connsiteY15" fmla="*/ 35409 h 2271868"/>
              <a:gd name="connsiteX16" fmla="*/ 5166413 w 10985500"/>
              <a:gd name="connsiteY16" fmla="*/ 0 h 2271868"/>
              <a:gd name="connsiteX0" fmla="*/ 10817718 w 10985500"/>
              <a:gd name="connsiteY0" fmla="*/ 35409 h 2271868"/>
              <a:gd name="connsiteX1" fmla="*/ 10821287 w 10985500"/>
              <a:gd name="connsiteY1" fmla="*/ 0 h 2271868"/>
              <a:gd name="connsiteX2" fmla="*/ 10846825 w 10985500"/>
              <a:gd name="connsiteY2" fmla="*/ 0 h 2271868"/>
              <a:gd name="connsiteX3" fmla="*/ 10985500 w 10985500"/>
              <a:gd name="connsiteY3" fmla="*/ 138675 h 2271868"/>
              <a:gd name="connsiteX4" fmla="*/ 10985500 w 10985500"/>
              <a:gd name="connsiteY4" fmla="*/ 2133193 h 2271868"/>
              <a:gd name="connsiteX5" fmla="*/ 10846825 w 10985500"/>
              <a:gd name="connsiteY5" fmla="*/ 2271868 h 2271868"/>
              <a:gd name="connsiteX6" fmla="*/ 138675 w 10985500"/>
              <a:gd name="connsiteY6" fmla="*/ 2271868 h 2271868"/>
              <a:gd name="connsiteX7" fmla="*/ 0 w 10985500"/>
              <a:gd name="connsiteY7" fmla="*/ 2133193 h 2271868"/>
              <a:gd name="connsiteX8" fmla="*/ 0 w 10985500"/>
              <a:gd name="connsiteY8" fmla="*/ 138675 h 2271868"/>
              <a:gd name="connsiteX9" fmla="*/ 138675 w 10985500"/>
              <a:gd name="connsiteY9" fmla="*/ 0 h 2271868"/>
              <a:gd name="connsiteX10" fmla="*/ 165434 w 10985500"/>
              <a:gd name="connsiteY10" fmla="*/ 0 h 2271868"/>
              <a:gd name="connsiteX11" fmla="*/ 169003 w 10985500"/>
              <a:gd name="connsiteY11" fmla="*/ 35408 h 2271868"/>
              <a:gd name="connsiteX12" fmla="*/ 461093 w 10985500"/>
              <a:gd name="connsiteY12" fmla="*/ 273468 h 2271868"/>
              <a:gd name="connsiteX13" fmla="*/ 4870753 w 10985500"/>
              <a:gd name="connsiteY13" fmla="*/ 273469 h 2271868"/>
              <a:gd name="connsiteX14" fmla="*/ 5162843 w 10985500"/>
              <a:gd name="connsiteY14" fmla="*/ 35409 h 2271868"/>
              <a:gd name="connsiteX15" fmla="*/ 5166413 w 10985500"/>
              <a:gd name="connsiteY15" fmla="*/ 0 h 2271868"/>
              <a:gd name="connsiteX0" fmla="*/ 10821287 w 10985500"/>
              <a:gd name="connsiteY0" fmla="*/ 0 h 2271868"/>
              <a:gd name="connsiteX1" fmla="*/ 10846825 w 10985500"/>
              <a:gd name="connsiteY1" fmla="*/ 0 h 2271868"/>
              <a:gd name="connsiteX2" fmla="*/ 10985500 w 10985500"/>
              <a:gd name="connsiteY2" fmla="*/ 138675 h 2271868"/>
              <a:gd name="connsiteX3" fmla="*/ 10985500 w 10985500"/>
              <a:gd name="connsiteY3" fmla="*/ 2133193 h 2271868"/>
              <a:gd name="connsiteX4" fmla="*/ 10846825 w 10985500"/>
              <a:gd name="connsiteY4" fmla="*/ 2271868 h 2271868"/>
              <a:gd name="connsiteX5" fmla="*/ 138675 w 10985500"/>
              <a:gd name="connsiteY5" fmla="*/ 2271868 h 2271868"/>
              <a:gd name="connsiteX6" fmla="*/ 0 w 10985500"/>
              <a:gd name="connsiteY6" fmla="*/ 2133193 h 2271868"/>
              <a:gd name="connsiteX7" fmla="*/ 0 w 10985500"/>
              <a:gd name="connsiteY7" fmla="*/ 138675 h 2271868"/>
              <a:gd name="connsiteX8" fmla="*/ 138675 w 10985500"/>
              <a:gd name="connsiteY8" fmla="*/ 0 h 2271868"/>
              <a:gd name="connsiteX9" fmla="*/ 165434 w 10985500"/>
              <a:gd name="connsiteY9" fmla="*/ 0 h 2271868"/>
              <a:gd name="connsiteX10" fmla="*/ 169003 w 10985500"/>
              <a:gd name="connsiteY10" fmla="*/ 35408 h 2271868"/>
              <a:gd name="connsiteX11" fmla="*/ 461093 w 10985500"/>
              <a:gd name="connsiteY11" fmla="*/ 273468 h 2271868"/>
              <a:gd name="connsiteX12" fmla="*/ 4870753 w 10985500"/>
              <a:gd name="connsiteY12" fmla="*/ 273469 h 2271868"/>
              <a:gd name="connsiteX13" fmla="*/ 5162843 w 10985500"/>
              <a:gd name="connsiteY13" fmla="*/ 35409 h 2271868"/>
              <a:gd name="connsiteX14" fmla="*/ 5166413 w 10985500"/>
              <a:gd name="connsiteY14" fmla="*/ 0 h 2271868"/>
              <a:gd name="connsiteX0" fmla="*/ 10821287 w 10985500"/>
              <a:gd name="connsiteY0" fmla="*/ 0 h 2271868"/>
              <a:gd name="connsiteX1" fmla="*/ 10846825 w 10985500"/>
              <a:gd name="connsiteY1" fmla="*/ 0 h 2271868"/>
              <a:gd name="connsiteX2" fmla="*/ 10985500 w 10985500"/>
              <a:gd name="connsiteY2" fmla="*/ 138675 h 2271868"/>
              <a:gd name="connsiteX3" fmla="*/ 10985500 w 10985500"/>
              <a:gd name="connsiteY3" fmla="*/ 2133193 h 2271868"/>
              <a:gd name="connsiteX4" fmla="*/ 10846825 w 10985500"/>
              <a:gd name="connsiteY4" fmla="*/ 2271868 h 2271868"/>
              <a:gd name="connsiteX5" fmla="*/ 138675 w 10985500"/>
              <a:gd name="connsiteY5" fmla="*/ 2271868 h 2271868"/>
              <a:gd name="connsiteX6" fmla="*/ 0 w 10985500"/>
              <a:gd name="connsiteY6" fmla="*/ 2133193 h 2271868"/>
              <a:gd name="connsiteX7" fmla="*/ 0 w 10985500"/>
              <a:gd name="connsiteY7" fmla="*/ 138675 h 2271868"/>
              <a:gd name="connsiteX8" fmla="*/ 138675 w 10985500"/>
              <a:gd name="connsiteY8" fmla="*/ 0 h 2271868"/>
              <a:gd name="connsiteX9" fmla="*/ 165434 w 10985500"/>
              <a:gd name="connsiteY9" fmla="*/ 0 h 2271868"/>
              <a:gd name="connsiteX10" fmla="*/ 169003 w 10985500"/>
              <a:gd name="connsiteY10" fmla="*/ 35408 h 2271868"/>
              <a:gd name="connsiteX11" fmla="*/ 461093 w 10985500"/>
              <a:gd name="connsiteY11" fmla="*/ 273468 h 2271868"/>
              <a:gd name="connsiteX12" fmla="*/ 4870753 w 10985500"/>
              <a:gd name="connsiteY12" fmla="*/ 273469 h 2271868"/>
              <a:gd name="connsiteX13" fmla="*/ 5162843 w 10985500"/>
              <a:gd name="connsiteY13" fmla="*/ 35409 h 2271868"/>
              <a:gd name="connsiteX0" fmla="*/ 10821287 w 10985500"/>
              <a:gd name="connsiteY0" fmla="*/ 0 h 2271868"/>
              <a:gd name="connsiteX1" fmla="*/ 10846825 w 10985500"/>
              <a:gd name="connsiteY1" fmla="*/ 0 h 2271868"/>
              <a:gd name="connsiteX2" fmla="*/ 10985500 w 10985500"/>
              <a:gd name="connsiteY2" fmla="*/ 138675 h 2271868"/>
              <a:gd name="connsiteX3" fmla="*/ 10985500 w 10985500"/>
              <a:gd name="connsiteY3" fmla="*/ 2133193 h 2271868"/>
              <a:gd name="connsiteX4" fmla="*/ 10846825 w 10985500"/>
              <a:gd name="connsiteY4" fmla="*/ 2271868 h 2271868"/>
              <a:gd name="connsiteX5" fmla="*/ 138675 w 10985500"/>
              <a:gd name="connsiteY5" fmla="*/ 2271868 h 2271868"/>
              <a:gd name="connsiteX6" fmla="*/ 0 w 10985500"/>
              <a:gd name="connsiteY6" fmla="*/ 2133193 h 2271868"/>
              <a:gd name="connsiteX7" fmla="*/ 0 w 10985500"/>
              <a:gd name="connsiteY7" fmla="*/ 138675 h 2271868"/>
              <a:gd name="connsiteX8" fmla="*/ 138675 w 10985500"/>
              <a:gd name="connsiteY8" fmla="*/ 0 h 2271868"/>
              <a:gd name="connsiteX9" fmla="*/ 165434 w 10985500"/>
              <a:gd name="connsiteY9" fmla="*/ 0 h 2271868"/>
              <a:gd name="connsiteX10" fmla="*/ 169003 w 10985500"/>
              <a:gd name="connsiteY10" fmla="*/ 35408 h 2271868"/>
              <a:gd name="connsiteX11" fmla="*/ 461093 w 10985500"/>
              <a:gd name="connsiteY11" fmla="*/ 273468 h 2271868"/>
              <a:gd name="connsiteX12" fmla="*/ 4870753 w 10985500"/>
              <a:gd name="connsiteY12" fmla="*/ 273469 h 2271868"/>
              <a:gd name="connsiteX0" fmla="*/ 10821287 w 10985500"/>
              <a:gd name="connsiteY0" fmla="*/ 0 h 2271868"/>
              <a:gd name="connsiteX1" fmla="*/ 10846825 w 10985500"/>
              <a:gd name="connsiteY1" fmla="*/ 0 h 2271868"/>
              <a:gd name="connsiteX2" fmla="*/ 10985500 w 10985500"/>
              <a:gd name="connsiteY2" fmla="*/ 138675 h 2271868"/>
              <a:gd name="connsiteX3" fmla="*/ 10985500 w 10985500"/>
              <a:gd name="connsiteY3" fmla="*/ 2133193 h 2271868"/>
              <a:gd name="connsiteX4" fmla="*/ 10846825 w 10985500"/>
              <a:gd name="connsiteY4" fmla="*/ 2271868 h 2271868"/>
              <a:gd name="connsiteX5" fmla="*/ 138675 w 10985500"/>
              <a:gd name="connsiteY5" fmla="*/ 2271868 h 2271868"/>
              <a:gd name="connsiteX6" fmla="*/ 0 w 10985500"/>
              <a:gd name="connsiteY6" fmla="*/ 2133193 h 2271868"/>
              <a:gd name="connsiteX7" fmla="*/ 0 w 10985500"/>
              <a:gd name="connsiteY7" fmla="*/ 138675 h 2271868"/>
              <a:gd name="connsiteX8" fmla="*/ 138675 w 10985500"/>
              <a:gd name="connsiteY8" fmla="*/ 0 h 2271868"/>
              <a:gd name="connsiteX9" fmla="*/ 165434 w 10985500"/>
              <a:gd name="connsiteY9" fmla="*/ 0 h 2271868"/>
              <a:gd name="connsiteX10" fmla="*/ 169003 w 10985500"/>
              <a:gd name="connsiteY10" fmla="*/ 35408 h 2271868"/>
              <a:gd name="connsiteX11" fmla="*/ 461093 w 10985500"/>
              <a:gd name="connsiteY11" fmla="*/ 273468 h 2271868"/>
              <a:gd name="connsiteX0" fmla="*/ 10821287 w 10985500"/>
              <a:gd name="connsiteY0" fmla="*/ 0 h 2271868"/>
              <a:gd name="connsiteX1" fmla="*/ 10846825 w 10985500"/>
              <a:gd name="connsiteY1" fmla="*/ 0 h 2271868"/>
              <a:gd name="connsiteX2" fmla="*/ 10985500 w 10985500"/>
              <a:gd name="connsiteY2" fmla="*/ 138675 h 2271868"/>
              <a:gd name="connsiteX3" fmla="*/ 10985500 w 10985500"/>
              <a:gd name="connsiteY3" fmla="*/ 2133193 h 2271868"/>
              <a:gd name="connsiteX4" fmla="*/ 10846825 w 10985500"/>
              <a:gd name="connsiteY4" fmla="*/ 2271868 h 2271868"/>
              <a:gd name="connsiteX5" fmla="*/ 138675 w 10985500"/>
              <a:gd name="connsiteY5" fmla="*/ 2271868 h 2271868"/>
              <a:gd name="connsiteX6" fmla="*/ 0 w 10985500"/>
              <a:gd name="connsiteY6" fmla="*/ 2133193 h 2271868"/>
              <a:gd name="connsiteX7" fmla="*/ 0 w 10985500"/>
              <a:gd name="connsiteY7" fmla="*/ 138675 h 2271868"/>
              <a:gd name="connsiteX8" fmla="*/ 138675 w 10985500"/>
              <a:gd name="connsiteY8" fmla="*/ 0 h 2271868"/>
              <a:gd name="connsiteX9" fmla="*/ 165434 w 10985500"/>
              <a:gd name="connsiteY9" fmla="*/ 0 h 2271868"/>
              <a:gd name="connsiteX10" fmla="*/ 169003 w 10985500"/>
              <a:gd name="connsiteY10" fmla="*/ 35408 h 2271868"/>
              <a:gd name="connsiteX0" fmla="*/ 10821287 w 10985500"/>
              <a:gd name="connsiteY0" fmla="*/ 0 h 2271868"/>
              <a:gd name="connsiteX1" fmla="*/ 10846825 w 10985500"/>
              <a:gd name="connsiteY1" fmla="*/ 0 h 2271868"/>
              <a:gd name="connsiteX2" fmla="*/ 10985500 w 10985500"/>
              <a:gd name="connsiteY2" fmla="*/ 138675 h 2271868"/>
              <a:gd name="connsiteX3" fmla="*/ 10985500 w 10985500"/>
              <a:gd name="connsiteY3" fmla="*/ 2133193 h 2271868"/>
              <a:gd name="connsiteX4" fmla="*/ 10846825 w 10985500"/>
              <a:gd name="connsiteY4" fmla="*/ 2271868 h 2271868"/>
              <a:gd name="connsiteX5" fmla="*/ 138675 w 10985500"/>
              <a:gd name="connsiteY5" fmla="*/ 2271868 h 2271868"/>
              <a:gd name="connsiteX6" fmla="*/ 0 w 10985500"/>
              <a:gd name="connsiteY6" fmla="*/ 2133193 h 2271868"/>
              <a:gd name="connsiteX7" fmla="*/ 0 w 10985500"/>
              <a:gd name="connsiteY7" fmla="*/ 138675 h 2271868"/>
              <a:gd name="connsiteX8" fmla="*/ 138675 w 10985500"/>
              <a:gd name="connsiteY8" fmla="*/ 0 h 2271868"/>
              <a:gd name="connsiteX9" fmla="*/ 165434 w 10985500"/>
              <a:gd name="connsiteY9" fmla="*/ 0 h 2271868"/>
              <a:gd name="connsiteX0" fmla="*/ 10821287 w 10985500"/>
              <a:gd name="connsiteY0" fmla="*/ 0 h 2271868"/>
              <a:gd name="connsiteX1" fmla="*/ 10846825 w 10985500"/>
              <a:gd name="connsiteY1" fmla="*/ 0 h 2271868"/>
              <a:gd name="connsiteX2" fmla="*/ 10985500 w 10985500"/>
              <a:gd name="connsiteY2" fmla="*/ 138675 h 2271868"/>
              <a:gd name="connsiteX3" fmla="*/ 10985500 w 10985500"/>
              <a:gd name="connsiteY3" fmla="*/ 2133193 h 2271868"/>
              <a:gd name="connsiteX4" fmla="*/ 10846825 w 10985500"/>
              <a:gd name="connsiteY4" fmla="*/ 2271868 h 2271868"/>
              <a:gd name="connsiteX5" fmla="*/ 138675 w 10985500"/>
              <a:gd name="connsiteY5" fmla="*/ 2271868 h 2271868"/>
              <a:gd name="connsiteX6" fmla="*/ 0 w 10985500"/>
              <a:gd name="connsiteY6" fmla="*/ 2133193 h 2271868"/>
              <a:gd name="connsiteX7" fmla="*/ 0 w 10985500"/>
              <a:gd name="connsiteY7" fmla="*/ 138675 h 2271868"/>
              <a:gd name="connsiteX8" fmla="*/ 138675 w 10985500"/>
              <a:gd name="connsiteY8" fmla="*/ 0 h 2271868"/>
              <a:gd name="connsiteX0" fmla="*/ 10846825 w 10985500"/>
              <a:gd name="connsiteY0" fmla="*/ 0 h 2271868"/>
              <a:gd name="connsiteX1" fmla="*/ 10985500 w 10985500"/>
              <a:gd name="connsiteY1" fmla="*/ 138675 h 2271868"/>
              <a:gd name="connsiteX2" fmla="*/ 10985500 w 10985500"/>
              <a:gd name="connsiteY2" fmla="*/ 2133193 h 2271868"/>
              <a:gd name="connsiteX3" fmla="*/ 10846825 w 10985500"/>
              <a:gd name="connsiteY3" fmla="*/ 2271868 h 2271868"/>
              <a:gd name="connsiteX4" fmla="*/ 138675 w 10985500"/>
              <a:gd name="connsiteY4" fmla="*/ 2271868 h 2271868"/>
              <a:gd name="connsiteX5" fmla="*/ 0 w 10985500"/>
              <a:gd name="connsiteY5" fmla="*/ 2133193 h 2271868"/>
              <a:gd name="connsiteX6" fmla="*/ 0 w 10985500"/>
              <a:gd name="connsiteY6" fmla="*/ 138675 h 2271868"/>
              <a:gd name="connsiteX7" fmla="*/ 138675 w 10985500"/>
              <a:gd name="connsiteY7" fmla="*/ 0 h 2271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85500" h="2271868">
                <a:moveTo>
                  <a:pt x="10846825" y="0"/>
                </a:moveTo>
                <a:cubicBezTo>
                  <a:pt x="10923413" y="0"/>
                  <a:pt x="10985500" y="62087"/>
                  <a:pt x="10985500" y="138675"/>
                </a:cubicBezTo>
                <a:lnTo>
                  <a:pt x="10985500" y="2133193"/>
                </a:lnTo>
                <a:cubicBezTo>
                  <a:pt x="10985500" y="2209781"/>
                  <a:pt x="10923413" y="2271868"/>
                  <a:pt x="10846825" y="2271868"/>
                </a:cubicBezTo>
                <a:lnTo>
                  <a:pt x="138675" y="2271868"/>
                </a:lnTo>
                <a:cubicBezTo>
                  <a:pt x="62087" y="2271868"/>
                  <a:pt x="0" y="2209781"/>
                  <a:pt x="0" y="2133193"/>
                </a:cubicBezTo>
                <a:lnTo>
                  <a:pt x="0" y="138675"/>
                </a:lnTo>
                <a:cubicBezTo>
                  <a:pt x="0" y="62087"/>
                  <a:pt x="62087" y="0"/>
                  <a:pt x="138675" y="0"/>
                </a:cubicBezTo>
              </a:path>
            </a:pathLst>
          </a:cu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Segoe UI"/>
              <a:ea typeface="+mn-ea"/>
              <a:cs typeface="Segoe UI" pitchFamily="34" charset="0"/>
            </a:endParaRPr>
          </a:p>
        </p:txBody>
      </p:sp>
      <p:pic>
        <p:nvPicPr>
          <p:cNvPr id="5" name="Picture 4" descr="Logo de Copilot">
            <a:extLst>
              <a:ext uri="{FF2B5EF4-FFF2-40B4-BE49-F238E27FC236}">
                <a16:creationId xmlns:a16="http://schemas.microsoft.com/office/drawing/2014/main" id="{9100FAE4-549E-1817-32DB-C4394176C454}"/>
              </a:ext>
            </a:extLst>
          </p:cNvPr>
          <p:cNvPicPr>
            <a:picLocks/>
          </p:cNvPicPr>
          <p:nvPr/>
        </p:nvPicPr>
        <p:blipFill>
          <a:blip r:embed="rId3"/>
          <a:srcRect l="20655" r="20655"/>
          <a:stretch/>
        </p:blipFill>
        <p:spPr>
          <a:xfrm>
            <a:off x="3603233" y="1496074"/>
            <a:ext cx="560426" cy="537124"/>
          </a:xfrm>
          <a:prstGeom prst="rect">
            <a:avLst/>
          </a:prstGeom>
        </p:spPr>
      </p:pic>
      <p:sp>
        <p:nvSpPr>
          <p:cNvPr id="6" name="Freeform: Shape 5" descr="Icône d’outil">
            <a:extLst>
              <a:ext uri="{FF2B5EF4-FFF2-40B4-BE49-F238E27FC236}">
                <a16:creationId xmlns:a16="http://schemas.microsoft.com/office/drawing/2014/main" id="{B4AE0085-E043-6972-909A-C3B993FE936E}"/>
              </a:ext>
            </a:extLst>
          </p:cNvPr>
          <p:cNvSpPr/>
          <p:nvPr/>
        </p:nvSpPr>
        <p:spPr>
          <a:xfrm>
            <a:off x="8969306" y="1493686"/>
            <a:ext cx="571238" cy="541900"/>
          </a:xfrm>
          <a:custGeom>
            <a:avLst/>
            <a:gdLst>
              <a:gd name="connsiteX0" fmla="*/ 2780277 w 3304874"/>
              <a:gd name="connsiteY0" fmla="*/ 1098192 h 3135152"/>
              <a:gd name="connsiteX1" fmla="*/ 2855454 w 3304874"/>
              <a:gd name="connsiteY1" fmla="*/ 1106858 h 3135152"/>
              <a:gd name="connsiteX2" fmla="*/ 2596037 w 3304874"/>
              <a:gd name="connsiteY2" fmla="*/ 1555959 h 3135152"/>
              <a:gd name="connsiteX3" fmla="*/ 2655261 w 3304874"/>
              <a:gd name="connsiteY3" fmla="*/ 1808431 h 3135152"/>
              <a:gd name="connsiteX4" fmla="*/ 2907733 w 3304874"/>
              <a:gd name="connsiteY4" fmla="*/ 1749190 h 3135152"/>
              <a:gd name="connsiteX5" fmla="*/ 2913441 w 3304874"/>
              <a:gd name="connsiteY5" fmla="*/ 1739325 h 3135152"/>
              <a:gd name="connsiteX6" fmla="*/ 3172875 w 3304874"/>
              <a:gd name="connsiteY6" fmla="*/ 1290075 h 3135152"/>
              <a:gd name="connsiteX7" fmla="*/ 3112232 w 3304874"/>
              <a:gd name="connsiteY7" fmla="*/ 2065721 h 3135152"/>
              <a:gd name="connsiteX8" fmla="*/ 2705396 w 3304874"/>
              <a:gd name="connsiteY8" fmla="*/ 2195487 h 3135152"/>
              <a:gd name="connsiteX9" fmla="*/ 2229124 w 3304874"/>
              <a:gd name="connsiteY9" fmla="*/ 3020459 h 3135152"/>
              <a:gd name="connsiteX10" fmla="*/ 1916025 w 3304874"/>
              <a:gd name="connsiteY10" fmla="*/ 3104446 h 3135152"/>
              <a:gd name="connsiteX11" fmla="*/ 1832038 w 3304874"/>
              <a:gd name="connsiteY11" fmla="*/ 2791347 h 3135152"/>
              <a:gd name="connsiteX12" fmla="*/ 2307535 w 3304874"/>
              <a:gd name="connsiteY12" fmla="*/ 1967959 h 3135152"/>
              <a:gd name="connsiteX13" fmla="*/ 2434266 w 3304874"/>
              <a:gd name="connsiteY13" fmla="*/ 1200578 h 3135152"/>
              <a:gd name="connsiteX14" fmla="*/ 2704604 w 3304874"/>
              <a:gd name="connsiteY14" fmla="*/ 1099945 h 3135152"/>
              <a:gd name="connsiteX15" fmla="*/ 2780277 w 3304874"/>
              <a:gd name="connsiteY15" fmla="*/ 1098192 h 3135152"/>
              <a:gd name="connsiteX16" fmla="*/ 549981 w 3304874"/>
              <a:gd name="connsiteY16" fmla="*/ 0 h 3135152"/>
              <a:gd name="connsiteX17" fmla="*/ 2278468 w 3304874"/>
              <a:gd name="connsiteY17" fmla="*/ 0 h 3135152"/>
              <a:gd name="connsiteX18" fmla="*/ 2663445 w 3304874"/>
              <a:gd name="connsiteY18" fmla="*/ 157135 h 3135152"/>
              <a:gd name="connsiteX19" fmla="*/ 2671298 w 3304874"/>
              <a:gd name="connsiteY19" fmla="*/ 157135 h 3135152"/>
              <a:gd name="connsiteX20" fmla="*/ 2671298 w 3304874"/>
              <a:gd name="connsiteY20" fmla="*/ 164988 h 3135152"/>
              <a:gd name="connsiteX21" fmla="*/ 2828433 w 3304874"/>
              <a:gd name="connsiteY21" fmla="*/ 549982 h 3135152"/>
              <a:gd name="connsiteX22" fmla="*/ 2828433 w 3304874"/>
              <a:gd name="connsiteY22" fmla="*/ 944230 h 3135152"/>
              <a:gd name="connsiteX23" fmla="*/ 2514162 w 3304874"/>
              <a:gd name="connsiteY23" fmla="*/ 982718 h 3135152"/>
              <a:gd name="connsiteX24" fmla="*/ 2514162 w 3304874"/>
              <a:gd name="connsiteY24" fmla="*/ 785676 h 3135152"/>
              <a:gd name="connsiteX25" fmla="*/ 314270 w 3304874"/>
              <a:gd name="connsiteY25" fmla="*/ 785676 h 3135152"/>
              <a:gd name="connsiteX26" fmla="*/ 314270 w 3304874"/>
              <a:gd name="connsiteY26" fmla="*/ 2278469 h 3135152"/>
              <a:gd name="connsiteX27" fmla="*/ 549981 w 3304874"/>
              <a:gd name="connsiteY27" fmla="*/ 2514163 h 3135152"/>
              <a:gd name="connsiteX28" fmla="*/ 1810824 w 3304874"/>
              <a:gd name="connsiteY28" fmla="*/ 2514163 h 3135152"/>
              <a:gd name="connsiteX29" fmla="*/ 1696119 w 3304874"/>
              <a:gd name="connsiteY29" fmla="*/ 2712789 h 3135152"/>
              <a:gd name="connsiteX30" fmla="*/ 1652121 w 3304874"/>
              <a:gd name="connsiteY30" fmla="*/ 2828433 h 3135152"/>
              <a:gd name="connsiteX31" fmla="*/ 549981 w 3304874"/>
              <a:gd name="connsiteY31" fmla="*/ 2828433 h 3135152"/>
              <a:gd name="connsiteX32" fmla="*/ 0 w 3304874"/>
              <a:gd name="connsiteY32" fmla="*/ 2278469 h 3135152"/>
              <a:gd name="connsiteX33" fmla="*/ 0 w 3304874"/>
              <a:gd name="connsiteY33" fmla="*/ 549982 h 3135152"/>
              <a:gd name="connsiteX34" fmla="*/ 157135 w 3304874"/>
              <a:gd name="connsiteY34" fmla="*/ 164988 h 3135152"/>
              <a:gd name="connsiteX35" fmla="*/ 157135 w 3304874"/>
              <a:gd name="connsiteY35" fmla="*/ 157135 h 3135152"/>
              <a:gd name="connsiteX36" fmla="*/ 164988 w 3304874"/>
              <a:gd name="connsiteY36" fmla="*/ 157135 h 3135152"/>
              <a:gd name="connsiteX37" fmla="*/ 549981 w 3304874"/>
              <a:gd name="connsiteY37" fmla="*/ 0 h 313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04874" h="3135152">
                <a:moveTo>
                  <a:pt x="2780277" y="1098192"/>
                </a:moveTo>
                <a:cubicBezTo>
                  <a:pt x="2805480" y="1099347"/>
                  <a:pt x="2830601" y="1102239"/>
                  <a:pt x="2855454" y="1106858"/>
                </a:cubicBezTo>
                <a:lnTo>
                  <a:pt x="2596037" y="1555959"/>
                </a:lnTo>
                <a:cubicBezTo>
                  <a:pt x="2542668" y="1642025"/>
                  <a:pt x="2569179" y="1755080"/>
                  <a:pt x="2655261" y="1808431"/>
                </a:cubicBezTo>
                <a:cubicBezTo>
                  <a:pt x="2741327" y="1861800"/>
                  <a:pt x="2854382" y="1835272"/>
                  <a:pt x="2907733" y="1749190"/>
                </a:cubicBezTo>
                <a:cubicBezTo>
                  <a:pt x="2909730" y="1745973"/>
                  <a:pt x="2911643" y="1742674"/>
                  <a:pt x="2913441" y="1739325"/>
                </a:cubicBezTo>
                <a:lnTo>
                  <a:pt x="3172875" y="1290075"/>
                </a:lnTo>
                <a:cubicBezTo>
                  <a:pt x="3370313" y="1521002"/>
                  <a:pt x="3343159" y="1868266"/>
                  <a:pt x="3112232" y="2065721"/>
                </a:cubicBezTo>
                <a:cubicBezTo>
                  <a:pt x="2999622" y="2161998"/>
                  <a:pt x="2852947" y="2208784"/>
                  <a:pt x="2705396" y="2195487"/>
                </a:cubicBezTo>
                <a:lnTo>
                  <a:pt x="2229124" y="3020459"/>
                </a:lnTo>
                <a:cubicBezTo>
                  <a:pt x="2165858" y="3130099"/>
                  <a:pt x="2025681" y="3167696"/>
                  <a:pt x="1916025" y="3104446"/>
                </a:cubicBezTo>
                <a:cubicBezTo>
                  <a:pt x="1806385" y="3041179"/>
                  <a:pt x="1768772" y="2901003"/>
                  <a:pt x="1832038" y="2791347"/>
                </a:cubicBezTo>
                <a:lnTo>
                  <a:pt x="2307535" y="1967959"/>
                </a:lnTo>
                <a:cubicBezTo>
                  <a:pt x="2130620" y="1721063"/>
                  <a:pt x="2187370" y="1377477"/>
                  <a:pt x="2434266" y="1200578"/>
                </a:cubicBezTo>
                <a:cubicBezTo>
                  <a:pt x="2513832" y="1143580"/>
                  <a:pt x="2607156" y="1108837"/>
                  <a:pt x="2704604" y="1099945"/>
                </a:cubicBezTo>
                <a:cubicBezTo>
                  <a:pt x="2729787" y="1097619"/>
                  <a:pt x="2755073" y="1097038"/>
                  <a:pt x="2780277" y="1098192"/>
                </a:cubicBezTo>
                <a:close/>
                <a:moveTo>
                  <a:pt x="549981" y="0"/>
                </a:moveTo>
                <a:lnTo>
                  <a:pt x="2278468" y="0"/>
                </a:lnTo>
                <a:cubicBezTo>
                  <a:pt x="2422438" y="-198"/>
                  <a:pt x="2560717" y="56239"/>
                  <a:pt x="2663445" y="157135"/>
                </a:cubicBezTo>
                <a:lnTo>
                  <a:pt x="2671298" y="157135"/>
                </a:lnTo>
                <a:lnTo>
                  <a:pt x="2671298" y="164988"/>
                </a:lnTo>
                <a:cubicBezTo>
                  <a:pt x="2768565" y="264301"/>
                  <a:pt x="2828433" y="400072"/>
                  <a:pt x="2828433" y="549982"/>
                </a:cubicBezTo>
                <a:lnTo>
                  <a:pt x="2828433" y="944230"/>
                </a:lnTo>
                <a:cubicBezTo>
                  <a:pt x="2722109" y="933226"/>
                  <a:pt x="2614679" y="946375"/>
                  <a:pt x="2514162" y="982718"/>
                </a:cubicBezTo>
                <a:lnTo>
                  <a:pt x="2514162" y="785676"/>
                </a:lnTo>
                <a:lnTo>
                  <a:pt x="314270" y="785676"/>
                </a:lnTo>
                <a:lnTo>
                  <a:pt x="314270" y="2278469"/>
                </a:lnTo>
                <a:cubicBezTo>
                  <a:pt x="314270" y="2408631"/>
                  <a:pt x="419802" y="2514163"/>
                  <a:pt x="549981" y="2514163"/>
                </a:cubicBezTo>
                <a:lnTo>
                  <a:pt x="1810824" y="2514163"/>
                </a:lnTo>
                <a:lnTo>
                  <a:pt x="1696119" y="2712789"/>
                </a:lnTo>
                <a:cubicBezTo>
                  <a:pt x="1674739" y="2749874"/>
                  <a:pt x="1660139" y="2788840"/>
                  <a:pt x="1652121" y="2828433"/>
                </a:cubicBezTo>
                <a:lnTo>
                  <a:pt x="549981" y="2828433"/>
                </a:lnTo>
                <a:cubicBezTo>
                  <a:pt x="246236" y="2828433"/>
                  <a:pt x="0" y="2582197"/>
                  <a:pt x="0" y="2278469"/>
                </a:cubicBezTo>
                <a:lnTo>
                  <a:pt x="0" y="549982"/>
                </a:lnTo>
                <a:cubicBezTo>
                  <a:pt x="0" y="400072"/>
                  <a:pt x="59868" y="264301"/>
                  <a:pt x="157135" y="164988"/>
                </a:cubicBezTo>
                <a:lnTo>
                  <a:pt x="157135" y="157135"/>
                </a:lnTo>
                <a:lnTo>
                  <a:pt x="164988" y="157135"/>
                </a:lnTo>
                <a:cubicBezTo>
                  <a:pt x="264300" y="59868"/>
                  <a:pt x="400072" y="0"/>
                  <a:pt x="549981"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chemeClr val="bg1"/>
              </a:solidFill>
              <a:effectLst/>
              <a:uLnTx/>
              <a:uFillTx/>
              <a:latin typeface="Segoe UI Semibold"/>
              <a:ea typeface="+mn-ea"/>
              <a:cs typeface="Segoe UI Semibold" panose="020B0502040204020203" pitchFamily="34" charset="0"/>
            </a:endParaRPr>
          </a:p>
        </p:txBody>
      </p:sp>
      <p:sp>
        <p:nvSpPr>
          <p:cNvPr id="7" name="Rectangle: Rounded Corners 6">
            <a:hlinkClick r:id="" action="ppaction://noaction"/>
            <a:extLst>
              <a:ext uri="{FF2B5EF4-FFF2-40B4-BE49-F238E27FC236}">
                <a16:creationId xmlns:a16="http://schemas.microsoft.com/office/drawing/2014/main" id="{F619EE05-6500-1A3C-32A7-757FBF2E140F}"/>
              </a:ext>
            </a:extLst>
          </p:cNvPr>
          <p:cNvSpPr>
            <a:spLocks/>
          </p:cNvSpPr>
          <p:nvPr/>
        </p:nvSpPr>
        <p:spPr bwMode="auto">
          <a:xfrm>
            <a:off x="1380469" y="2335134"/>
            <a:ext cx="5005954" cy="476030"/>
          </a:xfrm>
          <a:prstGeom prst="roundRect">
            <a:avLst>
              <a:gd name="adj" fmla="val 5000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000" b="0" i="0" u="none" strike="noStrike" kern="1200" cap="none" spc="0" normalizeH="0" baseline="0" noProof="0">
                <a:ln>
                  <a:noFill/>
                </a:ln>
                <a:solidFill>
                  <a:schemeClr val="bg1"/>
                </a:solidFill>
                <a:effectLst/>
                <a:uLnTx/>
                <a:uFillTx/>
                <a:latin typeface="Segoe UI Semibold"/>
                <a:ea typeface="+mn-ea"/>
                <a:cs typeface="+mn-cs"/>
              </a:rPr>
              <a:t>Agents déclaratifs</a:t>
            </a:r>
            <a:endParaRPr kumimoji="0" lang="en-US" sz="2000" b="0" i="1" u="none" strike="noStrike" kern="1200" cap="none" spc="0" normalizeH="0" baseline="0" noProof="0">
              <a:ln>
                <a:noFill/>
              </a:ln>
              <a:solidFill>
                <a:schemeClr val="bg1"/>
              </a:solidFill>
              <a:effectLst/>
              <a:uLnTx/>
              <a:uFillTx/>
              <a:latin typeface="Segoe UI Semibold"/>
              <a:ea typeface="+mn-ea"/>
              <a:cs typeface="+mn-cs"/>
            </a:endParaRPr>
          </a:p>
        </p:txBody>
      </p:sp>
      <p:sp>
        <p:nvSpPr>
          <p:cNvPr id="8" name="Rectangle: Rounded Corners 7">
            <a:hlinkClick r:id="" action="ppaction://noaction"/>
            <a:extLst>
              <a:ext uri="{FF2B5EF4-FFF2-40B4-BE49-F238E27FC236}">
                <a16:creationId xmlns:a16="http://schemas.microsoft.com/office/drawing/2014/main" id="{3FCA4992-6DC2-9ACD-FEC4-37783D453BD7}"/>
              </a:ext>
            </a:extLst>
          </p:cNvPr>
          <p:cNvSpPr>
            <a:spLocks/>
          </p:cNvSpPr>
          <p:nvPr/>
        </p:nvSpPr>
        <p:spPr bwMode="auto">
          <a:xfrm>
            <a:off x="6719876" y="2335134"/>
            <a:ext cx="5005954" cy="476030"/>
          </a:xfrm>
          <a:prstGeom prst="roundRect">
            <a:avLst>
              <a:gd name="adj" fmla="val 5000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000" b="0" i="0" u="none" strike="noStrike" kern="1200" cap="none" spc="0" normalizeH="0" baseline="0" noProof="0">
                <a:ln>
                  <a:noFill/>
                </a:ln>
                <a:solidFill>
                  <a:schemeClr val="bg1"/>
                </a:solidFill>
                <a:effectLst/>
                <a:uLnTx/>
                <a:uFillTx/>
                <a:latin typeface="Segoe UI Semibold"/>
                <a:ea typeface="+mn-ea"/>
                <a:cs typeface="+mn-cs"/>
              </a:rPr>
              <a:t>Agents de moteur personnalisé</a:t>
            </a:r>
            <a:endParaRPr kumimoji="0" lang="en-US" sz="2000" b="0" i="1" u="none" strike="noStrike" kern="1200" cap="none" spc="0" normalizeH="0" baseline="0" noProof="0">
              <a:ln>
                <a:noFill/>
              </a:ln>
              <a:solidFill>
                <a:schemeClr val="bg1"/>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43C2CBCE-5EAB-D271-9CEB-9A52406E96D8}"/>
              </a:ext>
            </a:extLst>
          </p:cNvPr>
          <p:cNvSpPr txBox="1"/>
          <p:nvPr/>
        </p:nvSpPr>
        <p:spPr>
          <a:xfrm>
            <a:off x="71718" y="3399810"/>
            <a:ext cx="1022361" cy="49244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chemeClr val="bg1"/>
                </a:solidFill>
                <a:effectLst/>
                <a:uLnTx/>
                <a:uFillTx/>
                <a:latin typeface="Segoe UI Semibold"/>
                <a:ea typeface="+mn-ea"/>
                <a:cs typeface="+mn-cs"/>
              </a:rPr>
              <a:t>Construire avec</a:t>
            </a:r>
          </a:p>
        </p:txBody>
      </p:sp>
      <p:sp>
        <p:nvSpPr>
          <p:cNvPr id="10" name="TextBox 9">
            <a:extLst>
              <a:ext uri="{FF2B5EF4-FFF2-40B4-BE49-F238E27FC236}">
                <a16:creationId xmlns:a16="http://schemas.microsoft.com/office/drawing/2014/main" id="{53AE44D1-710D-4EF9-79C7-7CA1D9597CEE}"/>
              </a:ext>
            </a:extLst>
          </p:cNvPr>
          <p:cNvSpPr txBox="1"/>
          <p:nvPr/>
        </p:nvSpPr>
        <p:spPr>
          <a:xfrm>
            <a:off x="1538343" y="2949849"/>
            <a:ext cx="4711849" cy="126188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fr-fr" sz="1800" b="0" i="0" u="none" strike="noStrike" kern="1200" cap="none" spc="0" normalizeH="0" baseline="0" noProof="0">
                <a:ln>
                  <a:noFill/>
                </a:ln>
                <a:solidFill>
                  <a:schemeClr val="bg1"/>
                </a:solidFill>
                <a:effectLst/>
                <a:uLnTx/>
                <a:uFillTx/>
                <a:latin typeface="Segoe UI"/>
                <a:ea typeface="+mn-ea"/>
                <a:cs typeface="+mn-cs"/>
              </a:rPr>
              <a:t>Agent Builder</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fr-fr" sz="1800" b="0" i="0" u="none" strike="noStrike" kern="1200" cap="none" spc="0" normalizeH="0" baseline="0" noProof="0">
                <a:ln>
                  <a:noFill/>
                </a:ln>
                <a:solidFill>
                  <a:schemeClr val="bg1"/>
                </a:solidFill>
                <a:effectLst/>
                <a:uLnTx/>
                <a:uFillTx/>
                <a:latin typeface="Segoe UI"/>
                <a:ea typeface="+mn-ea"/>
                <a:cs typeface="+mn-cs"/>
              </a:rPr>
              <a:t>SharePoint</a:t>
            </a:r>
          </a:p>
          <a:p>
            <a:pPr algn="ctr" defTabSz="914400">
              <a:spcAft>
                <a:spcPts val="400"/>
              </a:spcAft>
              <a:defRPr/>
            </a:pPr>
            <a:r>
              <a:rPr lang="fr-fr" sz="1800" err="1">
                <a:solidFill>
                  <a:schemeClr val="bg1"/>
                </a:solidFill>
                <a:latin typeface="Segoe UI"/>
              </a:rPr>
              <a:t>Copilot Studio</a:t>
            </a:r>
            <a:endParaRPr kumimoji="0" lang="it-IT" sz="1800" b="0" i="0" u="none" strike="noStrike" kern="1200" cap="none" spc="0" normalizeH="0" baseline="0" noProof="0">
              <a:ln>
                <a:noFill/>
              </a:ln>
              <a:solidFill>
                <a:schemeClr val="bg1"/>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fr-fr" sz="1800" b="0" i="0" u="none" strike="noStrike" kern="1200" cap="none" spc="0" normalizeH="0" baseline="0" noProof="0">
                <a:ln>
                  <a:noFill/>
                </a:ln>
                <a:solidFill>
                  <a:schemeClr val="bg1"/>
                </a:solidFill>
                <a:effectLst/>
                <a:uLnTx/>
                <a:uFillTx/>
                <a:latin typeface="Segoe UI"/>
                <a:ea typeface="+mn-ea"/>
                <a:cs typeface="+mn-cs"/>
              </a:rPr>
              <a:t>Agent Toolkit dans Visual Studio Code</a:t>
            </a:r>
          </a:p>
        </p:txBody>
      </p:sp>
      <p:sp>
        <p:nvSpPr>
          <p:cNvPr id="11" name="TextBox 10">
            <a:extLst>
              <a:ext uri="{FF2B5EF4-FFF2-40B4-BE49-F238E27FC236}">
                <a16:creationId xmlns:a16="http://schemas.microsoft.com/office/drawing/2014/main" id="{17ACF180-B4B9-374F-564C-2BB07CAAB1C1}"/>
              </a:ext>
            </a:extLst>
          </p:cNvPr>
          <p:cNvSpPr txBox="1"/>
          <p:nvPr/>
        </p:nvSpPr>
        <p:spPr>
          <a:xfrm>
            <a:off x="7198131" y="3139621"/>
            <a:ext cx="4049444" cy="93358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fr-fr" sz="1800" b="0" i="0" u="none" strike="noStrike" kern="1200" cap="none" spc="0" normalizeH="0" baseline="0" noProof="0" err="1">
                <a:ln>
                  <a:noFill/>
                </a:ln>
                <a:solidFill>
                  <a:schemeClr val="bg1"/>
                </a:solidFill>
                <a:effectLst/>
                <a:uLnTx/>
                <a:uFillTx/>
                <a:latin typeface="Segoe UI"/>
                <a:ea typeface="+mn-ea"/>
                <a:cs typeface="+mn-cs"/>
              </a:rPr>
              <a:t>Copilot Studio</a:t>
            </a:r>
          </a:p>
          <a:p>
            <a:pPr algn="ctr" defTabSz="914400">
              <a:spcAft>
                <a:spcPts val="400"/>
              </a:spcAft>
              <a:defRPr/>
            </a:pPr>
            <a:r>
              <a:rPr lang="fr-fr" sz="1800" err="1">
                <a:solidFill>
                  <a:schemeClr val="bg1"/>
                </a:solidFill>
                <a:latin typeface="Segoe UI"/>
              </a:rPr>
              <a:t>Microsoft Foundry</a:t>
            </a:r>
            <a:endParaRPr lang="it-IT" sz="1800">
              <a:solidFill>
                <a:schemeClr val="bg1"/>
              </a:solidFill>
              <a:latin typeface="Segoe UI"/>
            </a:endParaRPr>
          </a:p>
          <a:p>
            <a:pPr algn="ctr" defTabSz="914400">
              <a:spcAft>
                <a:spcPts val="400"/>
              </a:spcAft>
              <a:defRPr/>
            </a:pPr>
            <a:r>
              <a:rPr lang="fr-fr" sz="1800">
                <a:solidFill>
                  <a:schemeClr val="bg1"/>
                </a:solidFill>
                <a:latin typeface="Segoe UI"/>
              </a:rPr>
              <a:t>Agent Toolkit dans Visual Studio Code</a:t>
            </a:r>
          </a:p>
        </p:txBody>
      </p:sp>
      <p:sp>
        <p:nvSpPr>
          <p:cNvPr id="12" name="TextBox 11">
            <a:extLst>
              <a:ext uri="{FF2B5EF4-FFF2-40B4-BE49-F238E27FC236}">
                <a16:creationId xmlns:a16="http://schemas.microsoft.com/office/drawing/2014/main" id="{F8249AA0-DC2C-8B81-CAB5-4A270473EEC7}"/>
              </a:ext>
            </a:extLst>
          </p:cNvPr>
          <p:cNvSpPr txBox="1"/>
          <p:nvPr/>
        </p:nvSpPr>
        <p:spPr>
          <a:xfrm>
            <a:off x="71718" y="4472940"/>
            <a:ext cx="1022361" cy="49244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chemeClr val="bg1"/>
                </a:solidFill>
                <a:effectLst/>
                <a:uLnTx/>
                <a:uFillTx/>
                <a:latin typeface="Segoe UI Semibold"/>
                <a:ea typeface="+mn-ea"/>
                <a:cs typeface="+mn-cs"/>
              </a:rPr>
              <a:t>Exécution des agents</a:t>
            </a:r>
          </a:p>
        </p:txBody>
      </p:sp>
      <p:sp>
        <p:nvSpPr>
          <p:cNvPr id="13" name="TextBox 12">
            <a:extLst>
              <a:ext uri="{FF2B5EF4-FFF2-40B4-BE49-F238E27FC236}">
                <a16:creationId xmlns:a16="http://schemas.microsoft.com/office/drawing/2014/main" id="{0BC5F24A-A543-3E47-FAE4-A8B1C52E5012}"/>
              </a:ext>
            </a:extLst>
          </p:cNvPr>
          <p:cNvSpPr txBox="1"/>
          <p:nvPr/>
        </p:nvSpPr>
        <p:spPr>
          <a:xfrm>
            <a:off x="1899872" y="4544066"/>
            <a:ext cx="4049444" cy="276999"/>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fr-fr" sz="1800" b="0" i="0" u="none" strike="noStrike" kern="1200" cap="none" spc="0" normalizeH="0" baseline="0" noProof="0">
                <a:ln>
                  <a:noFill/>
                </a:ln>
                <a:solidFill>
                  <a:schemeClr val="bg1"/>
                </a:solidFill>
                <a:effectLst/>
                <a:uLnTx/>
                <a:uFillTx/>
                <a:latin typeface="Segoe UI"/>
                <a:ea typeface="+mn-ea"/>
                <a:cs typeface="+mn-cs"/>
              </a:rPr>
              <a:t>Microsoft 365 Copilot</a:t>
            </a:r>
          </a:p>
        </p:txBody>
      </p:sp>
      <p:sp>
        <p:nvSpPr>
          <p:cNvPr id="14" name="TextBox 13">
            <a:extLst>
              <a:ext uri="{FF2B5EF4-FFF2-40B4-BE49-F238E27FC236}">
                <a16:creationId xmlns:a16="http://schemas.microsoft.com/office/drawing/2014/main" id="{FD8E8106-7157-08E6-303F-48C79AB1C48C}"/>
              </a:ext>
            </a:extLst>
          </p:cNvPr>
          <p:cNvSpPr txBox="1"/>
          <p:nvPr/>
        </p:nvSpPr>
        <p:spPr>
          <a:xfrm>
            <a:off x="7198131" y="4430742"/>
            <a:ext cx="4049444" cy="55399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fr-fr" sz="1800" b="0" i="0" u="none" strike="noStrike" kern="1200" cap="none" spc="0" normalizeH="0" baseline="0" noProof="0">
                <a:ln>
                  <a:noFill/>
                </a:ln>
                <a:solidFill>
                  <a:schemeClr val="bg1"/>
                </a:solidFill>
                <a:effectLst/>
                <a:uLnTx/>
                <a:uFillTx/>
                <a:latin typeface="Segoe UI"/>
                <a:ea typeface="+mn-ea"/>
                <a:cs typeface="+mn-cs"/>
              </a:rPr>
              <a:t>Intégrez votre propre orchestrateur et vos modèles de base</a:t>
            </a:r>
          </a:p>
        </p:txBody>
      </p:sp>
      <p:sp>
        <p:nvSpPr>
          <p:cNvPr id="15" name="TextBox 14">
            <a:extLst>
              <a:ext uri="{FF2B5EF4-FFF2-40B4-BE49-F238E27FC236}">
                <a16:creationId xmlns:a16="http://schemas.microsoft.com/office/drawing/2014/main" id="{7BAE5E34-D467-61D9-6E39-9F823BE7D5BA}"/>
              </a:ext>
            </a:extLst>
          </p:cNvPr>
          <p:cNvSpPr txBox="1"/>
          <p:nvPr/>
        </p:nvSpPr>
        <p:spPr>
          <a:xfrm>
            <a:off x="179618" y="5576215"/>
            <a:ext cx="914461" cy="49244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chemeClr val="bg1"/>
                </a:solidFill>
                <a:effectLst/>
                <a:uLnTx/>
                <a:uFillTx/>
                <a:latin typeface="Segoe UI Semibold"/>
                <a:ea typeface="+mn-ea"/>
                <a:cs typeface="+mn-cs"/>
              </a:rPr>
              <a:t>Déployer sur</a:t>
            </a:r>
          </a:p>
        </p:txBody>
      </p:sp>
      <p:sp>
        <p:nvSpPr>
          <p:cNvPr id="16" name="TextBox 15">
            <a:extLst>
              <a:ext uri="{FF2B5EF4-FFF2-40B4-BE49-F238E27FC236}">
                <a16:creationId xmlns:a16="http://schemas.microsoft.com/office/drawing/2014/main" id="{FF4D177D-DCCE-FF1B-6C54-97855AAE233D}"/>
              </a:ext>
            </a:extLst>
          </p:cNvPr>
          <p:cNvSpPr txBox="1"/>
          <p:nvPr/>
        </p:nvSpPr>
        <p:spPr>
          <a:xfrm>
            <a:off x="2826555" y="5389351"/>
            <a:ext cx="2196078" cy="933589"/>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fr-fr" sz="1800" b="0" i="0" u="none" strike="noStrike" kern="1200" cap="none" spc="0" normalizeH="0" baseline="0" noProof="0">
                <a:ln>
                  <a:noFill/>
                </a:ln>
                <a:solidFill>
                  <a:schemeClr val="bg1"/>
                </a:solidFill>
                <a:effectLst/>
                <a:uLnTx/>
                <a:uFillTx/>
                <a:latin typeface="Segoe UI"/>
                <a:ea typeface="+mn-ea"/>
                <a:cs typeface="+mn-cs"/>
              </a:rPr>
              <a:t>Microsoft 365 Copilot</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fr-fr" sz="1800" b="0" i="0" u="none" strike="noStrike" kern="1200" cap="none" spc="0" normalizeH="0" baseline="0" noProof="0">
                <a:ln>
                  <a:noFill/>
                </a:ln>
                <a:solidFill>
                  <a:schemeClr val="bg1"/>
                </a:solidFill>
                <a:effectLst/>
                <a:uLnTx/>
                <a:uFillTx/>
                <a:latin typeface="Segoe UI"/>
                <a:ea typeface="+mn-ea"/>
                <a:cs typeface="+mn-cs"/>
              </a:rPr>
              <a:t>Microsoft Teams</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fr-fr" sz="1800" b="0" i="0" u="none" strike="noStrike" kern="1200" cap="none" spc="0" normalizeH="0" baseline="0" noProof="0">
                <a:ln>
                  <a:noFill/>
                </a:ln>
                <a:solidFill>
                  <a:schemeClr val="bg1"/>
                </a:solidFill>
                <a:effectLst/>
                <a:uLnTx/>
                <a:uFillTx/>
                <a:latin typeface="Segoe UI"/>
                <a:ea typeface="+mn-ea"/>
                <a:cs typeface="+mn-cs"/>
              </a:rPr>
              <a:t>SharePoint</a:t>
            </a:r>
          </a:p>
        </p:txBody>
      </p:sp>
      <p:sp>
        <p:nvSpPr>
          <p:cNvPr id="17" name="TextBox 16">
            <a:extLst>
              <a:ext uri="{FF2B5EF4-FFF2-40B4-BE49-F238E27FC236}">
                <a16:creationId xmlns:a16="http://schemas.microsoft.com/office/drawing/2014/main" id="{34463E4E-8C35-395A-4102-C24C0DA39BB3}"/>
              </a:ext>
            </a:extLst>
          </p:cNvPr>
          <p:cNvSpPr txBox="1"/>
          <p:nvPr/>
        </p:nvSpPr>
        <p:spPr>
          <a:xfrm>
            <a:off x="7067774" y="5203248"/>
            <a:ext cx="4537485" cy="126188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fr-fr" sz="1800" b="0" i="0" u="none" strike="noStrike" kern="1200" cap="none" spc="0" normalizeH="0" baseline="0" noProof="0">
                <a:ln>
                  <a:noFill/>
                </a:ln>
                <a:solidFill>
                  <a:schemeClr val="bg1"/>
                </a:solidFill>
                <a:effectLst/>
                <a:uLnTx/>
                <a:uFillTx/>
                <a:latin typeface="Segoe UI"/>
                <a:ea typeface="+mn-ea"/>
                <a:cs typeface="+mn-cs"/>
              </a:rPr>
              <a:t>Microsoft 365 Copilot</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fr-fr" sz="1800" b="0" i="0" u="none" strike="noStrike" kern="1200" cap="none" spc="0" normalizeH="0" baseline="0" noProof="0">
                <a:ln>
                  <a:noFill/>
                </a:ln>
                <a:solidFill>
                  <a:schemeClr val="bg1"/>
                </a:solidFill>
                <a:effectLst/>
                <a:uLnTx/>
                <a:uFillTx/>
                <a:latin typeface="Segoe Sans Display"/>
                <a:ea typeface="+mn-ea"/>
                <a:cs typeface="+mn-cs"/>
              </a:rPr>
              <a:t>Microsoft Teams</a:t>
            </a:r>
          </a:p>
          <a:p>
            <a:pPr marL="0" marR="0" lvl="0" indent="0" algn="ctr" defTabSz="914400" rtl="0" eaLnBrk="1" fontAlgn="auto" latinLnBrk="0" hangingPunct="1">
              <a:lnSpc>
                <a:spcPct val="100000"/>
              </a:lnSpc>
              <a:spcBef>
                <a:spcPts val="0"/>
              </a:spcBef>
              <a:spcAft>
                <a:spcPts val="400"/>
              </a:spcAft>
              <a:buClrTx/>
              <a:buSzTx/>
              <a:buFontTx/>
              <a:buNone/>
              <a:tabLst/>
              <a:defRPr/>
            </a:pPr>
            <a:r>
              <a:rPr lang="fr-fr" sz="1800">
                <a:solidFill>
                  <a:schemeClr val="bg1"/>
                </a:solidFill>
                <a:latin typeface="Segoe Sans Display"/>
              </a:rPr>
              <a:t>SharePoint</a:t>
            </a:r>
            <a:endParaRPr kumimoji="0" lang="en-US" sz="1800" b="0" i="0" u="none" strike="noStrike" kern="1200" cap="none" spc="0" normalizeH="0" baseline="0" noProof="0">
              <a:ln>
                <a:noFill/>
              </a:ln>
              <a:solidFill>
                <a:schemeClr val="bg1"/>
              </a:solidFill>
              <a:effectLst/>
              <a:uLnTx/>
              <a:uFillTx/>
              <a:latin typeface="Segoe Sans Display"/>
              <a:ea typeface="+mn-ea"/>
              <a:cs typeface="+mn-cs"/>
            </a:endParaRP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fr-fr" sz="1800" b="0" i="0" u="none" strike="noStrike" kern="1200" cap="none" spc="0" normalizeH="0" baseline="0" noProof="0">
                <a:ln>
                  <a:noFill/>
                </a:ln>
                <a:solidFill>
                  <a:schemeClr val="bg1"/>
                </a:solidFill>
                <a:effectLst/>
                <a:uLnTx/>
                <a:uFillTx/>
                <a:latin typeface="Segoe UI"/>
                <a:ea typeface="+mn-ea"/>
                <a:cs typeface="+mn-cs"/>
              </a:rPr>
              <a:t>Web + 10 autres canaux</a:t>
            </a:r>
          </a:p>
        </p:txBody>
      </p:sp>
      <p:cxnSp>
        <p:nvCxnSpPr>
          <p:cNvPr id="18" name="Straight Connector 17">
            <a:extLst>
              <a:ext uri="{FF2B5EF4-FFF2-40B4-BE49-F238E27FC236}">
                <a16:creationId xmlns:a16="http://schemas.microsoft.com/office/drawing/2014/main" id="{27BDED20-974D-81F6-20AD-958CCA4D9CAB}"/>
              </a:ext>
              <a:ext uri="{C183D7F6-B498-43B3-948B-1728B52AA6E4}">
                <adec:decorative xmlns:adec="http://schemas.microsoft.com/office/drawing/2017/decorative" val="1"/>
              </a:ext>
            </a:extLst>
          </p:cNvPr>
          <p:cNvCxnSpPr>
            <a:cxnSpLocks/>
          </p:cNvCxnSpPr>
          <p:nvPr/>
        </p:nvCxnSpPr>
        <p:spPr>
          <a:xfrm>
            <a:off x="1380469" y="4308809"/>
            <a:ext cx="1034536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BD4D7F6-6C16-B442-DC1B-963D8721DBE0}"/>
              </a:ext>
              <a:ext uri="{C183D7F6-B498-43B3-948B-1728B52AA6E4}">
                <adec:decorative xmlns:adec="http://schemas.microsoft.com/office/drawing/2017/decorative" val="1"/>
              </a:ext>
            </a:extLst>
          </p:cNvPr>
          <p:cNvCxnSpPr>
            <a:cxnSpLocks/>
          </p:cNvCxnSpPr>
          <p:nvPr/>
        </p:nvCxnSpPr>
        <p:spPr>
          <a:xfrm>
            <a:off x="1380469" y="5126989"/>
            <a:ext cx="1034536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5439081"/>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0B330E-0331-BC53-62FF-590E5527F73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868EAB1-10B7-8B3C-7F0E-50507DEB4B27}"/>
              </a:ext>
            </a:extLst>
          </p:cNvPr>
          <p:cNvSpPr>
            <a:spLocks noGrp="1"/>
          </p:cNvSpPr>
          <p:nvPr>
            <p:ph type="title"/>
          </p:nvPr>
        </p:nvSpPr>
        <p:spPr/>
        <p:txBody>
          <a:bodyPr/>
          <a:lstStyle/>
          <a:p>
            <a:r>
              <a:rPr lang="fr-fr"/>
              <a:t>DSPM – Explorateur d’activités</a:t>
            </a:r>
          </a:p>
        </p:txBody>
      </p:sp>
      <p:sp>
        <p:nvSpPr>
          <p:cNvPr id="14" name="TextBox 13">
            <a:extLst>
              <a:ext uri="{FF2B5EF4-FFF2-40B4-BE49-F238E27FC236}">
                <a16:creationId xmlns:a16="http://schemas.microsoft.com/office/drawing/2014/main" id="{AE30DA64-DB14-7E30-6D08-1DAF49146ABE}"/>
              </a:ext>
            </a:extLst>
          </p:cNvPr>
          <p:cNvSpPr txBox="1"/>
          <p:nvPr/>
        </p:nvSpPr>
        <p:spPr>
          <a:xfrm>
            <a:off x="563184" y="1909223"/>
            <a:ext cx="3812047" cy="3847207"/>
          </a:xfrm>
          <a:prstGeom prst="rect">
            <a:avLst/>
          </a:prstGeom>
          <a:noFill/>
        </p:spPr>
        <p:txBody>
          <a:bodyPr wrap="square" lIns="0" tIns="0" rIns="0" bIns="0" anchor="t">
            <a:spAutoFit/>
          </a:bodyPr>
          <a:lstStyle/>
          <a:p>
            <a:pPr>
              <a:spcAft>
                <a:spcPts val="600"/>
              </a:spcAft>
            </a:pPr>
            <a:r>
              <a:rPr lang="fr-fr" sz="2000">
                <a:solidFill>
                  <a:schemeClr val="bg1"/>
                </a:solidFill>
              </a:rPr>
              <a:t>L’Explorateur d’activités permet de surveiller les données collectées à partir des stratégies de l’organisation </a:t>
            </a:r>
          </a:p>
          <a:p>
            <a:pPr marL="342900" indent="-342900">
              <a:spcAft>
                <a:spcPts val="600"/>
              </a:spcAft>
              <a:buFont typeface="Arial" panose="020B0604020202020204" pitchFamily="34" charset="0"/>
              <a:buChar char="•"/>
            </a:pPr>
            <a:r>
              <a:rPr lang="fr-fr" sz="2000">
                <a:solidFill>
                  <a:schemeClr val="bg1"/>
                </a:solidFill>
              </a:rPr>
              <a:t>Interactions avec l’IA</a:t>
            </a:r>
          </a:p>
          <a:p>
            <a:pPr marL="342900" indent="-342900">
              <a:spcAft>
                <a:spcPts val="600"/>
              </a:spcAft>
              <a:buFont typeface="Arial" panose="020B0604020202020204" pitchFamily="34" charset="0"/>
              <a:buChar char="•"/>
            </a:pPr>
            <a:r>
              <a:rPr lang="fr-fr" sz="2000">
                <a:solidFill>
                  <a:schemeClr val="bg1"/>
                </a:solidFill>
              </a:rPr>
              <a:t>Types d’informations sensibles</a:t>
            </a:r>
          </a:p>
          <a:p>
            <a:pPr marL="342900" indent="-342900">
              <a:spcAft>
                <a:spcPts val="600"/>
              </a:spcAft>
              <a:buFont typeface="Arial" panose="020B0604020202020204" pitchFamily="34" charset="0"/>
              <a:buChar char="•"/>
            </a:pPr>
            <a:r>
              <a:rPr lang="fr-fr" sz="2000">
                <a:solidFill>
                  <a:schemeClr val="bg1"/>
                </a:solidFill>
              </a:rPr>
              <a:t>Visites de sites Web liés à l’IA</a:t>
            </a:r>
          </a:p>
          <a:p>
            <a:pPr>
              <a:spcAft>
                <a:spcPts val="1200"/>
              </a:spcAft>
            </a:pPr>
            <a:endParaRPr lang="en-US" sz="2000">
              <a:solidFill>
                <a:schemeClr val="bg1"/>
              </a:solidFill>
            </a:endParaRPr>
          </a:p>
          <a:p>
            <a:pPr>
              <a:spcAft>
                <a:spcPts val="1200"/>
              </a:spcAft>
            </a:pPr>
            <a:r>
              <a:rPr lang="fr-fr" sz="2000">
                <a:solidFill>
                  <a:schemeClr val="bg1"/>
                </a:solidFill>
              </a:rPr>
              <a:t>Les requêtes et les réponses peuvent être consultées à l’aide du lien « Données d’interaction »</a:t>
            </a:r>
          </a:p>
        </p:txBody>
      </p:sp>
      <p:pic>
        <p:nvPicPr>
          <p:cNvPr id="6" name="Picture 5">
            <a:extLst>
              <a:ext uri="{FF2B5EF4-FFF2-40B4-BE49-F238E27FC236}">
                <a16:creationId xmlns:a16="http://schemas.microsoft.com/office/drawing/2014/main" id="{BD2D575C-8BC7-8A29-B012-1E4010C093AF}"/>
              </a:ext>
            </a:extLst>
          </p:cNvPr>
          <p:cNvPicPr>
            <a:picLocks noChangeAspect="1"/>
          </p:cNvPicPr>
          <p:nvPr/>
        </p:nvPicPr>
        <p:blipFill>
          <a:blip r:embed="rId3"/>
          <a:stretch>
            <a:fillRect/>
          </a:stretch>
        </p:blipFill>
        <p:spPr>
          <a:xfrm>
            <a:off x="4493755" y="1829456"/>
            <a:ext cx="5212030" cy="3658402"/>
          </a:xfrm>
          <a:prstGeom prst="roundRect">
            <a:avLst>
              <a:gd name="adj" fmla="val 2583"/>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0E94CBB4-98C1-A177-8729-6C557FDFCEE0}"/>
              </a:ext>
            </a:extLst>
          </p:cNvPr>
          <p:cNvPicPr>
            <a:picLocks noChangeAspect="1"/>
          </p:cNvPicPr>
          <p:nvPr/>
        </p:nvPicPr>
        <p:blipFill>
          <a:blip r:embed="rId4"/>
          <a:stretch>
            <a:fillRect/>
          </a:stretch>
        </p:blipFill>
        <p:spPr>
          <a:xfrm>
            <a:off x="9824309" y="1829456"/>
            <a:ext cx="2255757" cy="4543063"/>
          </a:xfrm>
          <a:prstGeom prst="roundRect">
            <a:avLst>
              <a:gd name="adj" fmla="val 3463"/>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923638434"/>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8BE365-AB11-6D8C-30B3-3455C8EEB19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23B0D6B-E307-C4C4-BA5A-4B329CAE9A9B}"/>
              </a:ext>
            </a:extLst>
          </p:cNvPr>
          <p:cNvSpPr>
            <a:spLocks noGrp="1"/>
          </p:cNvSpPr>
          <p:nvPr>
            <p:ph type="title"/>
          </p:nvPr>
        </p:nvSpPr>
        <p:spPr/>
        <p:txBody>
          <a:bodyPr/>
          <a:lstStyle/>
          <a:p>
            <a:r>
              <a:rPr lang="fr-fr"/>
              <a:t>Événements d’audit des activités Copilot Studio </a:t>
            </a:r>
          </a:p>
        </p:txBody>
      </p:sp>
      <p:sp>
        <p:nvSpPr>
          <p:cNvPr id="14" name="TextBox 13">
            <a:extLst>
              <a:ext uri="{FF2B5EF4-FFF2-40B4-BE49-F238E27FC236}">
                <a16:creationId xmlns:a16="http://schemas.microsoft.com/office/drawing/2014/main" id="{31101ECC-1513-C916-09E1-39BBE29432AF}"/>
              </a:ext>
            </a:extLst>
          </p:cNvPr>
          <p:cNvSpPr txBox="1"/>
          <p:nvPr/>
        </p:nvSpPr>
        <p:spPr>
          <a:xfrm>
            <a:off x="563185" y="1909223"/>
            <a:ext cx="4980365" cy="4801314"/>
          </a:xfrm>
          <a:prstGeom prst="rect">
            <a:avLst/>
          </a:prstGeom>
          <a:noFill/>
        </p:spPr>
        <p:txBody>
          <a:bodyPr wrap="square" lIns="0" tIns="0" rIns="0" bIns="0" anchor="t">
            <a:spAutoFit/>
          </a:bodyPr>
          <a:lstStyle/>
          <a:p>
            <a:pPr>
              <a:spcAft>
                <a:spcPts val="1200"/>
              </a:spcAft>
            </a:pPr>
            <a:r>
              <a:rPr lang="fr-fr" sz="2400">
                <a:solidFill>
                  <a:schemeClr val="bg1"/>
                </a:solidFill>
              </a:rPr>
              <a:t>Les journaux d’audit enregistrent </a:t>
            </a:r>
            <a:br>
              <a:rPr lang="fr-fr" sz="2400">
                <a:solidFill>
                  <a:schemeClr val="bg1"/>
                </a:solidFill>
              </a:rPr>
            </a:br>
            <a:r>
              <a:rPr lang="fr-fr" sz="2400">
                <a:solidFill>
                  <a:schemeClr val="bg1"/>
                </a:solidFill>
              </a:rPr>
              <a:t>les événements lorsque les administrateurs et les utilisateurs interagissent avec Copilot et les applications d’IA</a:t>
            </a:r>
          </a:p>
          <a:p>
            <a:pPr>
              <a:spcAft>
                <a:spcPts val="600"/>
              </a:spcAft>
            </a:pPr>
            <a:r>
              <a:rPr lang="fr-fr" sz="2400">
                <a:solidFill>
                  <a:schemeClr val="bg1"/>
                </a:solidFill>
              </a:rPr>
              <a:t>Exemples d’activités capturées :</a:t>
            </a:r>
          </a:p>
          <a:p>
            <a:pPr marL="342900" indent="-342900">
              <a:spcAft>
                <a:spcPts val="600"/>
              </a:spcAft>
              <a:buFont typeface="Arial" panose="020B0604020202020204" pitchFamily="34" charset="0"/>
              <a:buChar char="•"/>
            </a:pPr>
            <a:r>
              <a:rPr lang="fr-fr" sz="2000">
                <a:solidFill>
                  <a:schemeClr val="bg1"/>
                </a:solidFill>
              </a:rPr>
              <a:t>Création, mise à jour, suppression </a:t>
            </a:r>
            <a:br>
              <a:rPr lang="fr-fr" sz="2000">
                <a:solidFill>
                  <a:schemeClr val="bg1"/>
                </a:solidFill>
              </a:rPr>
            </a:br>
            <a:r>
              <a:rPr lang="fr-fr" sz="2000">
                <a:solidFill>
                  <a:schemeClr val="bg1"/>
                </a:solidFill>
              </a:rPr>
              <a:t>d’un agent dans Copilot Studio</a:t>
            </a:r>
          </a:p>
          <a:p>
            <a:pPr marL="342900" indent="-342900">
              <a:spcAft>
                <a:spcPts val="600"/>
              </a:spcAft>
              <a:buFont typeface="Arial" panose="020B0604020202020204" pitchFamily="34" charset="0"/>
              <a:buChar char="•"/>
            </a:pPr>
            <a:r>
              <a:rPr lang="fr-fr" sz="2000">
                <a:solidFill>
                  <a:schemeClr val="bg1"/>
                </a:solidFill>
              </a:rPr>
              <a:t>Requêtes planifiées de Copilot</a:t>
            </a:r>
          </a:p>
          <a:p>
            <a:pPr marL="342900" indent="-342900">
              <a:spcAft>
                <a:spcPts val="600"/>
              </a:spcAft>
              <a:buFont typeface="Arial" panose="020B0604020202020204" pitchFamily="34" charset="0"/>
              <a:buChar char="•"/>
            </a:pPr>
            <a:r>
              <a:rPr lang="fr-fr" sz="2000">
                <a:solidFill>
                  <a:schemeClr val="bg1"/>
                </a:solidFill>
              </a:rPr>
              <a:t>Activités liées à Agent 365</a:t>
            </a:r>
          </a:p>
          <a:p>
            <a:pPr>
              <a:spcAft>
                <a:spcPts val="1200"/>
              </a:spcAft>
            </a:pPr>
            <a:endParaRPr lang="en-US" sz="2400">
              <a:solidFill>
                <a:schemeClr val="bg1"/>
              </a:solidFill>
            </a:endParaRPr>
          </a:p>
          <a:p>
            <a:pPr>
              <a:spcAft>
                <a:spcPts val="1200"/>
              </a:spcAft>
            </a:pPr>
            <a:endParaRPr lang="en-US" sz="2400">
              <a:solidFill>
                <a:schemeClr val="bg1"/>
              </a:solidFill>
            </a:endParaRPr>
          </a:p>
        </p:txBody>
      </p:sp>
      <p:pic>
        <p:nvPicPr>
          <p:cNvPr id="3" name="Picture 2">
            <a:extLst>
              <a:ext uri="{FF2B5EF4-FFF2-40B4-BE49-F238E27FC236}">
                <a16:creationId xmlns:a16="http://schemas.microsoft.com/office/drawing/2014/main" id="{1853B859-09EC-4305-8AE1-C15EC0C766D5}"/>
              </a:ext>
            </a:extLst>
          </p:cNvPr>
          <p:cNvPicPr>
            <a:picLocks noChangeAspect="1"/>
          </p:cNvPicPr>
          <p:nvPr/>
        </p:nvPicPr>
        <p:blipFill>
          <a:blip r:embed="rId3"/>
          <a:stretch>
            <a:fillRect/>
          </a:stretch>
        </p:blipFill>
        <p:spPr>
          <a:xfrm>
            <a:off x="5817108" y="2030778"/>
            <a:ext cx="6031982" cy="3004209"/>
          </a:xfrm>
          <a:prstGeom prst="roundRect">
            <a:avLst>
              <a:gd name="adj" fmla="val 4550"/>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973166284"/>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7E8FF5-AEA4-3A41-C560-60A2817BDC1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0109D90-3356-3C6B-ED2F-B56F9E0577DE}"/>
              </a:ext>
            </a:extLst>
          </p:cNvPr>
          <p:cNvSpPr>
            <a:spLocks noGrp="1"/>
          </p:cNvSpPr>
          <p:nvPr>
            <p:ph type="title"/>
          </p:nvPr>
        </p:nvSpPr>
        <p:spPr/>
        <p:txBody>
          <a:bodyPr/>
          <a:lstStyle/>
          <a:p>
            <a:r>
              <a:rPr lang="fr-fr"/>
              <a:t>Kit Copilot Studio</a:t>
            </a:r>
          </a:p>
        </p:txBody>
      </p:sp>
      <p:sp>
        <p:nvSpPr>
          <p:cNvPr id="14" name="TextBox 13">
            <a:extLst>
              <a:ext uri="{FF2B5EF4-FFF2-40B4-BE49-F238E27FC236}">
                <a16:creationId xmlns:a16="http://schemas.microsoft.com/office/drawing/2014/main" id="{11537ACE-FBFA-36E7-344A-FEA72CA1EBC2}"/>
              </a:ext>
            </a:extLst>
          </p:cNvPr>
          <p:cNvSpPr txBox="1"/>
          <p:nvPr/>
        </p:nvSpPr>
        <p:spPr>
          <a:xfrm>
            <a:off x="563185" y="1749203"/>
            <a:ext cx="5826185" cy="4655121"/>
          </a:xfrm>
          <a:prstGeom prst="rect">
            <a:avLst/>
          </a:prstGeom>
          <a:noFill/>
        </p:spPr>
        <p:txBody>
          <a:bodyPr wrap="square" lIns="0" tIns="0" rIns="0" bIns="0" anchor="t">
            <a:spAutoFit/>
          </a:bodyPr>
          <a:lstStyle/>
          <a:p>
            <a:pPr>
              <a:spcAft>
                <a:spcPts val="1200"/>
              </a:spcAft>
            </a:pPr>
            <a:r>
              <a:rPr lang="fr-fr" sz="2000">
                <a:solidFill>
                  <a:schemeClr val="bg1"/>
                </a:solidFill>
              </a:rPr>
              <a:t>Le kit Power CAT </a:t>
            </a:r>
            <a:r>
              <a:rPr lang="fr-fr" sz="2000" b="1">
                <a:solidFill>
                  <a:schemeClr val="bg1"/>
                </a:solidFill>
              </a:rPr>
              <a:t>Copilot Studio</a:t>
            </a:r>
            <a:r>
              <a:rPr lang="fr-fr" sz="2000">
                <a:solidFill>
                  <a:schemeClr val="bg1"/>
                </a:solidFill>
              </a:rPr>
              <a:t> est un ensemble complet de fonctionnalités conçu pour compléter Microsoft Copilot Studio. </a:t>
            </a:r>
          </a:p>
          <a:p>
            <a:pPr>
              <a:spcAft>
                <a:spcPts val="1200"/>
              </a:spcAft>
            </a:pPr>
            <a:r>
              <a:rPr lang="fr-fr" sz="2000">
                <a:solidFill>
                  <a:schemeClr val="bg1"/>
                </a:solidFill>
              </a:rPr>
              <a:t>Il aide les créateurs à développer et tester des agents personnalisés, à utiliser un grand modèle </a:t>
            </a:r>
            <a:br>
              <a:rPr lang="fr-fr" sz="2000">
                <a:solidFill>
                  <a:schemeClr val="bg1"/>
                </a:solidFill>
              </a:rPr>
            </a:br>
            <a:r>
              <a:rPr lang="fr-fr" sz="2000">
                <a:solidFill>
                  <a:schemeClr val="bg1"/>
                </a:solidFill>
              </a:rPr>
              <a:t>de langage pour valider le contenu généré par l’IA, </a:t>
            </a:r>
            <a:br>
              <a:rPr lang="fr-fr" sz="2000">
                <a:solidFill>
                  <a:schemeClr val="bg1"/>
                </a:solidFill>
              </a:rPr>
            </a:br>
            <a:r>
              <a:rPr lang="fr-fr" sz="2000">
                <a:solidFill>
                  <a:schemeClr val="bg1"/>
                </a:solidFill>
              </a:rPr>
              <a:t>à optimiser les requêtes et à suivre les indicateurs clés de performance agrégés pour leurs agents.</a:t>
            </a:r>
          </a:p>
          <a:p>
            <a:pPr>
              <a:spcAft>
                <a:spcPts val="300"/>
              </a:spcAft>
            </a:pPr>
            <a:r>
              <a:rPr lang="fr-fr" sz="2000">
                <a:solidFill>
                  <a:schemeClr val="bg1"/>
                </a:solidFill>
              </a:rPr>
              <a:t>Les principales fonctionnalités sont les suivantes :</a:t>
            </a:r>
          </a:p>
          <a:p>
            <a:pPr marL="285750" indent="-285750">
              <a:spcAft>
                <a:spcPts val="300"/>
              </a:spcAft>
              <a:buFont typeface="Arial" panose="020B0604020202020204" pitchFamily="34" charset="0"/>
              <a:buChar char="•"/>
            </a:pPr>
            <a:r>
              <a:rPr lang="fr-fr" sz="1800">
                <a:solidFill>
                  <a:schemeClr val="bg1"/>
                </a:solidFill>
              </a:rPr>
              <a:t>Inventaire des agents</a:t>
            </a:r>
          </a:p>
          <a:p>
            <a:pPr marL="285750" indent="-285750">
              <a:spcAft>
                <a:spcPts val="300"/>
              </a:spcAft>
              <a:buFont typeface="Arial" panose="020B0604020202020204" pitchFamily="34" charset="0"/>
              <a:buChar char="•"/>
            </a:pPr>
            <a:r>
              <a:rPr lang="fr-fr" sz="1800">
                <a:solidFill>
                  <a:schemeClr val="bg1"/>
                </a:solidFill>
              </a:rPr>
              <a:t>Outil de revue des agents</a:t>
            </a:r>
          </a:p>
          <a:p>
            <a:pPr marL="285750" indent="-285750">
              <a:spcAft>
                <a:spcPts val="300"/>
              </a:spcAft>
              <a:buFont typeface="Arial" panose="020B0604020202020204" pitchFamily="34" charset="0"/>
              <a:buChar char="•"/>
            </a:pPr>
            <a:r>
              <a:rPr lang="fr-fr" sz="1800">
                <a:solidFill>
                  <a:schemeClr val="bg1"/>
                </a:solidFill>
              </a:rPr>
              <a:t>Fonctionnalités de test</a:t>
            </a:r>
          </a:p>
          <a:p>
            <a:pPr marL="285750" indent="-285750">
              <a:spcAft>
                <a:spcPts val="300"/>
              </a:spcAft>
              <a:buFont typeface="Arial" panose="020B0604020202020204" pitchFamily="34" charset="0"/>
              <a:buChar char="•"/>
            </a:pPr>
            <a:r>
              <a:rPr lang="fr-fr" sz="1800">
                <a:solidFill>
                  <a:schemeClr val="bg1"/>
                </a:solidFill>
              </a:rPr>
              <a:t>Assistant d’optimisation des requêtes</a:t>
            </a:r>
          </a:p>
          <a:p>
            <a:pPr marL="285750" indent="-285750">
              <a:spcAft>
                <a:spcPts val="300"/>
              </a:spcAft>
              <a:buFont typeface="Arial" panose="020B0604020202020204" pitchFamily="34" charset="0"/>
              <a:buChar char="•"/>
            </a:pPr>
            <a:r>
              <a:rPr lang="fr-fr" sz="1800">
                <a:solidFill>
                  <a:schemeClr val="bg1"/>
                </a:solidFill>
              </a:rPr>
              <a:t>Galerie de cartes adaptatives</a:t>
            </a:r>
            <a:endParaRPr lang="en-US" sz="2000">
              <a:solidFill>
                <a:schemeClr val="bg1"/>
              </a:solidFill>
            </a:endParaRPr>
          </a:p>
        </p:txBody>
      </p:sp>
      <p:pic>
        <p:nvPicPr>
          <p:cNvPr id="2" name="Picture 1">
            <a:extLst>
              <a:ext uri="{FF2B5EF4-FFF2-40B4-BE49-F238E27FC236}">
                <a16:creationId xmlns:a16="http://schemas.microsoft.com/office/drawing/2014/main" id="{61D04E1B-5E83-DAD0-2268-42B205F5E250}"/>
              </a:ext>
            </a:extLst>
          </p:cNvPr>
          <p:cNvPicPr>
            <a:picLocks noChangeAspect="1"/>
          </p:cNvPicPr>
          <p:nvPr/>
        </p:nvPicPr>
        <p:blipFill>
          <a:blip r:embed="rId3"/>
          <a:stretch>
            <a:fillRect/>
          </a:stretch>
        </p:blipFill>
        <p:spPr>
          <a:xfrm>
            <a:off x="6743700" y="1749203"/>
            <a:ext cx="5255193" cy="2956257"/>
          </a:xfrm>
          <a:prstGeom prst="roundRect">
            <a:avLst>
              <a:gd name="adj" fmla="val 2408"/>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004546727"/>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71AEB6-7221-622A-DAE8-6D0BC211A4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6C5CE2-F9EF-9ACB-7C9A-87DA0F32D192}"/>
              </a:ext>
            </a:extLst>
          </p:cNvPr>
          <p:cNvSpPr>
            <a:spLocks noGrp="1"/>
          </p:cNvSpPr>
          <p:nvPr>
            <p:ph type="title"/>
          </p:nvPr>
        </p:nvSpPr>
        <p:spPr>
          <a:xfrm>
            <a:off x="571499" y="2792795"/>
            <a:ext cx="6232072" cy="1200329"/>
          </a:xfrm>
          <a:prstGeom prst="rect">
            <a:avLst/>
          </a:prstGeom>
        </p:spPr>
        <p:txBody>
          <a:bodyPr/>
          <a:lstStyle/>
          <a:p>
            <a:r>
              <a:rPr lang="fr-fr">
                <a:latin typeface="Segoe UI Semibold" panose="020B0702040204020203" pitchFamily="34" charset="0"/>
                <a:cs typeface="Segoe UI Semibold" panose="020B0702040204020203" pitchFamily="34" charset="0"/>
              </a:rPr>
              <a:t>Étapes suivantes et appel </a:t>
            </a:r>
            <a:br>
              <a:rPr lang="fr-fr">
                <a:latin typeface="Segoe UI Semibold" panose="020B0702040204020203" pitchFamily="34" charset="0"/>
                <a:cs typeface="Segoe UI Semibold" panose="020B0702040204020203" pitchFamily="34" charset="0"/>
              </a:rPr>
            </a:br>
            <a:r>
              <a:rPr lang="fr-fr">
                <a:latin typeface="Segoe UI Semibold" panose="020B0702040204020203" pitchFamily="34" charset="0"/>
                <a:cs typeface="Segoe UI Semibold" panose="020B0702040204020203" pitchFamily="34" charset="0"/>
              </a:rPr>
              <a:t>à l’action</a:t>
            </a:r>
          </a:p>
        </p:txBody>
      </p:sp>
    </p:spTree>
    <p:extLst>
      <p:ext uri="{BB962C8B-B14F-4D97-AF65-F5344CB8AC3E}">
        <p14:creationId xmlns:p14="http://schemas.microsoft.com/office/powerpoint/2010/main" val="4002366869"/>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46740F-C975-D2E0-90CB-EC9487A1B97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AFCA3C2-E806-A83F-56E5-345DD31B7567}"/>
              </a:ext>
            </a:extLst>
          </p:cNvPr>
          <p:cNvSpPr>
            <a:spLocks noGrp="1"/>
          </p:cNvSpPr>
          <p:nvPr>
            <p:ph type="title"/>
          </p:nvPr>
        </p:nvSpPr>
        <p:spPr/>
        <p:txBody>
          <a:bodyPr/>
          <a:lstStyle/>
          <a:p>
            <a:r>
              <a:rPr lang="fr-fr"/>
              <a:t>Gouvernance des agents et contrôle des coûts</a:t>
            </a:r>
          </a:p>
        </p:txBody>
      </p:sp>
      <p:graphicFrame>
        <p:nvGraphicFramePr>
          <p:cNvPr id="11" name="TextBox 5">
            <a:extLst>
              <a:ext uri="{FF2B5EF4-FFF2-40B4-BE49-F238E27FC236}">
                <a16:creationId xmlns:a16="http://schemas.microsoft.com/office/drawing/2014/main" id="{3344A54A-02FD-5EAE-89AD-2C3BE47D64BA}"/>
              </a:ext>
            </a:extLst>
          </p:cNvPr>
          <p:cNvGraphicFramePr/>
          <p:nvPr>
            <p:extLst>
              <p:ext uri="{D42A27DB-BD31-4B8C-83A1-F6EECF244321}">
                <p14:modId xmlns:p14="http://schemas.microsoft.com/office/powerpoint/2010/main" val="3880777584"/>
              </p:ext>
            </p:extLst>
          </p:nvPr>
        </p:nvGraphicFramePr>
        <p:xfrm>
          <a:off x="588263" y="1893845"/>
          <a:ext cx="11018520" cy="39087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54405379"/>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EB574C26-438B-9E3E-82EC-D8F28756706E}"/>
              </a:ext>
            </a:extLst>
          </p:cNvPr>
          <p:cNvSpPr/>
          <p:nvPr/>
        </p:nvSpPr>
        <p:spPr bwMode="auto">
          <a:xfrm rot="16200000" flipH="1">
            <a:off x="7444947" y="2092709"/>
            <a:ext cx="4778309" cy="3072762"/>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4" name="Picture 2" descr="Code QR">
            <a:extLst>
              <a:ext uri="{FF2B5EF4-FFF2-40B4-BE49-F238E27FC236}">
                <a16:creationId xmlns:a16="http://schemas.microsoft.com/office/drawing/2014/main" id="{E0CEA7AE-2C4E-9AEE-E196-A14037070F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32636" y="1616582"/>
            <a:ext cx="2202932" cy="2202930"/>
          </a:xfrm>
          <a:prstGeom prst="roundRect">
            <a:avLst>
              <a:gd name="adj" fmla="val 2933"/>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FE95CE7F-4B9E-E2B6-19AF-B22BAEFF52D9}"/>
              </a:ext>
            </a:extLst>
          </p:cNvPr>
          <p:cNvGrpSpPr/>
          <p:nvPr/>
        </p:nvGrpSpPr>
        <p:grpSpPr>
          <a:xfrm>
            <a:off x="4491348" y="4140925"/>
            <a:ext cx="7503737" cy="844463"/>
            <a:chOff x="5607459" y="5376024"/>
            <a:chExt cx="5795892" cy="844463"/>
          </a:xfrm>
        </p:grpSpPr>
        <p:sp>
          <p:nvSpPr>
            <p:cNvPr id="6" name="Rectangle: Rounded Corners 11">
              <a:extLst>
                <a:ext uri="{FF2B5EF4-FFF2-40B4-BE49-F238E27FC236}">
                  <a16:creationId xmlns:a16="http://schemas.microsoft.com/office/drawing/2014/main" id="{B31A9F0F-D339-2CF1-AE14-AAA60BFD4372}"/>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11">
              <a:extLst>
                <a:ext uri="{FF2B5EF4-FFF2-40B4-BE49-F238E27FC236}">
                  <a16:creationId xmlns:a16="http://schemas.microsoft.com/office/drawing/2014/main" id="{C2895031-2100-907D-B0E1-B5CD30A4FB47}"/>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TextBox 7">
            <a:extLst>
              <a:ext uri="{FF2B5EF4-FFF2-40B4-BE49-F238E27FC236}">
                <a16:creationId xmlns:a16="http://schemas.microsoft.com/office/drawing/2014/main" id="{D97A4B4F-8A86-8C8C-C020-6F19A5DEFEAC}"/>
              </a:ext>
            </a:extLst>
          </p:cNvPr>
          <p:cNvSpPr txBox="1"/>
          <p:nvPr/>
        </p:nvSpPr>
        <p:spPr>
          <a:xfrm>
            <a:off x="5614517" y="4287497"/>
            <a:ext cx="2590324" cy="553998"/>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noProof="0">
                <a:ln>
                  <a:noFill/>
                </a:ln>
                <a:solidFill>
                  <a:schemeClr val="tx2"/>
                </a:solidFill>
                <a:effectLst/>
                <a:uLnTx/>
                <a:uFillTx/>
                <a:latin typeface="Segoe Sans Display Semibold"/>
                <a:ea typeface="+mn-ea"/>
                <a:cs typeface="+mn-cs"/>
                <a:hlinkClick r:id="rId4">
                  <a:extLst>
                    <a:ext uri="{A12FA001-AC4F-418D-AE19-62706E023703}">
                      <ahyp:hlinkClr xmlns:ahyp="http://schemas.microsoft.com/office/drawing/2018/hyperlinkcolor" val="tx"/>
                    </a:ext>
                  </a:extLst>
                </a:hlinkClick>
              </a:rPr>
              <a:t>l’enquête de satisfaction </a:t>
            </a:r>
            <a:br>
              <a:rPr kumimoji="0" lang="fr-fr" sz="1800" b="0" i="0" u="none" strike="noStrike" kern="1200" cap="none" spc="0" normalizeH="0" noProof="0">
                <a:ln>
                  <a:noFill/>
                </a:ln>
                <a:solidFill>
                  <a:schemeClr val="tx2"/>
                </a:solidFill>
                <a:effectLst/>
                <a:uLnTx/>
                <a:uFillTx/>
                <a:latin typeface="Segoe Sans Display Semibold"/>
                <a:ea typeface="+mn-ea"/>
                <a:cs typeface="+mn-cs"/>
                <a:hlinkClick r:id="rId4">
                  <a:extLst>
                    <a:ext uri="{A12FA001-AC4F-418D-AE19-62706E023703}">
                      <ahyp:hlinkClr xmlns:ahyp="http://schemas.microsoft.com/office/drawing/2018/hyperlinkcolor" val="tx"/>
                    </a:ext>
                  </a:extLst>
                </a:hlinkClick>
              </a:rPr>
            </a:br>
            <a:r>
              <a:rPr kumimoji="0" lang="fr-fr" sz="1800" b="0" i="0" u="none" strike="noStrike" kern="1200" cap="none" spc="0" normalizeH="0" noProof="0">
                <a:ln>
                  <a:noFill/>
                </a:ln>
                <a:solidFill>
                  <a:schemeClr val="tx2"/>
                </a:solidFill>
                <a:effectLst/>
                <a:uLnTx/>
                <a:uFillTx/>
                <a:latin typeface="Segoe Sans Display Semibold"/>
                <a:ea typeface="+mn-ea"/>
                <a:cs typeface="+mn-cs"/>
                <a:hlinkClick r:id="rId4">
                  <a:extLst>
                    <a:ext uri="{A12FA001-AC4F-418D-AE19-62706E023703}">
                      <ahyp:hlinkClr xmlns:ahyp="http://schemas.microsoft.com/office/drawing/2018/hyperlinkcolor" val="tx"/>
                    </a:ext>
                  </a:extLst>
                </a:hlinkClick>
              </a:rPr>
              <a:t>du Hub client</a:t>
            </a:r>
            <a:endParaRPr kumimoji="0" lang="en-US" sz="1800" b="0" i="0" u="none" strike="noStrike" kern="1200" cap="none" spc="0" normalizeH="0" noProof="0">
              <a:ln>
                <a:noFill/>
              </a:ln>
              <a:solidFill>
                <a:schemeClr val="tx2"/>
              </a:solidFill>
              <a:effectLst/>
              <a:uLnTx/>
              <a:uFillTx/>
              <a:latin typeface="Segoe Sans Display Semibold"/>
              <a:ea typeface="+mn-ea"/>
              <a:cs typeface="+mn-cs"/>
            </a:endParaRPr>
          </a:p>
        </p:txBody>
      </p:sp>
      <p:sp>
        <p:nvSpPr>
          <p:cNvPr id="9" name="TextBox 8">
            <a:extLst>
              <a:ext uri="{FF2B5EF4-FFF2-40B4-BE49-F238E27FC236}">
                <a16:creationId xmlns:a16="http://schemas.microsoft.com/office/drawing/2014/main" id="{B423CCA0-76FD-A476-81B5-C277DC3A8A6B}"/>
              </a:ext>
            </a:extLst>
          </p:cNvPr>
          <p:cNvSpPr txBox="1"/>
          <p:nvPr/>
        </p:nvSpPr>
        <p:spPr>
          <a:xfrm>
            <a:off x="8688756" y="4455434"/>
            <a:ext cx="2290692" cy="215444"/>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noProof="0">
                <a:ln>
                  <a:noFill/>
                </a:ln>
                <a:solidFill>
                  <a:schemeClr val="tx2"/>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aka.ms/</a:t>
            </a:r>
            <a:r>
              <a:rPr kumimoji="0" lang="fr-fr" sz="1400" b="0" i="0" u="none" strike="noStrike" kern="1200" cap="none" spc="0" normalizeH="0" noProof="0" err="1">
                <a:ln>
                  <a:noFill/>
                </a:ln>
                <a:solidFill>
                  <a:schemeClr val="tx2"/>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CustomerHubSurvey</a:t>
            </a:r>
            <a:r>
              <a:rPr kumimoji="0" lang="fr-fr" sz="1400" b="0" i="0" u="none" strike="noStrike" kern="1200" cap="none" spc="0" normalizeH="0" noProof="0">
                <a:ln>
                  <a:noFill/>
                </a:ln>
                <a:solidFill>
                  <a:schemeClr val="tx2"/>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 </a:t>
            </a:r>
            <a:endParaRPr kumimoji="0" lang="en-US" sz="1400" b="0" i="0" u="none" strike="noStrike" kern="1200" cap="none" spc="0" normalizeH="0" noProof="0">
              <a:ln>
                <a:noFill/>
              </a:ln>
              <a:solidFill>
                <a:schemeClr val="tx2"/>
              </a:solidFill>
              <a:effectLst/>
              <a:uLnTx/>
              <a:uFillTx/>
              <a:latin typeface="Segoe Sans Text"/>
              <a:ea typeface="+mn-ea"/>
              <a:cs typeface="+mn-cs"/>
            </a:endParaRPr>
          </a:p>
        </p:txBody>
      </p:sp>
      <p:cxnSp>
        <p:nvCxnSpPr>
          <p:cNvPr id="10" name="Straight Connector 9">
            <a:extLst>
              <a:ext uri="{FF2B5EF4-FFF2-40B4-BE49-F238E27FC236}">
                <a16:creationId xmlns:a16="http://schemas.microsoft.com/office/drawing/2014/main" id="{75AE50B5-E83E-D89F-14B2-82C4F27EC20A}"/>
              </a:ext>
              <a:ext uri="{C183D7F6-B498-43B3-948B-1728B52AA6E4}">
                <adec:decorative xmlns:adec="http://schemas.microsoft.com/office/drawing/2017/decorative" val="1"/>
              </a:ext>
            </a:extLst>
          </p:cNvPr>
          <p:cNvCxnSpPr>
            <a:cxnSpLocks/>
          </p:cNvCxnSpPr>
          <p:nvPr/>
        </p:nvCxnSpPr>
        <p:spPr>
          <a:xfrm>
            <a:off x="8297721" y="4393752"/>
            <a:ext cx="0" cy="338809"/>
          </a:xfrm>
          <a:prstGeom prst="line">
            <a:avLst/>
          </a:prstGeom>
          <a:ln w="12700">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AF0B7E56-D4D1-0BDD-6911-15765004285E}"/>
              </a:ext>
              <a:ext uri="{C183D7F6-B498-43B3-948B-1728B52AA6E4}">
                <adec:decorative xmlns:adec="http://schemas.microsoft.com/office/drawing/2017/decorative" val="1"/>
              </a:ext>
            </a:extLst>
          </p:cNvPr>
          <p:cNvSpPr txBox="1"/>
          <p:nvPr/>
        </p:nvSpPr>
        <p:spPr>
          <a:xfrm>
            <a:off x="8631719" y="5204621"/>
            <a:ext cx="2404767" cy="553998"/>
          </a:xfrm>
          <a:prstGeom prst="rect">
            <a:avLst/>
          </a:prstGeom>
          <a:noFill/>
        </p:spPr>
        <p:txBody>
          <a:bodyPr wrap="square" lIns="0" tIns="0" rIns="0" bIns="0" anchor="t">
            <a:spAutoFit/>
          </a:bodyPr>
          <a:lstStyle/>
          <a:p>
            <a:pPr algn="ctr" defTabSz="914400">
              <a:defRPr/>
            </a:pPr>
            <a:r>
              <a:rPr lang="fr-fr" sz="1800">
                <a:solidFill>
                  <a:schemeClr val="accent1"/>
                </a:solidFill>
                <a:latin typeface="+mj-lt"/>
                <a:cs typeface="Segoe UI Light" panose="020B0502040204020203" pitchFamily="34" charset="0"/>
              </a:rPr>
              <a:t>Sélectionnez la série « Agents IA »</a:t>
            </a:r>
          </a:p>
        </p:txBody>
      </p:sp>
      <p:sp>
        <p:nvSpPr>
          <p:cNvPr id="12" name="TextBox 11">
            <a:extLst>
              <a:ext uri="{FF2B5EF4-FFF2-40B4-BE49-F238E27FC236}">
                <a16:creationId xmlns:a16="http://schemas.microsoft.com/office/drawing/2014/main" id="{72A3C751-AA86-5CCC-1606-E07694130D4A}"/>
              </a:ext>
              <a:ext uri="{C183D7F6-B498-43B3-948B-1728B52AA6E4}">
                <adec:decorative xmlns:adec="http://schemas.microsoft.com/office/drawing/2017/decorative" val="1"/>
              </a:ext>
            </a:extLst>
          </p:cNvPr>
          <p:cNvSpPr txBox="1"/>
          <p:nvPr/>
        </p:nvSpPr>
        <p:spPr>
          <a:xfrm>
            <a:off x="6170438" y="1838848"/>
            <a:ext cx="1764009" cy="430887"/>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noProof="0">
                <a:ln>
                  <a:noFill/>
                </a:ln>
                <a:solidFill>
                  <a:schemeClr val="bg1"/>
                </a:solidFill>
                <a:effectLst/>
                <a:uLnTx/>
                <a:uFillTx/>
                <a:latin typeface="+mj-lt"/>
                <a:ea typeface="+mn-ea"/>
                <a:cs typeface="+mn-cs"/>
              </a:rPr>
              <a:t>Scannez avec la caméra de votre appareil mobile</a:t>
            </a:r>
          </a:p>
        </p:txBody>
      </p:sp>
      <p:sp>
        <p:nvSpPr>
          <p:cNvPr id="13" name="TextBox 12">
            <a:extLst>
              <a:ext uri="{FF2B5EF4-FFF2-40B4-BE49-F238E27FC236}">
                <a16:creationId xmlns:a16="http://schemas.microsoft.com/office/drawing/2014/main" id="{B9DB2F65-825D-538A-E6EA-44804CBDBD3D}"/>
              </a:ext>
            </a:extLst>
          </p:cNvPr>
          <p:cNvSpPr txBox="1"/>
          <p:nvPr/>
        </p:nvSpPr>
        <p:spPr>
          <a:xfrm>
            <a:off x="7160196" y="2610326"/>
            <a:ext cx="774251" cy="430887"/>
          </a:xfrm>
          <a:prstGeom prst="rect">
            <a:avLst/>
          </a:prstGeom>
          <a:noFill/>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noProof="0">
                <a:ln>
                  <a:noFill/>
                </a:ln>
                <a:solidFill>
                  <a:schemeClr val="bg1"/>
                </a:solidFill>
                <a:effectLst/>
                <a:uLnTx/>
                <a:uFillTx/>
                <a:latin typeface="+mj-lt"/>
                <a:ea typeface="+mn-ea"/>
                <a:cs typeface="+mn-cs"/>
              </a:rPr>
              <a:t>- OU -</a:t>
            </a:r>
          </a:p>
        </p:txBody>
      </p:sp>
      <p:sp>
        <p:nvSpPr>
          <p:cNvPr id="14" name="TextBox 13">
            <a:extLst>
              <a:ext uri="{FF2B5EF4-FFF2-40B4-BE49-F238E27FC236}">
                <a16:creationId xmlns:a16="http://schemas.microsoft.com/office/drawing/2014/main" id="{6C92478C-9060-36A9-FFAF-A9F33635E5BF}"/>
              </a:ext>
            </a:extLst>
          </p:cNvPr>
          <p:cNvSpPr txBox="1"/>
          <p:nvPr/>
        </p:nvSpPr>
        <p:spPr>
          <a:xfrm>
            <a:off x="7387022" y="3381803"/>
            <a:ext cx="338233" cy="215444"/>
          </a:xfrm>
          <a:prstGeom prst="rect">
            <a:avLst/>
          </a:prstGeom>
          <a:noFill/>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noProof="0">
                <a:ln>
                  <a:noFill/>
                </a:ln>
                <a:solidFill>
                  <a:schemeClr val="bg1"/>
                </a:solidFill>
                <a:effectLst/>
                <a:uLnTx/>
                <a:uFillTx/>
                <a:latin typeface="+mj-lt"/>
                <a:ea typeface="+mn-ea"/>
                <a:cs typeface="+mn-cs"/>
              </a:rPr>
              <a:t>Accédez à</a:t>
            </a:r>
          </a:p>
        </p:txBody>
      </p:sp>
      <p:pic>
        <p:nvPicPr>
          <p:cNvPr id="15" name="Picture 14" descr="Image floue d’un ciel bleu et orange  Le contenu généré par IA peut être incorrect.">
            <a:extLst>
              <a:ext uri="{FF2B5EF4-FFF2-40B4-BE49-F238E27FC236}">
                <a16:creationId xmlns:a16="http://schemas.microsoft.com/office/drawing/2014/main" id="{0063B506-7055-28E0-DEF9-F8AAC471EEF3}"/>
              </a:ext>
            </a:extLst>
          </p:cNvPr>
          <p:cNvPicPr>
            <a:picLocks noChangeAspect="1"/>
          </p:cNvPicPr>
          <p:nvPr/>
        </p:nvPicPr>
        <p:blipFill>
          <a:blip r:embed="rId5">
            <a:alphaModFix/>
            <a:extLst>
              <a:ext uri="{BEBA8EAE-BF5A-486C-A8C5-ECC9F3942E4B}">
                <a14:imgProps xmlns:a14="http://schemas.microsoft.com/office/drawing/2010/main">
                  <a14:imgLayer r:embed="rId6">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44582" t="1189" r="13264" b="356"/>
          <a:stretch>
            <a:fillRect/>
          </a:stretch>
        </p:blipFill>
        <p:spPr>
          <a:xfrm rot="10800000" flipV="1">
            <a:off x="0" y="0"/>
            <a:ext cx="5143502" cy="6675118"/>
          </a:xfrm>
          <a:prstGeom prst="rect">
            <a:avLst/>
          </a:prstGeom>
          <a:effectLst/>
        </p:spPr>
      </p:pic>
      <p:sp>
        <p:nvSpPr>
          <p:cNvPr id="18" name="Title 19">
            <a:extLst>
              <a:ext uri="{FF2B5EF4-FFF2-40B4-BE49-F238E27FC236}">
                <a16:creationId xmlns:a16="http://schemas.microsoft.com/office/drawing/2014/main" id="{23B379DE-A416-BAF3-D079-7F2CA492E061}"/>
              </a:ext>
            </a:extLst>
          </p:cNvPr>
          <p:cNvSpPr txBox="1">
            <a:spLocks/>
          </p:cNvSpPr>
          <p:nvPr/>
        </p:nvSpPr>
        <p:spPr>
          <a:xfrm>
            <a:off x="588263" y="457200"/>
            <a:ext cx="4393312" cy="1588127"/>
          </a:xfrm>
          <a:prstGeom prst="rect">
            <a:avLst/>
          </a:prstGeom>
        </p:spPr>
        <p:txBody>
          <a:bodyPr vert="horz" wrap="square" lIns="0" tIns="45720" rIns="0" bIns="45720" rtlCol="0" anchor="t">
            <a:spAutoFit/>
          </a:bodyPr>
          <a:lst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pPr defTabSz="914400">
              <a:lnSpc>
                <a:spcPct val="90000"/>
              </a:lnSpc>
            </a:pPr>
            <a:r>
              <a:rPr lang="fr-fr" spc="0"/>
              <a:t>MERCI – Vos commentaires </a:t>
            </a:r>
            <a:br>
              <a:rPr lang="fr-fr" spc="0"/>
            </a:br>
            <a:r>
              <a:rPr lang="fr-fr" spc="0"/>
              <a:t>sont essentiels</a:t>
            </a:r>
          </a:p>
        </p:txBody>
      </p:sp>
      <p:sp>
        <p:nvSpPr>
          <p:cNvPr id="19" name="TextBox 18">
            <a:extLst>
              <a:ext uri="{FF2B5EF4-FFF2-40B4-BE49-F238E27FC236}">
                <a16:creationId xmlns:a16="http://schemas.microsoft.com/office/drawing/2014/main" id="{5B58808B-612F-B5E0-ED1C-2E295298D00F}"/>
              </a:ext>
            </a:extLst>
          </p:cNvPr>
          <p:cNvSpPr txBox="1"/>
          <p:nvPr/>
        </p:nvSpPr>
        <p:spPr>
          <a:xfrm>
            <a:off x="588263" y="3183661"/>
            <a:ext cx="3804670" cy="195489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1200"/>
              </a:spcAft>
              <a:buClrTx/>
              <a:buSzTx/>
              <a:buFontTx/>
              <a:buNone/>
              <a:tabLst/>
              <a:defRPr/>
            </a:pPr>
            <a:r>
              <a:rPr lang="fr-fr" sz="1800">
                <a:solidFill>
                  <a:schemeClr val="bg1"/>
                </a:solidFill>
                <a:cs typeface="Segoe UI Light"/>
              </a:rPr>
              <a:t>Nous nous engageons à offrir la meilleure expérience possible dans </a:t>
            </a:r>
            <a:br>
              <a:rPr lang="fr-fr" sz="1800">
                <a:solidFill>
                  <a:schemeClr val="bg1"/>
                </a:solidFill>
                <a:cs typeface="Segoe UI Light"/>
              </a:rPr>
            </a:br>
            <a:r>
              <a:rPr lang="fr-fr" sz="1800">
                <a:solidFill>
                  <a:schemeClr val="bg1"/>
                </a:solidFill>
                <a:cs typeface="Segoe UI Light"/>
              </a:rPr>
              <a:t>le </a:t>
            </a:r>
            <a:r>
              <a:rPr lang="fr-fr" sz="1800" b="1">
                <a:solidFill>
                  <a:schemeClr val="bg1"/>
                </a:solidFill>
                <a:cs typeface="Segoe UI Light"/>
              </a:rPr>
              <a:t>Hub client </a:t>
            </a:r>
            <a:r>
              <a:rPr lang="fr-fr" sz="1800">
                <a:solidFill>
                  <a:schemeClr val="bg1"/>
                </a:solidFill>
                <a:cs typeface="Segoe UI Light"/>
              </a:rPr>
              <a:t>et vos retours sont essentiels pour y parvenir.</a:t>
            </a:r>
          </a:p>
          <a:p>
            <a:pPr marL="0" marR="0" lvl="0" indent="0" algn="l" defTabSz="914400" rtl="0" eaLnBrk="1" fontAlgn="auto" latinLnBrk="0" hangingPunct="1">
              <a:lnSpc>
                <a:spcPct val="110000"/>
              </a:lnSpc>
              <a:spcBef>
                <a:spcPts val="0"/>
              </a:spcBef>
              <a:spcAft>
                <a:spcPts val="1200"/>
              </a:spcAft>
              <a:buClrTx/>
              <a:buSzTx/>
              <a:buFontTx/>
              <a:buNone/>
              <a:tabLst/>
              <a:defRPr/>
            </a:pPr>
            <a:r>
              <a:rPr lang="fr-fr" sz="1800">
                <a:solidFill>
                  <a:schemeClr val="bg1"/>
                </a:solidFill>
                <a:cs typeface="Segoe UI Light" panose="020B0502040204020203" pitchFamily="34" charset="0"/>
              </a:rPr>
              <a:t>Avant de partir, veuillez prendre un moment pour nous donner votre avis.</a:t>
            </a:r>
          </a:p>
        </p:txBody>
      </p:sp>
      <p:sp>
        <p:nvSpPr>
          <p:cNvPr id="20" name="Graphic 3">
            <a:extLst>
              <a:ext uri="{FF2B5EF4-FFF2-40B4-BE49-F238E27FC236}">
                <a16:creationId xmlns:a16="http://schemas.microsoft.com/office/drawing/2014/main" id="{A64DB5FA-1813-0E1E-B6B4-7AD949EB203C}"/>
              </a:ext>
              <a:ext uri="{C183D7F6-B498-43B3-948B-1728B52AA6E4}">
                <adec:decorative xmlns:adec="http://schemas.microsoft.com/office/drawing/2017/decorative" val="1"/>
              </a:ext>
            </a:extLst>
          </p:cNvPr>
          <p:cNvSpPr/>
          <p:nvPr/>
        </p:nvSpPr>
        <p:spPr>
          <a:xfrm>
            <a:off x="588262" y="2556747"/>
            <a:ext cx="447435" cy="404469"/>
          </a:xfrm>
          <a:custGeom>
            <a:avLst/>
            <a:gdLst>
              <a:gd name="connsiteX0" fmla="*/ 97511 w 190073"/>
              <a:gd name="connsiteY0" fmla="*/ 0 h 171822"/>
              <a:gd name="connsiteX1" fmla="*/ 91986 w 190073"/>
              <a:gd name="connsiteY1" fmla="*/ 2629 h 171822"/>
              <a:gd name="connsiteX2" fmla="*/ 91434 w 190073"/>
              <a:gd name="connsiteY2" fmla="*/ 3039 h 171822"/>
              <a:gd name="connsiteX3" fmla="*/ 31750 w 190073"/>
              <a:gd name="connsiteY3" fmla="*/ 17831 h 171822"/>
              <a:gd name="connsiteX4" fmla="*/ 15215 w 190073"/>
              <a:gd name="connsiteY4" fmla="*/ 70314 h 171822"/>
              <a:gd name="connsiteX5" fmla="*/ 15072 w 190073"/>
              <a:gd name="connsiteY5" fmla="*/ 70457 h 171822"/>
              <a:gd name="connsiteX6" fmla="*/ 5947 w 190073"/>
              <a:gd name="connsiteY6" fmla="*/ 79515 h 171822"/>
              <a:gd name="connsiteX7" fmla="*/ 5815 w 190073"/>
              <a:gd name="connsiteY7" fmla="*/ 107910 h 171822"/>
              <a:gd name="connsiteX8" fmla="*/ 5947 w 190073"/>
              <a:gd name="connsiteY8" fmla="*/ 108043 h 171822"/>
              <a:gd name="connsiteX9" fmla="*/ 23025 w 190073"/>
              <a:gd name="connsiteY9" fmla="*/ 113767 h 171822"/>
              <a:gd name="connsiteX10" fmla="*/ 40961 w 190073"/>
              <a:gd name="connsiteY10" fmla="*/ 128607 h 171822"/>
              <a:gd name="connsiteX11" fmla="*/ 60173 w 190073"/>
              <a:gd name="connsiteY11" fmla="*/ 147105 h 171822"/>
              <a:gd name="connsiteX12" fmla="*/ 66098 w 190073"/>
              <a:gd name="connsiteY12" fmla="*/ 160354 h 171822"/>
              <a:gd name="connsiteX13" fmla="*/ 92644 w 190073"/>
              <a:gd name="connsiteY13" fmla="*/ 162230 h 171822"/>
              <a:gd name="connsiteX14" fmla="*/ 96330 w 190073"/>
              <a:gd name="connsiteY14" fmla="*/ 165888 h 171822"/>
              <a:gd name="connsiteX15" fmla="*/ 125172 w 190073"/>
              <a:gd name="connsiteY15" fmla="*/ 165888 h 171822"/>
              <a:gd name="connsiteX16" fmla="*/ 131077 w 190073"/>
              <a:gd name="connsiteY16" fmla="*/ 153334 h 171822"/>
              <a:gd name="connsiteX17" fmla="*/ 149556 w 190073"/>
              <a:gd name="connsiteY17" fmla="*/ 134932 h 171822"/>
              <a:gd name="connsiteX18" fmla="*/ 167367 w 190073"/>
              <a:gd name="connsiteY18" fmla="*/ 119654 h 171822"/>
              <a:gd name="connsiteX19" fmla="*/ 184131 w 190073"/>
              <a:gd name="connsiteY19" fmla="*/ 113881 h 171822"/>
              <a:gd name="connsiteX20" fmla="*/ 184254 w 190073"/>
              <a:gd name="connsiteY20" fmla="*/ 85486 h 171822"/>
              <a:gd name="connsiteX21" fmla="*/ 184131 w 190073"/>
              <a:gd name="connsiteY21" fmla="*/ 85364 h 171822"/>
              <a:gd name="connsiteX22" fmla="*/ 176197 w 190073"/>
              <a:gd name="connsiteY22" fmla="*/ 77467 h 171822"/>
              <a:gd name="connsiteX23" fmla="*/ 177835 w 190073"/>
              <a:gd name="connsiteY23" fmla="*/ 71124 h 171822"/>
              <a:gd name="connsiteX24" fmla="*/ 172835 w 190073"/>
              <a:gd name="connsiteY24" fmla="*/ 30138 h 171822"/>
              <a:gd name="connsiteX25" fmla="*/ 122324 w 190073"/>
              <a:gd name="connsiteY25" fmla="*/ 39 h 171822"/>
              <a:gd name="connsiteX26" fmla="*/ 107017 w 190073"/>
              <a:gd name="connsiteY26" fmla="*/ 39 h 171822"/>
              <a:gd name="connsiteX27" fmla="*/ 105055 w 190073"/>
              <a:gd name="connsiteY27" fmla="*/ 0 h 171822"/>
              <a:gd name="connsiteX28" fmla="*/ 97521 w 190073"/>
              <a:gd name="connsiteY28" fmla="*/ 0 h 171822"/>
              <a:gd name="connsiteX29" fmla="*/ 125372 w 190073"/>
              <a:gd name="connsiteY29" fmla="*/ 47102 h 171822"/>
              <a:gd name="connsiteX30" fmla="*/ 158366 w 190073"/>
              <a:gd name="connsiteY30" fmla="*/ 79887 h 171822"/>
              <a:gd name="connsiteX31" fmla="*/ 158395 w 190073"/>
              <a:gd name="connsiteY31" fmla="*/ 79925 h 171822"/>
              <a:gd name="connsiteX32" fmla="*/ 158528 w 190073"/>
              <a:gd name="connsiteY32" fmla="*/ 80049 h 171822"/>
              <a:gd name="connsiteX33" fmla="*/ 174006 w 190073"/>
              <a:gd name="connsiteY33" fmla="*/ 95431 h 171822"/>
              <a:gd name="connsiteX34" fmla="*/ 174037 w 190073"/>
              <a:gd name="connsiteY34" fmla="*/ 103783 h 171822"/>
              <a:gd name="connsiteX35" fmla="*/ 174006 w 190073"/>
              <a:gd name="connsiteY35" fmla="*/ 103813 h 171822"/>
              <a:gd name="connsiteX36" fmla="*/ 165567 w 190073"/>
              <a:gd name="connsiteY36" fmla="*/ 103813 h 171822"/>
              <a:gd name="connsiteX37" fmla="*/ 150089 w 190073"/>
              <a:gd name="connsiteY37" fmla="*/ 88431 h 171822"/>
              <a:gd name="connsiteX38" fmla="*/ 139954 w 190073"/>
              <a:gd name="connsiteY38" fmla="*/ 88431 h 171822"/>
              <a:gd name="connsiteX39" fmla="*/ 139802 w 190073"/>
              <a:gd name="connsiteY39" fmla="*/ 88593 h 171822"/>
              <a:gd name="connsiteX40" fmla="*/ 139756 w 190073"/>
              <a:gd name="connsiteY40" fmla="*/ 98615 h 171822"/>
              <a:gd name="connsiteX41" fmla="*/ 139802 w 190073"/>
              <a:gd name="connsiteY41" fmla="*/ 98660 h 171822"/>
              <a:gd name="connsiteX42" fmla="*/ 151861 w 190073"/>
              <a:gd name="connsiteY42" fmla="*/ 110652 h 171822"/>
              <a:gd name="connsiteX43" fmla="*/ 151891 w 190073"/>
              <a:gd name="connsiteY43" fmla="*/ 119004 h 171822"/>
              <a:gd name="connsiteX44" fmla="*/ 151861 w 190073"/>
              <a:gd name="connsiteY44" fmla="*/ 119034 h 171822"/>
              <a:gd name="connsiteX45" fmla="*/ 144060 w 190073"/>
              <a:gd name="connsiteY45" fmla="*/ 119606 h 171822"/>
              <a:gd name="connsiteX46" fmla="*/ 134658 w 190073"/>
              <a:gd name="connsiteY46" fmla="*/ 120273 h 171822"/>
              <a:gd name="connsiteX47" fmla="*/ 134068 w 190073"/>
              <a:gd name="connsiteY47" fmla="*/ 129626 h 171822"/>
              <a:gd name="connsiteX48" fmla="*/ 133544 w 190073"/>
              <a:gd name="connsiteY48" fmla="*/ 137427 h 171822"/>
              <a:gd name="connsiteX49" fmla="*/ 125638 w 190073"/>
              <a:gd name="connsiteY49" fmla="*/ 137903 h 171822"/>
              <a:gd name="connsiteX50" fmla="*/ 116161 w 190073"/>
              <a:gd name="connsiteY50" fmla="*/ 138446 h 171822"/>
              <a:gd name="connsiteX51" fmla="*/ 115551 w 190073"/>
              <a:gd name="connsiteY51" fmla="*/ 147867 h 171822"/>
              <a:gd name="connsiteX52" fmla="*/ 115037 w 190073"/>
              <a:gd name="connsiteY52" fmla="*/ 155810 h 171822"/>
              <a:gd name="connsiteX53" fmla="*/ 106464 w 190073"/>
              <a:gd name="connsiteY53" fmla="*/ 155810 h 171822"/>
              <a:gd name="connsiteX54" fmla="*/ 102921 w 190073"/>
              <a:gd name="connsiteY54" fmla="*/ 152296 h 171822"/>
              <a:gd name="connsiteX55" fmla="*/ 103921 w 190073"/>
              <a:gd name="connsiteY55" fmla="*/ 151296 h 171822"/>
              <a:gd name="connsiteX56" fmla="*/ 104044 w 190073"/>
              <a:gd name="connsiteY56" fmla="*/ 122901 h 171822"/>
              <a:gd name="connsiteX57" fmla="*/ 103921 w 190073"/>
              <a:gd name="connsiteY57" fmla="*/ 122778 h 171822"/>
              <a:gd name="connsiteX58" fmla="*/ 90586 w 190073"/>
              <a:gd name="connsiteY58" fmla="*/ 116891 h 171822"/>
              <a:gd name="connsiteX59" fmla="*/ 71974 w 190073"/>
              <a:gd name="connsiteY59" fmla="*/ 97803 h 171822"/>
              <a:gd name="connsiteX60" fmla="*/ 66098 w 190073"/>
              <a:gd name="connsiteY60" fmla="*/ 85192 h 171822"/>
              <a:gd name="connsiteX61" fmla="*/ 49019 w 190073"/>
              <a:gd name="connsiteY61" fmla="*/ 79468 h 171822"/>
              <a:gd name="connsiteX62" fmla="*/ 28845 w 190073"/>
              <a:gd name="connsiteY62" fmla="*/ 64561 h 171822"/>
              <a:gd name="connsiteX63" fmla="*/ 41885 w 190073"/>
              <a:gd name="connsiteY63" fmla="*/ 27890 h 171822"/>
              <a:gd name="connsiteX64" fmla="*/ 75994 w 190073"/>
              <a:gd name="connsiteY64" fmla="*/ 14745 h 171822"/>
              <a:gd name="connsiteX65" fmla="*/ 61735 w 190073"/>
              <a:gd name="connsiteY65" fmla="*/ 25537 h 171822"/>
              <a:gd name="connsiteX66" fmla="*/ 57461 w 190073"/>
              <a:gd name="connsiteY66" fmla="*/ 56413 h 171822"/>
              <a:gd name="connsiteX67" fmla="*/ 57544 w 190073"/>
              <a:gd name="connsiteY67" fmla="*/ 56522 h 171822"/>
              <a:gd name="connsiteX68" fmla="*/ 88577 w 190073"/>
              <a:gd name="connsiteY68" fmla="*/ 60722 h 171822"/>
              <a:gd name="connsiteX69" fmla="*/ 106569 w 190073"/>
              <a:gd name="connsiteY69" fmla="*/ 47092 h 171822"/>
              <a:gd name="connsiteX70" fmla="*/ 125372 w 190073"/>
              <a:gd name="connsiteY70" fmla="*/ 47092 h 171822"/>
              <a:gd name="connsiteX71" fmla="*/ 70355 w 190073"/>
              <a:gd name="connsiteY71" fmla="*/ 36938 h 171822"/>
              <a:gd name="connsiteX72" fmla="*/ 100254 w 190073"/>
              <a:gd name="connsiteY72" fmla="*/ 14288 h 171822"/>
              <a:gd name="connsiteX73" fmla="*/ 105055 w 190073"/>
              <a:gd name="connsiteY73" fmla="*/ 14288 h 171822"/>
              <a:gd name="connsiteX74" fmla="*/ 106836 w 190073"/>
              <a:gd name="connsiteY74" fmla="*/ 14336 h 171822"/>
              <a:gd name="connsiteX75" fmla="*/ 122324 w 190073"/>
              <a:gd name="connsiteY75" fmla="*/ 14336 h 171822"/>
              <a:gd name="connsiteX76" fmla="*/ 160252 w 190073"/>
              <a:gd name="connsiteY76" fmla="*/ 36910 h 171822"/>
              <a:gd name="connsiteX77" fmla="*/ 164481 w 190073"/>
              <a:gd name="connsiteY77" fmla="*/ 65437 h 171822"/>
              <a:gd name="connsiteX78" fmla="*/ 133896 w 190073"/>
              <a:gd name="connsiteY78" fmla="*/ 34995 h 171822"/>
              <a:gd name="connsiteX79" fmla="*/ 128763 w 190073"/>
              <a:gd name="connsiteY79" fmla="*/ 32814 h 171822"/>
              <a:gd name="connsiteX80" fmla="*/ 104178 w 190073"/>
              <a:gd name="connsiteY80" fmla="*/ 32814 h 171822"/>
              <a:gd name="connsiteX81" fmla="*/ 99864 w 190073"/>
              <a:gd name="connsiteY81" fmla="*/ 34262 h 171822"/>
              <a:gd name="connsiteX82" fmla="*/ 79956 w 190073"/>
              <a:gd name="connsiteY82" fmla="*/ 49340 h 171822"/>
              <a:gd name="connsiteX83" fmla="*/ 68888 w 190073"/>
              <a:gd name="connsiteY83" fmla="*/ 47845 h 171822"/>
              <a:gd name="connsiteX84" fmla="*/ 70319 w 190073"/>
              <a:gd name="connsiteY84" fmla="*/ 36973 h 171822"/>
              <a:gd name="connsiteX85" fmla="*/ 70365 w 190073"/>
              <a:gd name="connsiteY85" fmla="*/ 36938 h 171822"/>
              <a:gd name="connsiteX86" fmla="*/ 38408 w 190073"/>
              <a:gd name="connsiteY86" fmla="*/ 112710 h 171822"/>
              <a:gd name="connsiteX87" fmla="*/ 38378 w 190073"/>
              <a:gd name="connsiteY87" fmla="*/ 104358 h 171822"/>
              <a:gd name="connsiteX88" fmla="*/ 38408 w 190073"/>
              <a:gd name="connsiteY88" fmla="*/ 104328 h 171822"/>
              <a:gd name="connsiteX89" fmla="*/ 47524 w 190073"/>
              <a:gd name="connsiteY89" fmla="*/ 95260 h 171822"/>
              <a:gd name="connsiteX90" fmla="*/ 55963 w 190073"/>
              <a:gd name="connsiteY90" fmla="*/ 95260 h 171822"/>
              <a:gd name="connsiteX91" fmla="*/ 56039 w 190073"/>
              <a:gd name="connsiteY91" fmla="*/ 103566 h 171822"/>
              <a:gd name="connsiteX92" fmla="*/ 55963 w 190073"/>
              <a:gd name="connsiteY92" fmla="*/ 103642 h 171822"/>
              <a:gd name="connsiteX93" fmla="*/ 46848 w 190073"/>
              <a:gd name="connsiteY93" fmla="*/ 112700 h 171822"/>
              <a:gd name="connsiteX94" fmla="*/ 46762 w 190073"/>
              <a:gd name="connsiteY94" fmla="*/ 112786 h 171822"/>
              <a:gd name="connsiteX95" fmla="*/ 38408 w 190073"/>
              <a:gd name="connsiteY95" fmla="*/ 112710 h 171822"/>
              <a:gd name="connsiteX96" fmla="*/ 33732 w 190073"/>
              <a:gd name="connsiteY96" fmla="*/ 80620 h 171822"/>
              <a:gd name="connsiteX97" fmla="*/ 33636 w 190073"/>
              <a:gd name="connsiteY97" fmla="*/ 88907 h 171822"/>
              <a:gd name="connsiteX98" fmla="*/ 24521 w 190073"/>
              <a:gd name="connsiteY98" fmla="*/ 97975 h 171822"/>
              <a:gd name="connsiteX99" fmla="*/ 16082 w 190073"/>
              <a:gd name="connsiteY99" fmla="*/ 97975 h 171822"/>
              <a:gd name="connsiteX100" fmla="*/ 16051 w 190073"/>
              <a:gd name="connsiteY100" fmla="*/ 89623 h 171822"/>
              <a:gd name="connsiteX101" fmla="*/ 16082 w 190073"/>
              <a:gd name="connsiteY101" fmla="*/ 89593 h 171822"/>
              <a:gd name="connsiteX102" fmla="*/ 25207 w 190073"/>
              <a:gd name="connsiteY102" fmla="*/ 80534 h 171822"/>
              <a:gd name="connsiteX103" fmla="*/ 33646 w 190073"/>
              <a:gd name="connsiteY103" fmla="*/ 80534 h 171822"/>
              <a:gd name="connsiteX104" fmla="*/ 33732 w 190073"/>
              <a:gd name="connsiteY104" fmla="*/ 80620 h 171822"/>
              <a:gd name="connsiteX105" fmla="*/ 84671 w 190073"/>
              <a:gd name="connsiteY105" fmla="*/ 150286 h 171822"/>
              <a:gd name="connsiteX106" fmla="*/ 76232 w 190073"/>
              <a:gd name="connsiteY106" fmla="*/ 150286 h 171822"/>
              <a:gd name="connsiteX107" fmla="*/ 76202 w 190073"/>
              <a:gd name="connsiteY107" fmla="*/ 141934 h 171822"/>
              <a:gd name="connsiteX108" fmla="*/ 76232 w 190073"/>
              <a:gd name="connsiteY108" fmla="*/ 141904 h 171822"/>
              <a:gd name="connsiteX109" fmla="*/ 85348 w 190073"/>
              <a:gd name="connsiteY109" fmla="*/ 132846 h 171822"/>
              <a:gd name="connsiteX110" fmla="*/ 93787 w 190073"/>
              <a:gd name="connsiteY110" fmla="*/ 132846 h 171822"/>
              <a:gd name="connsiteX111" fmla="*/ 93817 w 190073"/>
              <a:gd name="connsiteY111" fmla="*/ 141197 h 171822"/>
              <a:gd name="connsiteX112" fmla="*/ 93787 w 190073"/>
              <a:gd name="connsiteY112" fmla="*/ 141228 h 171822"/>
              <a:gd name="connsiteX113" fmla="*/ 84671 w 190073"/>
              <a:gd name="connsiteY113" fmla="*/ 150286 h 171822"/>
              <a:gd name="connsiteX114" fmla="*/ 65421 w 190073"/>
              <a:gd name="connsiteY114" fmla="*/ 131160 h 171822"/>
              <a:gd name="connsiteX115" fmla="*/ 56982 w 190073"/>
              <a:gd name="connsiteY115" fmla="*/ 131160 h 171822"/>
              <a:gd name="connsiteX116" fmla="*/ 56896 w 190073"/>
              <a:gd name="connsiteY116" fmla="*/ 122854 h 171822"/>
              <a:gd name="connsiteX117" fmla="*/ 56982 w 190073"/>
              <a:gd name="connsiteY117" fmla="*/ 122778 h 171822"/>
              <a:gd name="connsiteX118" fmla="*/ 66098 w 190073"/>
              <a:gd name="connsiteY118" fmla="*/ 113719 h 171822"/>
              <a:gd name="connsiteX119" fmla="*/ 66174 w 190073"/>
              <a:gd name="connsiteY119" fmla="*/ 113634 h 171822"/>
              <a:gd name="connsiteX120" fmla="*/ 74537 w 190073"/>
              <a:gd name="connsiteY120" fmla="*/ 113719 h 171822"/>
              <a:gd name="connsiteX121" fmla="*/ 74567 w 190073"/>
              <a:gd name="connsiteY121" fmla="*/ 122071 h 171822"/>
              <a:gd name="connsiteX122" fmla="*/ 74537 w 190073"/>
              <a:gd name="connsiteY122" fmla="*/ 122101 h 171822"/>
              <a:gd name="connsiteX123" fmla="*/ 65421 w 190073"/>
              <a:gd name="connsiteY123" fmla="*/ 131160 h 17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190073" h="171822">
                <a:moveTo>
                  <a:pt x="97511" y="0"/>
                </a:moveTo>
                <a:cubicBezTo>
                  <a:pt x="95368" y="1"/>
                  <a:pt x="93339" y="967"/>
                  <a:pt x="91986" y="2629"/>
                </a:cubicBezTo>
                <a:lnTo>
                  <a:pt x="91434" y="3039"/>
                </a:lnTo>
                <a:cubicBezTo>
                  <a:pt x="70333" y="-3383"/>
                  <a:pt x="47410" y="2298"/>
                  <a:pt x="31750" y="17831"/>
                </a:cubicBezTo>
                <a:cubicBezTo>
                  <a:pt x="17920" y="31527"/>
                  <a:pt x="11733" y="51163"/>
                  <a:pt x="15215" y="70314"/>
                </a:cubicBezTo>
                <a:lnTo>
                  <a:pt x="15072" y="70457"/>
                </a:lnTo>
                <a:lnTo>
                  <a:pt x="5947" y="79515"/>
                </a:lnTo>
                <a:cubicBezTo>
                  <a:pt x="-1930" y="87320"/>
                  <a:pt x="-1990" y="100033"/>
                  <a:pt x="5815" y="107910"/>
                </a:cubicBezTo>
                <a:cubicBezTo>
                  <a:pt x="5859" y="107955"/>
                  <a:pt x="5903" y="107999"/>
                  <a:pt x="5947" y="108043"/>
                </a:cubicBezTo>
                <a:cubicBezTo>
                  <a:pt x="10439" y="112504"/>
                  <a:pt x="16752" y="114621"/>
                  <a:pt x="23025" y="113767"/>
                </a:cubicBezTo>
                <a:cubicBezTo>
                  <a:pt x="25287" y="121995"/>
                  <a:pt x="32456" y="127926"/>
                  <a:pt x="40961" y="128607"/>
                </a:cubicBezTo>
                <a:cubicBezTo>
                  <a:pt x="41844" y="138707"/>
                  <a:pt x="50047" y="146605"/>
                  <a:pt x="60173" y="147105"/>
                </a:cubicBezTo>
                <a:cubicBezTo>
                  <a:pt x="60421" y="151934"/>
                  <a:pt x="62392" y="156677"/>
                  <a:pt x="66098" y="160354"/>
                </a:cubicBezTo>
                <a:cubicBezTo>
                  <a:pt x="73337" y="167555"/>
                  <a:pt x="84690" y="168174"/>
                  <a:pt x="92644" y="162230"/>
                </a:cubicBezTo>
                <a:lnTo>
                  <a:pt x="96330" y="165888"/>
                </a:lnTo>
                <a:cubicBezTo>
                  <a:pt x="104316" y="173800"/>
                  <a:pt x="117186" y="173800"/>
                  <a:pt x="125172" y="165888"/>
                </a:cubicBezTo>
                <a:cubicBezTo>
                  <a:pt x="128696" y="162383"/>
                  <a:pt x="130668" y="157906"/>
                  <a:pt x="131077" y="153334"/>
                </a:cubicBezTo>
                <a:cubicBezTo>
                  <a:pt x="140889" y="152502"/>
                  <a:pt x="148684" y="144740"/>
                  <a:pt x="149556" y="134932"/>
                </a:cubicBezTo>
                <a:cubicBezTo>
                  <a:pt x="158137" y="134143"/>
                  <a:pt x="165281" y="128015"/>
                  <a:pt x="167367" y="119654"/>
                </a:cubicBezTo>
                <a:cubicBezTo>
                  <a:pt x="173544" y="120394"/>
                  <a:pt x="179719" y="118267"/>
                  <a:pt x="184131" y="113881"/>
                </a:cubicBezTo>
                <a:cubicBezTo>
                  <a:pt x="192007" y="106074"/>
                  <a:pt x="192061" y="93361"/>
                  <a:pt x="184254" y="85486"/>
                </a:cubicBezTo>
                <a:cubicBezTo>
                  <a:pt x="184213" y="85445"/>
                  <a:pt x="184172" y="85404"/>
                  <a:pt x="184131" y="85364"/>
                </a:cubicBezTo>
                <a:lnTo>
                  <a:pt x="176197" y="77467"/>
                </a:lnTo>
                <a:lnTo>
                  <a:pt x="177835" y="71124"/>
                </a:lnTo>
                <a:cubicBezTo>
                  <a:pt x="181380" y="57319"/>
                  <a:pt x="179595" y="42685"/>
                  <a:pt x="172835" y="30138"/>
                </a:cubicBezTo>
                <a:cubicBezTo>
                  <a:pt x="162814" y="11578"/>
                  <a:pt x="143415" y="18"/>
                  <a:pt x="122324" y="39"/>
                </a:cubicBezTo>
                <a:lnTo>
                  <a:pt x="107017" y="39"/>
                </a:lnTo>
                <a:cubicBezTo>
                  <a:pt x="106364" y="10"/>
                  <a:pt x="105709" y="-3"/>
                  <a:pt x="105055" y="0"/>
                </a:cubicBezTo>
                <a:lnTo>
                  <a:pt x="97521" y="0"/>
                </a:lnTo>
                <a:close/>
                <a:moveTo>
                  <a:pt x="125372" y="47102"/>
                </a:moveTo>
                <a:lnTo>
                  <a:pt x="158366" y="79887"/>
                </a:lnTo>
                <a:lnTo>
                  <a:pt x="158395" y="79925"/>
                </a:lnTo>
                <a:lnTo>
                  <a:pt x="158528" y="80049"/>
                </a:lnTo>
                <a:lnTo>
                  <a:pt x="174006" y="95431"/>
                </a:lnTo>
                <a:cubicBezTo>
                  <a:pt x="176321" y="97729"/>
                  <a:pt x="176334" y="101468"/>
                  <a:pt x="174037" y="103783"/>
                </a:cubicBezTo>
                <a:cubicBezTo>
                  <a:pt x="174026" y="103793"/>
                  <a:pt x="174017" y="103803"/>
                  <a:pt x="174006" y="103813"/>
                </a:cubicBezTo>
                <a:cubicBezTo>
                  <a:pt x="171668" y="106125"/>
                  <a:pt x="167906" y="106125"/>
                  <a:pt x="165567" y="103813"/>
                </a:cubicBezTo>
                <a:lnTo>
                  <a:pt x="150089" y="88431"/>
                </a:lnTo>
                <a:cubicBezTo>
                  <a:pt x="147283" y="85651"/>
                  <a:pt x="142760" y="85651"/>
                  <a:pt x="139954" y="88431"/>
                </a:cubicBezTo>
                <a:lnTo>
                  <a:pt x="139802" y="88593"/>
                </a:lnTo>
                <a:cubicBezTo>
                  <a:pt x="137022" y="91347"/>
                  <a:pt x="137002" y="95834"/>
                  <a:pt x="139756" y="98615"/>
                </a:cubicBezTo>
                <a:cubicBezTo>
                  <a:pt x="139772" y="98630"/>
                  <a:pt x="139787" y="98645"/>
                  <a:pt x="139802" y="98660"/>
                </a:cubicBezTo>
                <a:lnTo>
                  <a:pt x="151861" y="110652"/>
                </a:lnTo>
                <a:cubicBezTo>
                  <a:pt x="154175" y="112950"/>
                  <a:pt x="154189" y="116689"/>
                  <a:pt x="151891" y="119004"/>
                </a:cubicBezTo>
                <a:cubicBezTo>
                  <a:pt x="151881" y="119014"/>
                  <a:pt x="151871" y="119024"/>
                  <a:pt x="151861" y="119034"/>
                </a:cubicBezTo>
                <a:cubicBezTo>
                  <a:pt x="149758" y="121126"/>
                  <a:pt x="146444" y="121369"/>
                  <a:pt x="144060" y="119606"/>
                </a:cubicBezTo>
                <a:cubicBezTo>
                  <a:pt x="141195" y="117462"/>
                  <a:pt x="137191" y="117746"/>
                  <a:pt x="134658" y="120273"/>
                </a:cubicBezTo>
                <a:cubicBezTo>
                  <a:pt x="132133" y="122797"/>
                  <a:pt x="131881" y="126805"/>
                  <a:pt x="134068" y="129626"/>
                </a:cubicBezTo>
                <a:cubicBezTo>
                  <a:pt x="135886" y="131987"/>
                  <a:pt x="135661" y="135332"/>
                  <a:pt x="133544" y="137427"/>
                </a:cubicBezTo>
                <a:cubicBezTo>
                  <a:pt x="131403" y="139549"/>
                  <a:pt x="128019" y="139753"/>
                  <a:pt x="125638" y="137903"/>
                </a:cubicBezTo>
                <a:cubicBezTo>
                  <a:pt x="122790" y="135681"/>
                  <a:pt x="118736" y="135914"/>
                  <a:pt x="116161" y="138446"/>
                </a:cubicBezTo>
                <a:cubicBezTo>
                  <a:pt x="113591" y="140974"/>
                  <a:pt x="113329" y="145028"/>
                  <a:pt x="115551" y="147867"/>
                </a:cubicBezTo>
                <a:cubicBezTo>
                  <a:pt x="117413" y="150263"/>
                  <a:pt x="117192" y="153674"/>
                  <a:pt x="115037" y="155810"/>
                </a:cubicBezTo>
                <a:cubicBezTo>
                  <a:pt x="112662" y="158159"/>
                  <a:pt x="108839" y="158159"/>
                  <a:pt x="106464" y="155810"/>
                </a:cubicBezTo>
                <a:lnTo>
                  <a:pt x="102921" y="152296"/>
                </a:lnTo>
                <a:lnTo>
                  <a:pt x="103921" y="151296"/>
                </a:lnTo>
                <a:cubicBezTo>
                  <a:pt x="111797" y="143488"/>
                  <a:pt x="111851" y="130775"/>
                  <a:pt x="104044" y="122901"/>
                </a:cubicBezTo>
                <a:cubicBezTo>
                  <a:pt x="104003" y="122860"/>
                  <a:pt x="103962" y="122819"/>
                  <a:pt x="103921" y="122778"/>
                </a:cubicBezTo>
                <a:cubicBezTo>
                  <a:pt x="100359" y="119232"/>
                  <a:pt x="95607" y="117134"/>
                  <a:pt x="90586" y="116891"/>
                </a:cubicBezTo>
                <a:cubicBezTo>
                  <a:pt x="90024" y="106772"/>
                  <a:pt x="82077" y="98620"/>
                  <a:pt x="71974" y="97803"/>
                </a:cubicBezTo>
                <a:cubicBezTo>
                  <a:pt x="71584" y="93032"/>
                  <a:pt x="69500" y="88559"/>
                  <a:pt x="66098" y="85192"/>
                </a:cubicBezTo>
                <a:cubicBezTo>
                  <a:pt x="61606" y="80731"/>
                  <a:pt x="55293" y="78614"/>
                  <a:pt x="49019" y="79468"/>
                </a:cubicBezTo>
                <a:cubicBezTo>
                  <a:pt x="46531" y="70445"/>
                  <a:pt x="38201" y="64290"/>
                  <a:pt x="28845" y="64561"/>
                </a:cubicBezTo>
                <a:cubicBezTo>
                  <a:pt x="27380" y="50989"/>
                  <a:pt x="32180" y="37490"/>
                  <a:pt x="41885" y="27890"/>
                </a:cubicBezTo>
                <a:cubicBezTo>
                  <a:pt x="50911" y="18923"/>
                  <a:pt x="63285" y="14154"/>
                  <a:pt x="75994" y="14745"/>
                </a:cubicBezTo>
                <a:lnTo>
                  <a:pt x="61735" y="25537"/>
                </a:lnTo>
                <a:cubicBezTo>
                  <a:pt x="52029" y="32883"/>
                  <a:pt x="50115" y="46707"/>
                  <a:pt x="57461" y="56413"/>
                </a:cubicBezTo>
                <a:cubicBezTo>
                  <a:pt x="57489" y="56449"/>
                  <a:pt x="57516" y="56486"/>
                  <a:pt x="57544" y="56522"/>
                </a:cubicBezTo>
                <a:cubicBezTo>
                  <a:pt x="64977" y="66211"/>
                  <a:pt x="78835" y="68087"/>
                  <a:pt x="88577" y="60722"/>
                </a:cubicBezTo>
                <a:lnTo>
                  <a:pt x="106569" y="47092"/>
                </a:lnTo>
                <a:lnTo>
                  <a:pt x="125372" y="47092"/>
                </a:lnTo>
                <a:close/>
                <a:moveTo>
                  <a:pt x="70355" y="36938"/>
                </a:moveTo>
                <a:lnTo>
                  <a:pt x="100254" y="14288"/>
                </a:lnTo>
                <a:lnTo>
                  <a:pt x="105055" y="14288"/>
                </a:lnTo>
                <a:cubicBezTo>
                  <a:pt x="105649" y="14284"/>
                  <a:pt x="106243" y="14299"/>
                  <a:pt x="106836" y="14336"/>
                </a:cubicBezTo>
                <a:lnTo>
                  <a:pt x="122324" y="14336"/>
                </a:lnTo>
                <a:cubicBezTo>
                  <a:pt x="138155" y="14314"/>
                  <a:pt x="152722" y="22984"/>
                  <a:pt x="160252" y="36910"/>
                </a:cubicBezTo>
                <a:cubicBezTo>
                  <a:pt x="164967" y="45673"/>
                  <a:pt x="166443" y="55750"/>
                  <a:pt x="164481" y="65437"/>
                </a:cubicBezTo>
                <a:lnTo>
                  <a:pt x="133896" y="34995"/>
                </a:lnTo>
                <a:cubicBezTo>
                  <a:pt x="132552" y="33603"/>
                  <a:pt x="130699" y="32815"/>
                  <a:pt x="128763" y="32814"/>
                </a:cubicBezTo>
                <a:lnTo>
                  <a:pt x="104178" y="32814"/>
                </a:lnTo>
                <a:cubicBezTo>
                  <a:pt x="102621" y="32813"/>
                  <a:pt x="101106" y="33322"/>
                  <a:pt x="99864" y="34262"/>
                </a:cubicBezTo>
                <a:lnTo>
                  <a:pt x="79956" y="49340"/>
                </a:lnTo>
                <a:cubicBezTo>
                  <a:pt x="76482" y="51962"/>
                  <a:pt x="71543" y="51295"/>
                  <a:pt x="68888" y="47845"/>
                </a:cubicBezTo>
                <a:cubicBezTo>
                  <a:pt x="66281" y="44448"/>
                  <a:pt x="66922" y="39580"/>
                  <a:pt x="70319" y="36973"/>
                </a:cubicBezTo>
                <a:cubicBezTo>
                  <a:pt x="70334" y="36962"/>
                  <a:pt x="70349" y="36950"/>
                  <a:pt x="70365" y="36938"/>
                </a:cubicBezTo>
                <a:close/>
                <a:moveTo>
                  <a:pt x="38408" y="112710"/>
                </a:moveTo>
                <a:cubicBezTo>
                  <a:pt x="36094" y="110412"/>
                  <a:pt x="36080" y="106673"/>
                  <a:pt x="38378" y="104358"/>
                </a:cubicBezTo>
                <a:cubicBezTo>
                  <a:pt x="38388" y="104348"/>
                  <a:pt x="38398" y="104338"/>
                  <a:pt x="38408" y="104328"/>
                </a:cubicBezTo>
                <a:lnTo>
                  <a:pt x="47524" y="95260"/>
                </a:lnTo>
                <a:cubicBezTo>
                  <a:pt x="49862" y="92948"/>
                  <a:pt x="53625" y="92948"/>
                  <a:pt x="55963" y="95260"/>
                </a:cubicBezTo>
                <a:cubicBezTo>
                  <a:pt x="58260" y="97540"/>
                  <a:pt x="58294" y="101244"/>
                  <a:pt x="56039" y="103566"/>
                </a:cubicBezTo>
                <a:lnTo>
                  <a:pt x="55963" y="103642"/>
                </a:lnTo>
                <a:lnTo>
                  <a:pt x="46848" y="112700"/>
                </a:lnTo>
                <a:lnTo>
                  <a:pt x="46762" y="112786"/>
                </a:lnTo>
                <a:cubicBezTo>
                  <a:pt x="44414" y="115022"/>
                  <a:pt x="40715" y="114987"/>
                  <a:pt x="38408" y="112710"/>
                </a:cubicBezTo>
                <a:close/>
                <a:moveTo>
                  <a:pt x="33732" y="80620"/>
                </a:moveTo>
                <a:cubicBezTo>
                  <a:pt x="35979" y="82940"/>
                  <a:pt x="35937" y="86639"/>
                  <a:pt x="33636" y="88907"/>
                </a:cubicBezTo>
                <a:lnTo>
                  <a:pt x="24521" y="97975"/>
                </a:lnTo>
                <a:cubicBezTo>
                  <a:pt x="22183" y="100286"/>
                  <a:pt x="18420" y="100286"/>
                  <a:pt x="16082" y="97975"/>
                </a:cubicBezTo>
                <a:cubicBezTo>
                  <a:pt x="13767" y="95677"/>
                  <a:pt x="13754" y="91938"/>
                  <a:pt x="16051" y="89623"/>
                </a:cubicBezTo>
                <a:cubicBezTo>
                  <a:pt x="16061" y="89613"/>
                  <a:pt x="16072" y="89603"/>
                  <a:pt x="16082" y="89593"/>
                </a:cubicBezTo>
                <a:lnTo>
                  <a:pt x="25207" y="80534"/>
                </a:lnTo>
                <a:cubicBezTo>
                  <a:pt x="27545" y="78223"/>
                  <a:pt x="31308" y="78223"/>
                  <a:pt x="33646" y="80534"/>
                </a:cubicBezTo>
                <a:lnTo>
                  <a:pt x="33732" y="80620"/>
                </a:lnTo>
                <a:close/>
                <a:moveTo>
                  <a:pt x="84671" y="150286"/>
                </a:moveTo>
                <a:cubicBezTo>
                  <a:pt x="82333" y="152598"/>
                  <a:pt x="78571" y="152598"/>
                  <a:pt x="76232" y="150286"/>
                </a:cubicBezTo>
                <a:cubicBezTo>
                  <a:pt x="73917" y="147988"/>
                  <a:pt x="73904" y="144249"/>
                  <a:pt x="76202" y="141934"/>
                </a:cubicBezTo>
                <a:cubicBezTo>
                  <a:pt x="76212" y="141924"/>
                  <a:pt x="76222" y="141914"/>
                  <a:pt x="76232" y="141904"/>
                </a:cubicBezTo>
                <a:lnTo>
                  <a:pt x="85348" y="132846"/>
                </a:lnTo>
                <a:cubicBezTo>
                  <a:pt x="87686" y="130534"/>
                  <a:pt x="91448" y="130534"/>
                  <a:pt x="93787" y="132846"/>
                </a:cubicBezTo>
                <a:cubicBezTo>
                  <a:pt x="96101" y="135143"/>
                  <a:pt x="96115" y="138883"/>
                  <a:pt x="93817" y="141197"/>
                </a:cubicBezTo>
                <a:cubicBezTo>
                  <a:pt x="93807" y="141208"/>
                  <a:pt x="93797" y="141217"/>
                  <a:pt x="93787" y="141228"/>
                </a:cubicBezTo>
                <a:lnTo>
                  <a:pt x="84671" y="150286"/>
                </a:lnTo>
                <a:close/>
                <a:moveTo>
                  <a:pt x="65421" y="131160"/>
                </a:moveTo>
                <a:cubicBezTo>
                  <a:pt x="63085" y="133477"/>
                  <a:pt x="59318" y="133477"/>
                  <a:pt x="56982" y="131160"/>
                </a:cubicBezTo>
                <a:cubicBezTo>
                  <a:pt x="54682" y="128882"/>
                  <a:pt x="54644" y="125178"/>
                  <a:pt x="56896" y="122854"/>
                </a:cubicBezTo>
                <a:lnTo>
                  <a:pt x="56982" y="122778"/>
                </a:lnTo>
                <a:lnTo>
                  <a:pt x="66098" y="113719"/>
                </a:lnTo>
                <a:lnTo>
                  <a:pt x="66174" y="113634"/>
                </a:lnTo>
                <a:cubicBezTo>
                  <a:pt x="68525" y="111395"/>
                  <a:pt x="72231" y="111433"/>
                  <a:pt x="74537" y="113719"/>
                </a:cubicBezTo>
                <a:cubicBezTo>
                  <a:pt x="76851" y="116017"/>
                  <a:pt x="76865" y="119756"/>
                  <a:pt x="74567" y="122071"/>
                </a:cubicBezTo>
                <a:cubicBezTo>
                  <a:pt x="74557" y="122081"/>
                  <a:pt x="74547" y="122091"/>
                  <a:pt x="74537" y="122101"/>
                </a:cubicBezTo>
                <a:lnTo>
                  <a:pt x="65421" y="131160"/>
                </a:lnTo>
                <a:close/>
              </a:path>
            </a:pathLst>
          </a:custGeom>
          <a:solidFill>
            <a:schemeClr val="bg1"/>
          </a:solidFill>
          <a:ln w="15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Tree>
    <p:extLst>
      <p:ext uri="{BB962C8B-B14F-4D97-AF65-F5344CB8AC3E}">
        <p14:creationId xmlns:p14="http://schemas.microsoft.com/office/powerpoint/2010/main" val="4186940974"/>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8769FFE3-B4A9-DABD-6587-4FE32909B048}"/>
              </a:ext>
            </a:extLst>
          </p:cNvPr>
          <p:cNvSpPr/>
          <p:nvPr/>
        </p:nvSpPr>
        <p:spPr bwMode="auto">
          <a:xfrm rot="16200000" flipH="1">
            <a:off x="-136453" y="2742488"/>
            <a:ext cx="4025649" cy="2576099"/>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7" name="Picture 6" descr="Code QR sur fond blanc">
            <a:extLst>
              <a:ext uri="{FF2B5EF4-FFF2-40B4-BE49-F238E27FC236}">
                <a16:creationId xmlns:a16="http://schemas.microsoft.com/office/drawing/2014/main" id="{73434B69-5AE9-898D-CD74-79C32E94922A}"/>
              </a:ext>
            </a:extLst>
          </p:cNvPr>
          <p:cNvPicPr>
            <a:picLocks noChangeAspect="1"/>
          </p:cNvPicPr>
          <p:nvPr/>
        </p:nvPicPr>
        <p:blipFill>
          <a:blip r:embed="rId3"/>
          <a:stretch>
            <a:fillRect/>
          </a:stretch>
        </p:blipFill>
        <p:spPr>
          <a:xfrm>
            <a:off x="971115" y="2441954"/>
            <a:ext cx="1810512" cy="1810512"/>
          </a:xfrm>
          <a:prstGeom prst="roundRect">
            <a:avLst>
              <a:gd name="adj" fmla="val 2933"/>
            </a:avLst>
          </a:prstGeom>
          <a:noFill/>
        </p:spPr>
      </p:pic>
      <p:pic>
        <p:nvPicPr>
          <p:cNvPr id="8" name="Graphic 7">
            <a:extLst>
              <a:ext uri="{FF2B5EF4-FFF2-40B4-BE49-F238E27FC236}">
                <a16:creationId xmlns:a16="http://schemas.microsoft.com/office/drawing/2014/main" id="{75B56898-3899-BCD6-7447-3BC0B11179BF}"/>
              </a:ext>
            </a:extLst>
          </p:cNvPr>
          <p:cNvPicPr>
            <a:picLocks noChangeAspect="1"/>
          </p:cNvPicPr>
          <p:nvPr/>
        </p:nvPicPr>
        <p:blipFill>
          <a:blip r:embed="rId4"/>
          <a:srcRect/>
          <a:stretch/>
        </p:blipFill>
        <p:spPr>
          <a:xfrm>
            <a:off x="1208766" y="835066"/>
            <a:ext cx="1335210" cy="705394"/>
          </a:xfrm>
          <a:prstGeom prst="rect">
            <a:avLst/>
          </a:prstGeom>
        </p:spPr>
      </p:pic>
      <p:grpSp>
        <p:nvGrpSpPr>
          <p:cNvPr id="9" name="Group 8">
            <a:extLst>
              <a:ext uri="{FF2B5EF4-FFF2-40B4-BE49-F238E27FC236}">
                <a16:creationId xmlns:a16="http://schemas.microsoft.com/office/drawing/2014/main" id="{820D5F12-A3A3-A4CD-77D1-C117AD33C91C}"/>
              </a:ext>
            </a:extLst>
          </p:cNvPr>
          <p:cNvGrpSpPr/>
          <p:nvPr/>
        </p:nvGrpSpPr>
        <p:grpSpPr>
          <a:xfrm>
            <a:off x="370476" y="4696070"/>
            <a:ext cx="7503737" cy="844463"/>
            <a:chOff x="5607459" y="5376024"/>
            <a:chExt cx="5795892" cy="844463"/>
          </a:xfrm>
        </p:grpSpPr>
        <p:sp>
          <p:nvSpPr>
            <p:cNvPr id="10" name="Rectangle: Rounded Corners 11">
              <a:extLst>
                <a:ext uri="{FF2B5EF4-FFF2-40B4-BE49-F238E27FC236}">
                  <a16:creationId xmlns:a16="http://schemas.microsoft.com/office/drawing/2014/main" id="{A5462F07-51EC-FE13-93F4-2314FCEFECD5}"/>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1">
              <a:extLst>
                <a:ext uri="{FF2B5EF4-FFF2-40B4-BE49-F238E27FC236}">
                  <a16:creationId xmlns:a16="http://schemas.microsoft.com/office/drawing/2014/main" id="{E7411E11-9611-5596-57F4-8F8E3C1C7A50}"/>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descr="Image floue d’un ciel bleu et orange  Le contenu généré par IA peut être incorrect.">
            <a:extLst>
              <a:ext uri="{FF2B5EF4-FFF2-40B4-BE49-F238E27FC236}">
                <a16:creationId xmlns:a16="http://schemas.microsoft.com/office/drawing/2014/main" id="{8B53E518-C6A8-9ECF-F889-F03B4CEBA56D}"/>
              </a:ext>
            </a:extLst>
          </p:cNvPr>
          <p:cNvPicPr>
            <a:picLocks noChangeAspect="1"/>
          </p:cNvPicPr>
          <p:nvPr/>
        </p:nvPicPr>
        <p:blipFill>
          <a:blip r:embed="rId5">
            <a:alphaModFix/>
            <a:extLst>
              <a:ext uri="{BEBA8EAE-BF5A-486C-A8C5-ECC9F3942E4B}">
                <a14:imgProps xmlns:a14="http://schemas.microsoft.com/office/drawing/2010/main">
                  <a14:imgLayer r:embed="rId6">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6522" t="1189" r="13264" b="356"/>
          <a:stretch>
            <a:fillRect/>
          </a:stretch>
        </p:blipFill>
        <p:spPr>
          <a:xfrm rot="10800000" flipV="1">
            <a:off x="3624479" y="2"/>
            <a:ext cx="8567520" cy="6646984"/>
          </a:xfrm>
          <a:prstGeom prst="rect">
            <a:avLst/>
          </a:prstGeom>
          <a:effectLst/>
        </p:spPr>
      </p:pic>
      <p:sp>
        <p:nvSpPr>
          <p:cNvPr id="13" name="TextBox 12">
            <a:extLst>
              <a:ext uri="{FF2B5EF4-FFF2-40B4-BE49-F238E27FC236}">
                <a16:creationId xmlns:a16="http://schemas.microsoft.com/office/drawing/2014/main" id="{C4CABB8F-80F5-8CBA-B0D9-1B0D8B936F4A}"/>
              </a:ext>
            </a:extLst>
          </p:cNvPr>
          <p:cNvSpPr txBox="1"/>
          <p:nvPr/>
        </p:nvSpPr>
        <p:spPr>
          <a:xfrm>
            <a:off x="4088315" y="713000"/>
            <a:ext cx="7532185" cy="1255728"/>
          </a:xfrm>
          <a:prstGeom prst="rect">
            <a:avLst/>
          </a:prstGeom>
          <a:noFill/>
          <a:ln>
            <a:noFill/>
            <a:prstDash/>
          </a:ln>
          <a:effectLst/>
        </p:spPr>
        <p:txBody>
          <a:bodyPr wrap="square">
            <a:spAutoFit/>
          </a:bodyPr>
          <a:lstStyle/>
          <a:p>
            <a:pPr algn="ctr">
              <a:lnSpc>
                <a:spcPct val="90000"/>
              </a:lnSpc>
              <a:spcAft>
                <a:spcPts val="1800"/>
              </a:spcAft>
            </a:pPr>
            <a:r>
              <a:rPr lang="fr-fr"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Visitez </a:t>
            </a:r>
            <a:r>
              <a:rPr lang="fr-fr"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hlinkClick r:id="rId7">
                  <a:extLst>
                    <a:ext uri="{A12FA001-AC4F-418D-AE19-62706E023703}">
                      <ahyp:hlinkClr xmlns:ahyp="http://schemas.microsoft.com/office/drawing/2018/hyperlinkcolor" val="tx"/>
                    </a:ext>
                  </a:extLst>
                </a:hlinkClick>
              </a:rPr>
              <a:t>le site du Hub client</a:t>
            </a:r>
            <a:r>
              <a:rPr lang="fr-fr"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 pour connaître </a:t>
            </a:r>
            <a:br>
              <a:rPr lang="fr-fr"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br>
            <a:r>
              <a:rPr lang="fr-fr"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les prochaines sessions, mises à jour et contenus à la demande !</a:t>
            </a:r>
          </a:p>
        </p:txBody>
      </p:sp>
      <p:sp>
        <p:nvSpPr>
          <p:cNvPr id="14" name="Rectangle: Rounded Corners 13">
            <a:extLst>
              <a:ext uri="{FF2B5EF4-FFF2-40B4-BE49-F238E27FC236}">
                <a16:creationId xmlns:a16="http://schemas.microsoft.com/office/drawing/2014/main" id="{DE7ED2F4-D21B-084A-2A38-BC93B81F409C}"/>
              </a:ext>
            </a:extLst>
          </p:cNvPr>
          <p:cNvSpPr/>
          <p:nvPr/>
        </p:nvSpPr>
        <p:spPr bwMode="auto">
          <a:xfrm rot="16200000" flipH="1">
            <a:off x="5821723" y="257308"/>
            <a:ext cx="4052645" cy="7519459"/>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pic>
        <p:nvPicPr>
          <p:cNvPr id="16" name="Picture 15">
            <a:extLst>
              <a:ext uri="{FF2B5EF4-FFF2-40B4-BE49-F238E27FC236}">
                <a16:creationId xmlns:a16="http://schemas.microsoft.com/office/drawing/2014/main" id="{09B68A1B-6C97-5CBE-8BA3-9965A9A3366F}"/>
              </a:ext>
            </a:extLst>
          </p:cNvPr>
          <p:cNvPicPr>
            <a:picLocks noChangeAspect="1"/>
          </p:cNvPicPr>
          <p:nvPr/>
        </p:nvPicPr>
        <p:blipFill>
          <a:blip r:embed="rId8"/>
          <a:stretch>
            <a:fillRect/>
          </a:stretch>
        </p:blipFill>
        <p:spPr>
          <a:xfrm>
            <a:off x="4354189" y="2266134"/>
            <a:ext cx="6987712" cy="3527026"/>
          </a:xfrm>
          <a:prstGeom prst="rect">
            <a:avLst/>
          </a:prstGeom>
        </p:spPr>
      </p:pic>
      <p:sp>
        <p:nvSpPr>
          <p:cNvPr id="18" name="TextBox 17">
            <a:extLst>
              <a:ext uri="{FF2B5EF4-FFF2-40B4-BE49-F238E27FC236}">
                <a16:creationId xmlns:a16="http://schemas.microsoft.com/office/drawing/2014/main" id="{DDBD7BC9-C94D-BA17-C3A3-5295E41DE562}"/>
              </a:ext>
            </a:extLst>
          </p:cNvPr>
          <p:cNvSpPr txBox="1"/>
          <p:nvPr/>
        </p:nvSpPr>
        <p:spPr>
          <a:xfrm>
            <a:off x="711789" y="5033662"/>
            <a:ext cx="2329164" cy="169277"/>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algn="l" defTabSz="914400">
              <a:defRPr/>
            </a:pPr>
            <a:r>
              <a:rPr lang="fr-fr" sz="1100">
                <a:solidFill>
                  <a:schemeClr val="tx2"/>
                </a:solidFill>
                <a:latin typeface="Segoe Sans Text"/>
                <a:hlinkClick r:id="rId7">
                  <a:extLst>
                    <a:ext uri="{A12FA001-AC4F-418D-AE19-62706E023703}">
                      <ahyp:hlinkClr xmlns:ahyp="http://schemas.microsoft.com/office/drawing/2018/hyperlinkcolor" val="tx"/>
                    </a:ext>
                  </a:extLst>
                </a:hlinkClick>
              </a:rPr>
              <a:t>https://aka.ms/CustomerHubSessions</a:t>
            </a:r>
            <a:r>
              <a:rPr lang="fr-fr" sz="1100">
                <a:solidFill>
                  <a:schemeClr val="tx2"/>
                </a:solidFill>
                <a:latin typeface="Segoe Sans Text"/>
              </a:rPr>
              <a:t>​</a:t>
            </a:r>
          </a:p>
        </p:txBody>
      </p:sp>
    </p:spTree>
    <p:extLst>
      <p:ext uri="{BB962C8B-B14F-4D97-AF65-F5344CB8AC3E}">
        <p14:creationId xmlns:p14="http://schemas.microsoft.com/office/powerpoint/2010/main" val="591799251"/>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657A6CB-1B00-70A0-0464-717864A6E8DA}"/>
              </a:ext>
            </a:extLst>
          </p:cNvPr>
          <p:cNvSpPr>
            <a:spLocks noGrp="1"/>
          </p:cNvSpPr>
          <p:nvPr>
            <p:ph type="body" sz="quarter" idx="17"/>
          </p:nvPr>
        </p:nvSpPr>
        <p:spPr>
          <a:xfrm>
            <a:off x="598810" y="1546304"/>
            <a:ext cx="2829496" cy="615553"/>
          </a:xfrm>
        </p:spPr>
        <p:txBody>
          <a:bodyPr/>
          <a:lstStyle/>
          <a:p>
            <a:r>
              <a:rPr lang="fr-fr" sz="1100"/>
              <a:t>Présentation de la valeur de Copilot Chat pour tous les utilisateurs</a:t>
            </a:r>
          </a:p>
        </p:txBody>
      </p:sp>
      <p:sp>
        <p:nvSpPr>
          <p:cNvPr id="7" name="Text Placeholder 6">
            <a:extLst>
              <a:ext uri="{FF2B5EF4-FFF2-40B4-BE49-F238E27FC236}">
                <a16:creationId xmlns:a16="http://schemas.microsoft.com/office/drawing/2014/main" id="{2B8167B8-7370-B6BA-BA02-BEC6239E8FCE}"/>
              </a:ext>
            </a:extLst>
          </p:cNvPr>
          <p:cNvSpPr>
            <a:spLocks noGrp="1"/>
          </p:cNvSpPr>
          <p:nvPr>
            <p:ph type="body" sz="quarter" idx="15"/>
          </p:nvPr>
        </p:nvSpPr>
        <p:spPr>
          <a:xfrm>
            <a:off x="598810" y="2079704"/>
            <a:ext cx="2532063" cy="615553"/>
          </a:xfrm>
        </p:spPr>
        <p:txBody>
          <a:bodyPr/>
          <a:lstStyle/>
          <a:p>
            <a:r>
              <a:rPr lang="fr-fr" sz="1000"/>
              <a:t>📅 5 Mai  2026</a:t>
            </a:r>
          </a:p>
          <a:p>
            <a:r>
              <a:rPr lang="fr-fr" sz="1000"/>
              <a:t>🕑10 heures CET</a:t>
            </a:r>
          </a:p>
          <a:p>
            <a:r>
              <a:rPr lang="fr-fr" sz="1000">
                <a:solidFill>
                  <a:srgbClr val="FFE399"/>
                </a:solidFill>
              </a:rPr>
              <a:t>🔗</a:t>
            </a:r>
            <a:r>
              <a:rPr lang="fr-fr" sz="1000">
                <a:solidFill>
                  <a:srgbClr val="FFE399"/>
                </a:solidFill>
                <a:hlinkClick r:id="rId3">
                  <a:extLst>
                    <a:ext uri="{A12FA001-AC4F-418D-AE19-62706E023703}">
                      <ahyp:hlinkClr xmlns:ahyp="http://schemas.microsoft.com/office/drawing/2018/hyperlinkcolor" val="tx"/>
                    </a:ext>
                  </a:extLst>
                </a:hlinkClick>
              </a:rPr>
              <a:t>S’inscrire maintenant</a:t>
            </a:r>
            <a:endParaRPr lang="en-US" sz="1000">
              <a:solidFill>
                <a:srgbClr val="FFE399"/>
              </a:solidFill>
            </a:endParaRPr>
          </a:p>
        </p:txBody>
      </p:sp>
      <p:sp>
        <p:nvSpPr>
          <p:cNvPr id="10" name="Text Placeholder 9">
            <a:extLst>
              <a:ext uri="{FF2B5EF4-FFF2-40B4-BE49-F238E27FC236}">
                <a16:creationId xmlns:a16="http://schemas.microsoft.com/office/drawing/2014/main" id="{7CF25C1E-BEDF-E944-0E15-F013FEA9355C}"/>
              </a:ext>
            </a:extLst>
          </p:cNvPr>
          <p:cNvSpPr>
            <a:spLocks noGrp="1"/>
          </p:cNvSpPr>
          <p:nvPr>
            <p:ph type="body" sz="quarter" idx="18"/>
          </p:nvPr>
        </p:nvSpPr>
        <p:spPr>
          <a:xfrm>
            <a:off x="3429893" y="1546304"/>
            <a:ext cx="2532063" cy="615553"/>
          </a:xfrm>
        </p:spPr>
        <p:txBody>
          <a:bodyPr/>
          <a:lstStyle/>
          <a:p>
            <a:r>
              <a:rPr lang="fr-fr" sz="1100"/>
              <a:t>Sécurisez et déployez l’IA avec </a:t>
            </a:r>
            <a:r>
              <a:rPr lang="fr-fr" sz="1100" err="1"/>
              <a:t>Copilot</a:t>
            </a:r>
            <a:r>
              <a:rPr lang="fr-fr" sz="1100"/>
              <a:t> Chat</a:t>
            </a:r>
          </a:p>
        </p:txBody>
      </p:sp>
      <p:sp>
        <p:nvSpPr>
          <p:cNvPr id="11" name="Text Placeholder 10">
            <a:extLst>
              <a:ext uri="{FF2B5EF4-FFF2-40B4-BE49-F238E27FC236}">
                <a16:creationId xmlns:a16="http://schemas.microsoft.com/office/drawing/2014/main" id="{0D46A939-028B-7D23-AD51-8F6D8D0B7C73}"/>
              </a:ext>
            </a:extLst>
          </p:cNvPr>
          <p:cNvSpPr>
            <a:spLocks noGrp="1"/>
          </p:cNvSpPr>
          <p:nvPr>
            <p:ph type="body" sz="quarter" idx="19"/>
          </p:nvPr>
        </p:nvSpPr>
        <p:spPr>
          <a:xfrm>
            <a:off x="3429893" y="2086344"/>
            <a:ext cx="2532063" cy="615553"/>
          </a:xfrm>
        </p:spPr>
        <p:txBody>
          <a:bodyPr/>
          <a:lstStyle/>
          <a:p>
            <a:r>
              <a:rPr lang="fr-fr" sz="1000"/>
              <a:t>📅 6 Mai 2026</a:t>
            </a:r>
          </a:p>
          <a:p>
            <a:r>
              <a:rPr lang="fr-fr" sz="1000"/>
              <a:t>🕑10 heures CET</a:t>
            </a:r>
          </a:p>
          <a:p>
            <a:r>
              <a:rPr lang="fr-fr" sz="1000">
                <a:solidFill>
                  <a:srgbClr val="FFE399"/>
                </a:solidFill>
              </a:rPr>
              <a:t>🔗</a:t>
            </a:r>
            <a:r>
              <a:rPr lang="fr-fr" sz="1000">
                <a:solidFill>
                  <a:srgbClr val="FFE399"/>
                </a:solidFill>
                <a:hlinkClick r:id="rId3">
                  <a:extLst>
                    <a:ext uri="{A12FA001-AC4F-418D-AE19-62706E023703}">
                      <ahyp:hlinkClr xmlns:ahyp="http://schemas.microsoft.com/office/drawing/2018/hyperlinkcolor" val="tx"/>
                    </a:ext>
                  </a:extLst>
                </a:hlinkClick>
              </a:rPr>
              <a:t>S’inscrire maintenant</a:t>
            </a:r>
            <a:endParaRPr lang="en-US" sz="1000">
              <a:solidFill>
                <a:srgbClr val="FFE399"/>
              </a:solidFill>
            </a:endParaRPr>
          </a:p>
        </p:txBody>
      </p:sp>
      <p:sp>
        <p:nvSpPr>
          <p:cNvPr id="12" name="Text Placeholder 11">
            <a:extLst>
              <a:ext uri="{FF2B5EF4-FFF2-40B4-BE49-F238E27FC236}">
                <a16:creationId xmlns:a16="http://schemas.microsoft.com/office/drawing/2014/main" id="{C185581F-5068-E7C4-106C-B5EC80AF9028}"/>
              </a:ext>
            </a:extLst>
          </p:cNvPr>
          <p:cNvSpPr>
            <a:spLocks noGrp="1"/>
          </p:cNvSpPr>
          <p:nvPr>
            <p:ph type="body" sz="quarter" idx="20"/>
          </p:nvPr>
        </p:nvSpPr>
        <p:spPr>
          <a:xfrm>
            <a:off x="6258817" y="1546304"/>
            <a:ext cx="2677377" cy="615553"/>
          </a:xfrm>
        </p:spPr>
        <p:txBody>
          <a:bodyPr/>
          <a:lstStyle/>
          <a:p>
            <a:r>
              <a:rPr lang="fr-FR" sz="1100"/>
              <a:t>Démocratisez</a:t>
            </a:r>
            <a:r>
              <a:rPr lang="fr-fr" sz="1100"/>
              <a:t> l’IA : les bonnes pratiques pour adopter </a:t>
            </a:r>
            <a:r>
              <a:rPr lang="fr-fr" sz="1100" err="1"/>
              <a:t>Copilot</a:t>
            </a:r>
            <a:r>
              <a:rPr lang="fr-fr" sz="1100"/>
              <a:t> Chat</a:t>
            </a:r>
          </a:p>
        </p:txBody>
      </p:sp>
      <p:sp>
        <p:nvSpPr>
          <p:cNvPr id="13" name="Text Placeholder 12">
            <a:extLst>
              <a:ext uri="{FF2B5EF4-FFF2-40B4-BE49-F238E27FC236}">
                <a16:creationId xmlns:a16="http://schemas.microsoft.com/office/drawing/2014/main" id="{7EEB1D99-1235-6EEF-1052-61BCEC616E07}"/>
              </a:ext>
            </a:extLst>
          </p:cNvPr>
          <p:cNvSpPr>
            <a:spLocks noGrp="1"/>
          </p:cNvSpPr>
          <p:nvPr>
            <p:ph type="body" sz="quarter" idx="21"/>
          </p:nvPr>
        </p:nvSpPr>
        <p:spPr>
          <a:xfrm>
            <a:off x="6258818" y="2079704"/>
            <a:ext cx="2532063" cy="800219"/>
          </a:xfrm>
        </p:spPr>
        <p:txBody>
          <a:bodyPr/>
          <a:lstStyle/>
          <a:p>
            <a:r>
              <a:rPr lang="fr-fr" sz="1000"/>
              <a:t>📅 7 Mai 2026</a:t>
            </a:r>
          </a:p>
          <a:p>
            <a:r>
              <a:rPr lang="fr-fr" sz="1000"/>
              <a:t>🕑10 heures CET</a:t>
            </a:r>
          </a:p>
          <a:p>
            <a:r>
              <a:rPr lang="fr-fr" sz="1000">
                <a:solidFill>
                  <a:srgbClr val="FFE399"/>
                </a:solidFill>
              </a:rPr>
              <a:t>🔗</a:t>
            </a:r>
            <a:r>
              <a:rPr lang="fr-fr" sz="1000">
                <a:solidFill>
                  <a:srgbClr val="FFE399"/>
                </a:solidFill>
                <a:hlinkClick r:id="rId3">
                  <a:extLst>
                    <a:ext uri="{A12FA001-AC4F-418D-AE19-62706E023703}">
                      <ahyp:hlinkClr xmlns:ahyp="http://schemas.microsoft.com/office/drawing/2018/hyperlinkcolor" val="tx"/>
                    </a:ext>
                  </a:extLst>
                </a:hlinkClick>
              </a:rPr>
              <a:t>S’inscrire maintenant</a:t>
            </a:r>
            <a:endParaRPr lang="en-US" sz="1000">
              <a:solidFill>
                <a:srgbClr val="FFE399"/>
              </a:solidFill>
            </a:endParaRPr>
          </a:p>
          <a:p>
            <a:endParaRPr lang="en-US" sz="1000"/>
          </a:p>
        </p:txBody>
      </p:sp>
      <p:sp>
        <p:nvSpPr>
          <p:cNvPr id="5" name="Title 4">
            <a:extLst>
              <a:ext uri="{FF2B5EF4-FFF2-40B4-BE49-F238E27FC236}">
                <a16:creationId xmlns:a16="http://schemas.microsoft.com/office/drawing/2014/main" id="{A2A906D0-F7DC-3954-28C5-AFFFCDE4F739}"/>
              </a:ext>
            </a:extLst>
          </p:cNvPr>
          <p:cNvSpPr>
            <a:spLocks noGrp="1"/>
          </p:cNvSpPr>
          <p:nvPr>
            <p:ph type="title"/>
          </p:nvPr>
        </p:nvSpPr>
        <p:spPr>
          <a:xfrm>
            <a:off x="588262" y="346934"/>
            <a:ext cx="10040559" cy="498598"/>
          </a:xfrm>
          <a:prstGeom prst="rect">
            <a:avLst/>
          </a:prstGeom>
        </p:spPr>
        <p:txBody>
          <a:bodyPr/>
          <a:lstStyle/>
          <a:p>
            <a:r>
              <a:rPr lang="fr-fr" sz="2800"/>
              <a:t>Rejoignez les prochaines sessions de notre Hub client </a:t>
            </a:r>
            <a:r>
              <a:rPr lang="fr-fr" sz="2800" err="1"/>
              <a:t>Copilot</a:t>
            </a:r>
            <a:endParaRPr lang="fr-fr" sz="2800"/>
          </a:p>
        </p:txBody>
      </p:sp>
      <p:sp>
        <p:nvSpPr>
          <p:cNvPr id="2" name="Text Placeholder 7">
            <a:extLst>
              <a:ext uri="{FF2B5EF4-FFF2-40B4-BE49-F238E27FC236}">
                <a16:creationId xmlns:a16="http://schemas.microsoft.com/office/drawing/2014/main" id="{CA766D7D-7D70-A670-23C2-A8C0DF989D94}"/>
              </a:ext>
            </a:extLst>
          </p:cNvPr>
          <p:cNvSpPr txBox="1">
            <a:spLocks/>
          </p:cNvSpPr>
          <p:nvPr/>
        </p:nvSpPr>
        <p:spPr>
          <a:xfrm>
            <a:off x="513080" y="973343"/>
            <a:ext cx="10480041"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endParaRPr kumimoji="0" lang="en-US" sz="24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p:txBody>
      </p:sp>
      <p:cxnSp>
        <p:nvCxnSpPr>
          <p:cNvPr id="3" name="Straight Connector 2">
            <a:extLst>
              <a:ext uri="{FF2B5EF4-FFF2-40B4-BE49-F238E27FC236}">
                <a16:creationId xmlns:a16="http://schemas.microsoft.com/office/drawing/2014/main" id="{98AD278B-8B8A-021E-8302-96DC14E9279F}"/>
              </a:ext>
              <a:ext uri="{C183D7F6-B498-43B3-948B-1728B52AA6E4}">
                <adec:decorative xmlns:adec="http://schemas.microsoft.com/office/drawing/2017/decorative" val="1"/>
              </a:ext>
            </a:extLst>
          </p:cNvPr>
          <p:cNvCxnSpPr>
            <a:cxnSpLocks/>
          </p:cNvCxnSpPr>
          <p:nvPr/>
        </p:nvCxnSpPr>
        <p:spPr>
          <a:xfrm>
            <a:off x="513081" y="1497409"/>
            <a:ext cx="10972800"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7">
            <a:extLst>
              <a:ext uri="{FF2B5EF4-FFF2-40B4-BE49-F238E27FC236}">
                <a16:creationId xmlns:a16="http://schemas.microsoft.com/office/drawing/2014/main" id="{44B32552-E2D3-31E4-5CBA-CE8C6C3AAAE3}"/>
              </a:ext>
            </a:extLst>
          </p:cNvPr>
          <p:cNvSpPr txBox="1">
            <a:spLocks/>
          </p:cNvSpPr>
          <p:nvPr/>
        </p:nvSpPr>
        <p:spPr>
          <a:xfrm>
            <a:off x="513080" y="1119692"/>
            <a:ext cx="8546462"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fr-fr" b="0" i="0" u="none" strike="noStrike" kern="1200" cap="none" spc="0" normalizeH="0" baseline="0" noProof="0">
                <a:ln>
                  <a:noFill/>
                </a:ln>
                <a:solidFill>
                  <a:prstClr val="white"/>
                </a:solidFill>
                <a:effectLst/>
                <a:uLnTx/>
                <a:uFillTx/>
                <a:latin typeface="Segoe Sans Display"/>
                <a:ea typeface="+mn-ea"/>
                <a:cs typeface="Segoe Sans Display" pitchFamily="2" charset="0"/>
              </a:rPr>
              <a:t>Microsoft 365 </a:t>
            </a:r>
            <a:r>
              <a:rPr kumimoji="0" lang="fr-fr" b="0" i="0" u="none" strike="noStrike" kern="1200" cap="none" spc="0" normalizeH="0" baseline="0" noProof="0" err="1">
                <a:ln>
                  <a:noFill/>
                </a:ln>
                <a:solidFill>
                  <a:prstClr val="white"/>
                </a:solidFill>
                <a:effectLst/>
                <a:uLnTx/>
                <a:uFillTx/>
                <a:latin typeface="Segoe Sans Display"/>
                <a:ea typeface="+mn-ea"/>
                <a:cs typeface="Segoe Sans Display" pitchFamily="2" charset="0"/>
              </a:rPr>
              <a:t>Copilot</a:t>
            </a:r>
            <a:r>
              <a:rPr kumimoji="0" lang="fr-fr" b="0" i="0" u="none" strike="noStrike" kern="1200" cap="none" spc="0" normalizeH="0" baseline="0" noProof="0">
                <a:ln>
                  <a:noFill/>
                </a:ln>
                <a:solidFill>
                  <a:prstClr val="white"/>
                </a:solidFill>
                <a:effectLst/>
                <a:uLnTx/>
                <a:uFillTx/>
                <a:latin typeface="Segoe Sans Display"/>
                <a:ea typeface="+mn-ea"/>
                <a:cs typeface="Segoe Sans Display" pitchFamily="2" charset="0"/>
              </a:rPr>
              <a:t> Chat pour tous les utilisateurs</a:t>
            </a:r>
          </a:p>
        </p:txBody>
      </p:sp>
      <p:sp>
        <p:nvSpPr>
          <p:cNvPr id="19" name="Text Placeholder 9">
            <a:extLst>
              <a:ext uri="{FF2B5EF4-FFF2-40B4-BE49-F238E27FC236}">
                <a16:creationId xmlns:a16="http://schemas.microsoft.com/office/drawing/2014/main" id="{165AC768-2EA4-EB20-B78F-C1C8D9F1ECCA}"/>
              </a:ext>
            </a:extLst>
          </p:cNvPr>
          <p:cNvSpPr txBox="1">
            <a:spLocks/>
          </p:cNvSpPr>
          <p:nvPr/>
        </p:nvSpPr>
        <p:spPr>
          <a:xfrm>
            <a:off x="3524676" y="3537396"/>
            <a:ext cx="2418149"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fr-FR" sz="1100" b="0" i="0" u="none" strike="noStrike" kern="1200" cap="none" spc="0" normalizeH="0" baseline="0" noProof="0">
                <a:ln>
                  <a:noFill/>
                </a:ln>
                <a:solidFill>
                  <a:prstClr val="white"/>
                </a:solidFill>
                <a:effectLst/>
                <a:uLnTx/>
                <a:uFillTx/>
                <a:latin typeface="Segoe Sans Display"/>
                <a:ea typeface="+mn-ea"/>
                <a:cs typeface="Segoe Sans Display" pitchFamily="2" charset="0"/>
              </a:rPr>
              <a:t>Exploiter toute la puissance des agents prêts à l'emploi</a:t>
            </a:r>
            <a:endParaRPr kumimoji="0" lang="fr-fr" sz="11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p:txBody>
      </p:sp>
      <p:sp>
        <p:nvSpPr>
          <p:cNvPr id="20" name="Text Placeholder 10">
            <a:extLst>
              <a:ext uri="{FF2B5EF4-FFF2-40B4-BE49-F238E27FC236}">
                <a16:creationId xmlns:a16="http://schemas.microsoft.com/office/drawing/2014/main" id="{3DF93DC3-28E8-F8A7-64E0-4D509A0B20AF}"/>
              </a:ext>
            </a:extLst>
          </p:cNvPr>
          <p:cNvSpPr txBox="1">
            <a:spLocks/>
          </p:cNvSpPr>
          <p:nvPr/>
        </p:nvSpPr>
        <p:spPr>
          <a:xfrm>
            <a:off x="3524675" y="4003771"/>
            <a:ext cx="2418149" cy="615553"/>
          </a:xfrm>
          <a:prstGeom prst="rect">
            <a:avLst/>
          </a:prstGeom>
        </p:spPr>
        <p:txBody>
          <a:bodyPr wrap="square">
            <a:spAutoFit/>
          </a:bodyPr>
          <a:lstStyle>
            <a:lvl1pPr marL="141288" marR="0" indent="-141288" algn="l" defTabSz="932742" rtl="0" eaLnBrk="1" fontAlgn="auto" latinLnBrk="0" hangingPunct="1">
              <a:lnSpc>
                <a:spcPct val="100000"/>
              </a:lnSpc>
              <a:spcBef>
                <a:spcPct val="20000"/>
              </a:spcBef>
              <a:spcAft>
                <a:spcPts val="0"/>
              </a:spcAft>
              <a:buClrTx/>
              <a:buSzPct val="90000"/>
              <a:buFontTx/>
              <a:buNone/>
              <a:tabLst/>
              <a:defRPr lang="en-US" sz="1200" kern="1200" spc="0" baseline="0" dirty="0">
                <a:solidFill>
                  <a:schemeClr val="bg1"/>
                </a:solidFill>
                <a:latin typeface="+mn-lt"/>
                <a:ea typeface="+mn-ea"/>
                <a:cs typeface="Segoe Sans Display" pitchFamily="2"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1000"/>
              <a:t>📅 13 Mai 2026</a:t>
            </a:r>
          </a:p>
          <a:p>
            <a:r>
              <a:rPr lang="fr-fr" sz="1000"/>
              <a:t>🕑10 heures CET</a:t>
            </a:r>
          </a:p>
          <a:p>
            <a:r>
              <a:rPr lang="fr-fr" sz="1000">
                <a:solidFill>
                  <a:srgbClr val="FFE399"/>
                </a:solidFill>
              </a:rPr>
              <a:t>🔗</a:t>
            </a:r>
            <a:r>
              <a:rPr lang="fr-fr" sz="1000">
                <a:solidFill>
                  <a:srgbClr val="FFE399"/>
                </a:solidFill>
                <a:hlinkClick r:id="rId3">
                  <a:extLst>
                    <a:ext uri="{A12FA001-AC4F-418D-AE19-62706E023703}">
                      <ahyp:hlinkClr xmlns:ahyp="http://schemas.microsoft.com/office/drawing/2018/hyperlinkcolor" val="tx"/>
                    </a:ext>
                  </a:extLst>
                </a:hlinkClick>
              </a:rPr>
              <a:t>S’inscrire maintenant</a:t>
            </a:r>
            <a:r>
              <a:rPr kumimoji="0" lang="fr-fr" sz="1000" b="0" i="0" u="none" strike="noStrike" kern="1200" cap="none" spc="0" normalizeH="0" baseline="0" noProof="0">
                <a:ln>
                  <a:noFill/>
                </a:ln>
                <a:solidFill>
                  <a:prstClr val="white"/>
                </a:solidFill>
                <a:effectLst/>
                <a:uLnTx/>
                <a:uFillTx/>
                <a:latin typeface="Segoe Sans Display"/>
                <a:ea typeface="+mn-ea"/>
                <a:cs typeface="Segoe Sans Display" pitchFamily="2" charset="0"/>
              </a:rPr>
              <a:t>     </a:t>
            </a:r>
          </a:p>
        </p:txBody>
      </p:sp>
      <p:pic>
        <p:nvPicPr>
          <p:cNvPr id="35" name="Picture 34" descr="Code QR sur fond blanc">
            <a:extLst>
              <a:ext uri="{FF2B5EF4-FFF2-40B4-BE49-F238E27FC236}">
                <a16:creationId xmlns:a16="http://schemas.microsoft.com/office/drawing/2014/main" id="{B7B776ED-B24E-134E-728D-9258B9EE5129}"/>
              </a:ext>
            </a:extLst>
          </p:cNvPr>
          <p:cNvPicPr>
            <a:picLocks noChangeAspect="1"/>
          </p:cNvPicPr>
          <p:nvPr/>
        </p:nvPicPr>
        <p:blipFill>
          <a:blip r:embed="rId4"/>
          <a:stretch>
            <a:fillRect/>
          </a:stretch>
        </p:blipFill>
        <p:spPr>
          <a:xfrm>
            <a:off x="9543508" y="3740949"/>
            <a:ext cx="1810512" cy="1810512"/>
          </a:xfrm>
          <a:prstGeom prst="roundRect">
            <a:avLst>
              <a:gd name="adj" fmla="val 2933"/>
            </a:avLst>
          </a:prstGeom>
          <a:noFill/>
        </p:spPr>
      </p:pic>
      <p:pic>
        <p:nvPicPr>
          <p:cNvPr id="36" name="Graphic 35">
            <a:extLst>
              <a:ext uri="{FF2B5EF4-FFF2-40B4-BE49-F238E27FC236}">
                <a16:creationId xmlns:a16="http://schemas.microsoft.com/office/drawing/2014/main" id="{B557CD11-5518-8B7D-0FCA-66FD51AB4017}"/>
              </a:ext>
            </a:extLst>
          </p:cNvPr>
          <p:cNvPicPr>
            <a:picLocks noChangeAspect="1"/>
          </p:cNvPicPr>
          <p:nvPr/>
        </p:nvPicPr>
        <p:blipFill>
          <a:blip r:embed="rId5"/>
          <a:srcRect/>
          <a:stretch/>
        </p:blipFill>
        <p:spPr>
          <a:xfrm>
            <a:off x="10629999" y="364279"/>
            <a:ext cx="1335210" cy="705394"/>
          </a:xfrm>
          <a:prstGeom prst="rect">
            <a:avLst/>
          </a:prstGeom>
        </p:spPr>
      </p:pic>
      <p:sp>
        <p:nvSpPr>
          <p:cNvPr id="38" name="Rectangle: Rounded Corners 37">
            <a:extLst>
              <a:ext uri="{FF2B5EF4-FFF2-40B4-BE49-F238E27FC236}">
                <a16:creationId xmlns:a16="http://schemas.microsoft.com/office/drawing/2014/main" id="{82909EAE-F32D-9BEF-23B8-E48D3636DE45}"/>
              </a:ext>
            </a:extLst>
          </p:cNvPr>
          <p:cNvSpPr/>
          <p:nvPr/>
        </p:nvSpPr>
        <p:spPr bwMode="auto">
          <a:xfrm rot="16200000" flipH="1">
            <a:off x="8344252" y="3812747"/>
            <a:ext cx="4148746" cy="2576099"/>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Sans Display"/>
              <a:ea typeface="Segoe UI" pitchFamily="34" charset="0"/>
              <a:cs typeface="Segoe UI" pitchFamily="34" charset="0"/>
            </a:endParaRPr>
          </a:p>
        </p:txBody>
      </p:sp>
      <p:grpSp>
        <p:nvGrpSpPr>
          <p:cNvPr id="39" name="Group 38">
            <a:extLst>
              <a:ext uri="{FF2B5EF4-FFF2-40B4-BE49-F238E27FC236}">
                <a16:creationId xmlns:a16="http://schemas.microsoft.com/office/drawing/2014/main" id="{5BF5DCB4-C36B-AAA3-B7C0-27CC5BB176E4}"/>
              </a:ext>
            </a:extLst>
          </p:cNvPr>
          <p:cNvGrpSpPr/>
          <p:nvPr/>
        </p:nvGrpSpPr>
        <p:grpSpPr>
          <a:xfrm>
            <a:off x="8837778" y="5827877"/>
            <a:ext cx="7503737" cy="844463"/>
            <a:chOff x="5607459" y="5376024"/>
            <a:chExt cx="5795892" cy="844463"/>
          </a:xfrm>
        </p:grpSpPr>
        <p:sp>
          <p:nvSpPr>
            <p:cNvPr id="40" name="Rectangle: Rounded Corners 11">
              <a:extLst>
                <a:ext uri="{FF2B5EF4-FFF2-40B4-BE49-F238E27FC236}">
                  <a16:creationId xmlns:a16="http://schemas.microsoft.com/office/drawing/2014/main" id="{DE804EDB-A183-814A-128B-24CD1EE41892}"/>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sp>
          <p:nvSpPr>
            <p:cNvPr id="41" name="Rectangle: Rounded Corners 11">
              <a:extLst>
                <a:ext uri="{FF2B5EF4-FFF2-40B4-BE49-F238E27FC236}">
                  <a16:creationId xmlns:a16="http://schemas.microsoft.com/office/drawing/2014/main" id="{CF5DF075-3B44-8E42-B84F-355372D5B2C5}"/>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grpSp>
      <p:sp>
        <p:nvSpPr>
          <p:cNvPr id="42" name="TextBox 41">
            <a:extLst>
              <a:ext uri="{FF2B5EF4-FFF2-40B4-BE49-F238E27FC236}">
                <a16:creationId xmlns:a16="http://schemas.microsoft.com/office/drawing/2014/main" id="{E652479A-5C08-D45D-D1EA-2F55B0BEE956}"/>
              </a:ext>
            </a:extLst>
          </p:cNvPr>
          <p:cNvSpPr txBox="1"/>
          <p:nvPr/>
        </p:nvSpPr>
        <p:spPr>
          <a:xfrm>
            <a:off x="9179091" y="6165469"/>
            <a:ext cx="2970237" cy="215444"/>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91F2C"/>
                </a:solidFill>
                <a:effectLst/>
                <a:uLnTx/>
                <a:uFillTx/>
                <a:latin typeface="Segoe Sans Text"/>
                <a:ea typeface="+mn-ea"/>
                <a:cs typeface="+mn-cs"/>
                <a:hlinkClick r:id="rId6">
                  <a:extLst>
                    <a:ext uri="{A12FA001-AC4F-418D-AE19-62706E023703}">
                      <ahyp:hlinkClr xmlns:ahyp="http://schemas.microsoft.com/office/drawing/2018/hyperlinkcolor" val="tx"/>
                    </a:ext>
                  </a:extLst>
                </a:hlinkClick>
              </a:rPr>
              <a:t>https://aka.ms/CustomerHubSessions</a:t>
            </a:r>
            <a:r>
              <a:rPr kumimoji="0" lang="fr-fr" sz="1400" b="0" i="0" u="none" strike="noStrike" kern="1200" cap="none" spc="0" normalizeH="0" baseline="0" noProof="0">
                <a:ln>
                  <a:noFill/>
                </a:ln>
                <a:solidFill>
                  <a:srgbClr val="091F2C"/>
                </a:solidFill>
                <a:effectLst/>
                <a:uLnTx/>
                <a:uFillTx/>
                <a:latin typeface="Segoe Sans Text"/>
                <a:ea typeface="+mn-ea"/>
                <a:cs typeface="+mn-cs"/>
              </a:rPr>
              <a:t>​</a:t>
            </a:r>
          </a:p>
        </p:txBody>
      </p:sp>
      <p:cxnSp>
        <p:nvCxnSpPr>
          <p:cNvPr id="14" name="Straight Connector 13">
            <a:extLst>
              <a:ext uri="{FF2B5EF4-FFF2-40B4-BE49-F238E27FC236}">
                <a16:creationId xmlns:a16="http://schemas.microsoft.com/office/drawing/2014/main" id="{09703AA8-0283-3048-03D3-74C18364C74B}"/>
              </a:ext>
              <a:ext uri="{C183D7F6-B498-43B3-948B-1728B52AA6E4}">
                <adec:decorative xmlns:adec="http://schemas.microsoft.com/office/drawing/2017/decorative" val="1"/>
              </a:ext>
            </a:extLst>
          </p:cNvPr>
          <p:cNvCxnSpPr>
            <a:cxnSpLocks/>
          </p:cNvCxnSpPr>
          <p:nvPr/>
        </p:nvCxnSpPr>
        <p:spPr>
          <a:xfrm>
            <a:off x="564385" y="3474005"/>
            <a:ext cx="7854996"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72ACC070-1398-E0D9-61C6-42CC1856AAE8}"/>
              </a:ext>
            </a:extLst>
          </p:cNvPr>
          <p:cNvSpPr txBox="1">
            <a:spLocks/>
          </p:cNvSpPr>
          <p:nvPr/>
        </p:nvSpPr>
        <p:spPr>
          <a:xfrm>
            <a:off x="488003" y="3089643"/>
            <a:ext cx="5307355"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fr-fr" b="0" i="0" u="none" strike="noStrike" kern="1200" cap="none" spc="0" normalizeH="0" baseline="0" noProof="0">
                <a:ln>
                  <a:noFill/>
                </a:ln>
                <a:solidFill>
                  <a:prstClr val="white"/>
                </a:solidFill>
                <a:effectLst/>
                <a:uLnTx/>
                <a:uFillTx/>
                <a:latin typeface="Segoe Sans Display"/>
                <a:ea typeface="+mn-ea"/>
                <a:cs typeface="Segoe Sans Display" pitchFamily="2" charset="0"/>
              </a:rPr>
              <a:t>Agents dans </a:t>
            </a:r>
            <a:r>
              <a:rPr kumimoji="0" lang="fr-fr" b="0" i="0" u="none" strike="noStrike" kern="1200" cap="none" spc="0" normalizeH="0" baseline="0" noProof="0" err="1">
                <a:ln>
                  <a:noFill/>
                </a:ln>
                <a:solidFill>
                  <a:prstClr val="white"/>
                </a:solidFill>
                <a:effectLst/>
                <a:uLnTx/>
                <a:uFillTx/>
                <a:latin typeface="Segoe Sans Display"/>
                <a:ea typeface="+mn-ea"/>
                <a:cs typeface="Segoe Sans Display" pitchFamily="2" charset="0"/>
              </a:rPr>
              <a:t>Copilot</a:t>
            </a:r>
            <a:r>
              <a:rPr kumimoji="0" lang="fr-fr" b="0" i="0" u="none" strike="noStrike" kern="1200" cap="none" spc="0" normalizeH="0" baseline="0" noProof="0">
                <a:ln>
                  <a:noFill/>
                </a:ln>
                <a:solidFill>
                  <a:prstClr val="white"/>
                </a:solidFill>
                <a:effectLst/>
                <a:uLnTx/>
                <a:uFillTx/>
                <a:latin typeface="Segoe Sans Display"/>
                <a:ea typeface="+mn-ea"/>
                <a:cs typeface="Segoe Sans Display" pitchFamily="2" charset="0"/>
              </a:rPr>
              <a:t> Chat</a:t>
            </a:r>
          </a:p>
        </p:txBody>
      </p:sp>
      <p:sp>
        <p:nvSpPr>
          <p:cNvPr id="43" name="TextBox 42">
            <a:extLst>
              <a:ext uri="{FF2B5EF4-FFF2-40B4-BE49-F238E27FC236}">
                <a16:creationId xmlns:a16="http://schemas.microsoft.com/office/drawing/2014/main" id="{9AA18C65-EB79-051A-6944-EA68D47DB4C5}"/>
              </a:ext>
            </a:extLst>
          </p:cNvPr>
          <p:cNvSpPr txBox="1"/>
          <p:nvPr/>
        </p:nvSpPr>
        <p:spPr>
          <a:xfrm>
            <a:off x="9243864" y="3108737"/>
            <a:ext cx="2403502" cy="553998"/>
          </a:xfrm>
          <a:prstGeom prst="rect">
            <a:avLst/>
          </a:prstGeom>
          <a:noFill/>
        </p:spPr>
        <p:txBody>
          <a:bodyPr wrap="square" lIns="0" tIns="0" rIns="0" bIns="0" rtlCol="0">
            <a:spAutoFit/>
          </a:bodyPr>
          <a:lstStyle/>
          <a:p>
            <a:pPr algn="ctr"/>
            <a:r>
              <a:rPr lang="fr-fr" sz="1200" i="1">
                <a:solidFill>
                  <a:schemeClr val="bg1"/>
                </a:solidFill>
                <a:cs typeface="Segoe Sans Display" pitchFamily="2" charset="0"/>
              </a:rPr>
              <a:t>Sessions sur Microsoft Teams, </a:t>
            </a:r>
            <a:r>
              <a:rPr lang="fr-fr" sz="1200" i="1" err="1">
                <a:solidFill>
                  <a:schemeClr val="bg1"/>
                </a:solidFill>
                <a:cs typeface="Segoe Sans Display" pitchFamily="2" charset="0"/>
              </a:rPr>
              <a:t>Copilot</a:t>
            </a:r>
            <a:r>
              <a:rPr lang="fr-fr" sz="1200" i="1">
                <a:solidFill>
                  <a:schemeClr val="bg1"/>
                </a:solidFill>
                <a:cs typeface="Segoe Sans Display" pitchFamily="2" charset="0"/>
              </a:rPr>
              <a:t>, Power Platform, </a:t>
            </a:r>
            <a:br>
              <a:rPr lang="fr-fr" sz="1200" i="1">
                <a:solidFill>
                  <a:schemeClr val="bg1"/>
                </a:solidFill>
                <a:cs typeface="Segoe Sans Display" pitchFamily="2" charset="0"/>
              </a:rPr>
            </a:br>
            <a:r>
              <a:rPr lang="fr-fr" sz="1200" i="1">
                <a:solidFill>
                  <a:schemeClr val="bg1"/>
                </a:solidFill>
                <a:cs typeface="Segoe Sans Display" pitchFamily="2" charset="0"/>
              </a:rPr>
              <a:t>et bien plus encore !</a:t>
            </a:r>
          </a:p>
        </p:txBody>
      </p:sp>
      <p:sp>
        <p:nvSpPr>
          <p:cNvPr id="46" name="Text Placeholder 8">
            <a:extLst>
              <a:ext uri="{FF2B5EF4-FFF2-40B4-BE49-F238E27FC236}">
                <a16:creationId xmlns:a16="http://schemas.microsoft.com/office/drawing/2014/main" id="{6BC545CF-E566-853E-8AD3-CF6C88EE66A2}"/>
              </a:ext>
            </a:extLst>
          </p:cNvPr>
          <p:cNvSpPr txBox="1">
            <a:spLocks/>
          </p:cNvSpPr>
          <p:nvPr/>
        </p:nvSpPr>
        <p:spPr>
          <a:xfrm>
            <a:off x="9082433" y="1541691"/>
            <a:ext cx="2533650"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1100"/>
              <a:t>Optimisez votre expérience Copilot Chat</a:t>
            </a:r>
          </a:p>
        </p:txBody>
      </p:sp>
      <p:sp>
        <p:nvSpPr>
          <p:cNvPr id="47" name="Text Placeholder 6">
            <a:extLst>
              <a:ext uri="{FF2B5EF4-FFF2-40B4-BE49-F238E27FC236}">
                <a16:creationId xmlns:a16="http://schemas.microsoft.com/office/drawing/2014/main" id="{F8603202-16F1-A204-F4C2-C2E493D254B9}"/>
              </a:ext>
            </a:extLst>
          </p:cNvPr>
          <p:cNvSpPr txBox="1">
            <a:spLocks/>
          </p:cNvSpPr>
          <p:nvPr/>
        </p:nvSpPr>
        <p:spPr>
          <a:xfrm>
            <a:off x="9082433" y="2075091"/>
            <a:ext cx="2532063" cy="615553"/>
          </a:xfrm>
          <a:prstGeom prst="rect">
            <a:avLst/>
          </a:prstGeom>
        </p:spPr>
        <p:txBody>
          <a:bodyPr wrap="square">
            <a:spAutoFit/>
          </a:bodyPr>
          <a:lstStyle>
            <a:lvl1pPr marL="141288" marR="0" indent="-141288" algn="l" defTabSz="932742" rtl="0" eaLnBrk="1" fontAlgn="auto" latinLnBrk="0" hangingPunct="1">
              <a:lnSpc>
                <a:spcPct val="100000"/>
              </a:lnSpc>
              <a:spcBef>
                <a:spcPct val="20000"/>
              </a:spcBef>
              <a:spcAft>
                <a:spcPts val="0"/>
              </a:spcAft>
              <a:buClrTx/>
              <a:buSzPct val="90000"/>
              <a:buFontTx/>
              <a:buNone/>
              <a:tabLst/>
              <a:defRPr lang="en-US" sz="1200" kern="1200" spc="0" baseline="0" dirty="0">
                <a:solidFill>
                  <a:schemeClr val="bg1"/>
                </a:solidFill>
                <a:latin typeface="+mn-lt"/>
                <a:ea typeface="+mn-ea"/>
                <a:cs typeface="Segoe Sans Display" pitchFamily="2"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1000"/>
              <a:t>📅 11 Mai 2026</a:t>
            </a:r>
          </a:p>
          <a:p>
            <a:r>
              <a:rPr lang="fr-fr" sz="1000"/>
              <a:t>🕑10 heures CET</a:t>
            </a:r>
          </a:p>
          <a:p>
            <a:r>
              <a:rPr lang="fr-fr" sz="1000">
                <a:solidFill>
                  <a:srgbClr val="FFE399"/>
                </a:solidFill>
              </a:rPr>
              <a:t>🔗</a:t>
            </a:r>
            <a:r>
              <a:rPr lang="fr-fr" sz="1000">
                <a:solidFill>
                  <a:srgbClr val="FFE399"/>
                </a:solidFill>
                <a:hlinkClick r:id="rId3">
                  <a:extLst>
                    <a:ext uri="{A12FA001-AC4F-418D-AE19-62706E023703}">
                      <ahyp:hlinkClr xmlns:ahyp="http://schemas.microsoft.com/office/drawing/2018/hyperlinkcolor" val="tx"/>
                    </a:ext>
                  </a:extLst>
                </a:hlinkClick>
              </a:rPr>
              <a:t>S’inscrire maintenant</a:t>
            </a:r>
            <a:endParaRPr lang="en-US" sz="1000">
              <a:solidFill>
                <a:srgbClr val="FFE399"/>
              </a:solidFill>
            </a:endParaRPr>
          </a:p>
        </p:txBody>
      </p:sp>
      <p:sp>
        <p:nvSpPr>
          <p:cNvPr id="25" name="Text Placeholder 9">
            <a:extLst>
              <a:ext uri="{FF2B5EF4-FFF2-40B4-BE49-F238E27FC236}">
                <a16:creationId xmlns:a16="http://schemas.microsoft.com/office/drawing/2014/main" id="{47CEEC4A-160A-7475-863E-05D836C7710C}"/>
              </a:ext>
            </a:extLst>
          </p:cNvPr>
          <p:cNvSpPr txBox="1">
            <a:spLocks/>
          </p:cNvSpPr>
          <p:nvPr/>
        </p:nvSpPr>
        <p:spPr>
          <a:xfrm>
            <a:off x="6351262" y="3543148"/>
            <a:ext cx="2418149"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fr-FR" sz="1100" b="0" i="0" u="none" strike="noStrike" kern="1200" cap="none" spc="0" normalizeH="0" baseline="0" noProof="0">
                <a:ln>
                  <a:noFill/>
                </a:ln>
                <a:solidFill>
                  <a:prstClr val="white"/>
                </a:solidFill>
                <a:effectLst/>
                <a:uLnTx/>
                <a:uFillTx/>
                <a:latin typeface="Segoe Sans Display"/>
                <a:ea typeface="+mn-ea"/>
                <a:cs typeface="Segoe Sans Display" pitchFamily="2" charset="0"/>
              </a:rPr>
              <a:t>Bonnes pratiques d'adoption des Agents</a:t>
            </a:r>
            <a:endParaRPr kumimoji="0" lang="fr-fr" sz="11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p:txBody>
      </p:sp>
      <p:sp>
        <p:nvSpPr>
          <p:cNvPr id="26" name="Text Placeholder 10">
            <a:extLst>
              <a:ext uri="{FF2B5EF4-FFF2-40B4-BE49-F238E27FC236}">
                <a16:creationId xmlns:a16="http://schemas.microsoft.com/office/drawing/2014/main" id="{660F1FFA-4D20-2D31-E970-9DAE004B4778}"/>
              </a:ext>
            </a:extLst>
          </p:cNvPr>
          <p:cNvSpPr txBox="1">
            <a:spLocks/>
          </p:cNvSpPr>
          <p:nvPr/>
        </p:nvSpPr>
        <p:spPr>
          <a:xfrm>
            <a:off x="6351261" y="4009523"/>
            <a:ext cx="2418149" cy="615553"/>
          </a:xfrm>
          <a:prstGeom prst="rect">
            <a:avLst/>
          </a:prstGeom>
        </p:spPr>
        <p:txBody>
          <a:bodyPr wrap="square">
            <a:spAutoFit/>
          </a:bodyPr>
          <a:lstStyle>
            <a:lvl1pPr marL="141288" marR="0" indent="-141288" algn="l" defTabSz="932742" rtl="0" eaLnBrk="1" fontAlgn="auto" latinLnBrk="0" hangingPunct="1">
              <a:lnSpc>
                <a:spcPct val="100000"/>
              </a:lnSpc>
              <a:spcBef>
                <a:spcPct val="20000"/>
              </a:spcBef>
              <a:spcAft>
                <a:spcPts val="0"/>
              </a:spcAft>
              <a:buClrTx/>
              <a:buSzPct val="90000"/>
              <a:buFontTx/>
              <a:buNone/>
              <a:tabLst/>
              <a:defRPr lang="en-US" sz="1200" kern="1200" spc="0" baseline="0" dirty="0">
                <a:solidFill>
                  <a:schemeClr val="bg1"/>
                </a:solidFill>
                <a:latin typeface="+mn-lt"/>
                <a:ea typeface="+mn-ea"/>
                <a:cs typeface="Segoe Sans Display" pitchFamily="2"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1000"/>
              <a:t>📅 19 Mai 2026</a:t>
            </a:r>
          </a:p>
          <a:p>
            <a:r>
              <a:rPr lang="fr-fr" sz="1000"/>
              <a:t>🕑10 heures CET</a:t>
            </a:r>
          </a:p>
          <a:p>
            <a:r>
              <a:rPr lang="fr-fr" sz="1000">
                <a:solidFill>
                  <a:srgbClr val="FFE399"/>
                </a:solidFill>
              </a:rPr>
              <a:t>🔗</a:t>
            </a:r>
            <a:r>
              <a:rPr lang="fr-fr" sz="1000">
                <a:solidFill>
                  <a:srgbClr val="FFE399"/>
                </a:solidFill>
                <a:hlinkClick r:id="rId3">
                  <a:extLst>
                    <a:ext uri="{A12FA001-AC4F-418D-AE19-62706E023703}">
                      <ahyp:hlinkClr xmlns:ahyp="http://schemas.microsoft.com/office/drawing/2018/hyperlinkcolor" val="tx"/>
                    </a:ext>
                  </a:extLst>
                </a:hlinkClick>
              </a:rPr>
              <a:t>S’inscrire maintenant</a:t>
            </a:r>
            <a:r>
              <a:rPr kumimoji="0" lang="fr-fr" sz="1000" b="0" i="0" u="none" strike="noStrike" kern="1200" cap="none" spc="0" normalizeH="0" baseline="0" noProof="0">
                <a:ln>
                  <a:noFill/>
                </a:ln>
                <a:solidFill>
                  <a:prstClr val="white"/>
                </a:solidFill>
                <a:effectLst/>
                <a:uLnTx/>
                <a:uFillTx/>
                <a:latin typeface="Segoe Sans Display"/>
                <a:ea typeface="+mn-ea"/>
                <a:cs typeface="Segoe Sans Display" pitchFamily="2" charset="0"/>
              </a:rPr>
              <a:t>     </a:t>
            </a:r>
          </a:p>
        </p:txBody>
      </p:sp>
      <p:sp>
        <p:nvSpPr>
          <p:cNvPr id="15" name="Text Placeholder 10">
            <a:extLst>
              <a:ext uri="{FF2B5EF4-FFF2-40B4-BE49-F238E27FC236}">
                <a16:creationId xmlns:a16="http://schemas.microsoft.com/office/drawing/2014/main" id="{F020E24D-CE5B-4E44-1D3D-F4C26CA73DCB}"/>
              </a:ext>
            </a:extLst>
          </p:cNvPr>
          <p:cNvSpPr txBox="1">
            <a:spLocks/>
          </p:cNvSpPr>
          <p:nvPr/>
        </p:nvSpPr>
        <p:spPr>
          <a:xfrm>
            <a:off x="538731" y="3993904"/>
            <a:ext cx="2418149" cy="615553"/>
          </a:xfrm>
          <a:prstGeom prst="rect">
            <a:avLst/>
          </a:prstGeom>
        </p:spPr>
        <p:txBody>
          <a:bodyPr wrap="square">
            <a:spAutoFit/>
          </a:bodyPr>
          <a:lstStyle>
            <a:lvl1pPr marL="141288" marR="0" indent="-141288" algn="l" defTabSz="932742" rtl="0" eaLnBrk="1" fontAlgn="auto" latinLnBrk="0" hangingPunct="1">
              <a:lnSpc>
                <a:spcPct val="100000"/>
              </a:lnSpc>
              <a:spcBef>
                <a:spcPct val="20000"/>
              </a:spcBef>
              <a:spcAft>
                <a:spcPts val="0"/>
              </a:spcAft>
              <a:buClrTx/>
              <a:buSzPct val="90000"/>
              <a:buFontTx/>
              <a:buNone/>
              <a:tabLst/>
              <a:defRPr lang="en-US" sz="1200" kern="1200" spc="0" baseline="0" dirty="0">
                <a:solidFill>
                  <a:schemeClr val="bg1"/>
                </a:solidFill>
                <a:latin typeface="+mn-lt"/>
                <a:ea typeface="+mn-ea"/>
                <a:cs typeface="Segoe Sans Display" pitchFamily="2"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1000"/>
              <a:t>📅 12 Mai 2026</a:t>
            </a:r>
          </a:p>
          <a:p>
            <a:r>
              <a:rPr lang="fr-fr" sz="1000"/>
              <a:t>🕑10 heures CET</a:t>
            </a:r>
          </a:p>
          <a:p>
            <a:r>
              <a:rPr lang="fr-fr" sz="1000">
                <a:solidFill>
                  <a:srgbClr val="FFE399"/>
                </a:solidFill>
              </a:rPr>
              <a:t>🔗</a:t>
            </a:r>
            <a:r>
              <a:rPr lang="fr-fr" sz="1000">
                <a:solidFill>
                  <a:srgbClr val="FFE399"/>
                </a:solidFill>
                <a:hlinkClick r:id="rId3">
                  <a:extLst>
                    <a:ext uri="{A12FA001-AC4F-418D-AE19-62706E023703}">
                      <ahyp:hlinkClr xmlns:ahyp="http://schemas.microsoft.com/office/drawing/2018/hyperlinkcolor" val="tx"/>
                    </a:ext>
                  </a:extLst>
                </a:hlinkClick>
              </a:rPr>
              <a:t>S’inscrire maintenant</a:t>
            </a:r>
            <a:r>
              <a:rPr kumimoji="0" lang="fr-fr" sz="1000" b="0" i="0" u="none" strike="noStrike" kern="1200" cap="none" spc="0" normalizeH="0" baseline="0" noProof="0">
                <a:ln>
                  <a:noFill/>
                </a:ln>
                <a:solidFill>
                  <a:prstClr val="white"/>
                </a:solidFill>
                <a:effectLst/>
                <a:uLnTx/>
                <a:uFillTx/>
                <a:latin typeface="Segoe Sans Display"/>
                <a:ea typeface="+mn-ea"/>
                <a:cs typeface="Segoe Sans Display" pitchFamily="2" charset="0"/>
              </a:rPr>
              <a:t>     </a:t>
            </a:r>
          </a:p>
        </p:txBody>
      </p:sp>
      <p:sp>
        <p:nvSpPr>
          <p:cNvPr id="27" name="Text Placeholder 9">
            <a:extLst>
              <a:ext uri="{FF2B5EF4-FFF2-40B4-BE49-F238E27FC236}">
                <a16:creationId xmlns:a16="http://schemas.microsoft.com/office/drawing/2014/main" id="{D14DEAAD-C814-7C77-6E4C-33D58B4B5D97}"/>
              </a:ext>
            </a:extLst>
          </p:cNvPr>
          <p:cNvSpPr txBox="1">
            <a:spLocks/>
          </p:cNvSpPr>
          <p:nvPr/>
        </p:nvSpPr>
        <p:spPr>
          <a:xfrm>
            <a:off x="538732" y="3533991"/>
            <a:ext cx="2543290"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fr-FR" sz="1100" b="0" i="0" u="none" strike="noStrike" kern="1200" cap="none" spc="0" normalizeH="0" baseline="0" noProof="0">
                <a:ln>
                  <a:noFill/>
                </a:ln>
                <a:solidFill>
                  <a:prstClr val="white"/>
                </a:solidFill>
                <a:effectLst/>
                <a:uLnTx/>
                <a:uFillTx/>
                <a:latin typeface="Segoe Sans Display"/>
                <a:ea typeface="+mn-ea"/>
                <a:cs typeface="Segoe Sans Display" pitchFamily="2" charset="0"/>
              </a:rPr>
              <a:t>Exploiter toute la puissance des modèles d'agents dans Agent Builder</a:t>
            </a:r>
            <a:endParaRPr kumimoji="0" lang="fr-fr" sz="11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p:txBody>
      </p:sp>
      <p:sp>
        <p:nvSpPr>
          <p:cNvPr id="29" name="Text Placeholder 10">
            <a:extLst>
              <a:ext uri="{FF2B5EF4-FFF2-40B4-BE49-F238E27FC236}">
                <a16:creationId xmlns:a16="http://schemas.microsoft.com/office/drawing/2014/main" id="{29AE8E12-CC62-D480-F12C-4A84B5DD6F4B}"/>
              </a:ext>
            </a:extLst>
          </p:cNvPr>
          <p:cNvSpPr txBox="1">
            <a:spLocks/>
          </p:cNvSpPr>
          <p:nvPr/>
        </p:nvSpPr>
        <p:spPr>
          <a:xfrm>
            <a:off x="559329" y="5398317"/>
            <a:ext cx="2418149" cy="615553"/>
          </a:xfrm>
          <a:prstGeom prst="rect">
            <a:avLst/>
          </a:prstGeom>
        </p:spPr>
        <p:txBody>
          <a:bodyPr wrap="square">
            <a:spAutoFit/>
          </a:bodyPr>
          <a:lstStyle>
            <a:lvl1pPr marL="141288" marR="0" indent="-141288" algn="l" defTabSz="932742" rtl="0" eaLnBrk="1" fontAlgn="auto" latinLnBrk="0" hangingPunct="1">
              <a:lnSpc>
                <a:spcPct val="100000"/>
              </a:lnSpc>
              <a:spcBef>
                <a:spcPct val="20000"/>
              </a:spcBef>
              <a:spcAft>
                <a:spcPts val="0"/>
              </a:spcAft>
              <a:buClrTx/>
              <a:buSzPct val="90000"/>
              <a:buFontTx/>
              <a:buNone/>
              <a:tabLst/>
              <a:defRPr lang="en-US" sz="1200" kern="1200" spc="0" baseline="0" dirty="0">
                <a:solidFill>
                  <a:schemeClr val="bg1"/>
                </a:solidFill>
                <a:latin typeface="+mn-lt"/>
                <a:ea typeface="+mn-ea"/>
                <a:cs typeface="Segoe Sans Display" pitchFamily="2"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200" kern="1200" spc="0" baseline="0" dirty="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1000"/>
              <a:t>📅 20 Mai 2026</a:t>
            </a:r>
          </a:p>
          <a:p>
            <a:r>
              <a:rPr lang="fr-fr" sz="1000"/>
              <a:t>🕑10 heures CET</a:t>
            </a:r>
          </a:p>
          <a:p>
            <a:r>
              <a:rPr lang="fr-fr" sz="1000">
                <a:solidFill>
                  <a:srgbClr val="FFE399"/>
                </a:solidFill>
              </a:rPr>
              <a:t>🔗</a:t>
            </a:r>
            <a:r>
              <a:rPr lang="fr-fr" sz="1000">
                <a:solidFill>
                  <a:srgbClr val="FFE399"/>
                </a:solidFill>
                <a:hlinkClick r:id="rId3">
                  <a:extLst>
                    <a:ext uri="{A12FA001-AC4F-418D-AE19-62706E023703}">
                      <ahyp:hlinkClr xmlns:ahyp="http://schemas.microsoft.com/office/drawing/2018/hyperlinkcolor" val="tx"/>
                    </a:ext>
                  </a:extLst>
                </a:hlinkClick>
              </a:rPr>
              <a:t>S’inscrire maintenant</a:t>
            </a:r>
            <a:r>
              <a:rPr kumimoji="0" lang="fr-fr" sz="1000" b="0" i="0" u="none" strike="noStrike" kern="1200" cap="none" spc="0" normalizeH="0" baseline="0" noProof="0">
                <a:ln>
                  <a:noFill/>
                </a:ln>
                <a:solidFill>
                  <a:prstClr val="white"/>
                </a:solidFill>
                <a:effectLst/>
                <a:uLnTx/>
                <a:uFillTx/>
                <a:latin typeface="Segoe Sans Display"/>
                <a:ea typeface="+mn-ea"/>
                <a:cs typeface="Segoe Sans Display" pitchFamily="2" charset="0"/>
              </a:rPr>
              <a:t>     </a:t>
            </a:r>
          </a:p>
        </p:txBody>
      </p:sp>
      <p:sp>
        <p:nvSpPr>
          <p:cNvPr id="31" name="Text Placeholder 9">
            <a:extLst>
              <a:ext uri="{FF2B5EF4-FFF2-40B4-BE49-F238E27FC236}">
                <a16:creationId xmlns:a16="http://schemas.microsoft.com/office/drawing/2014/main" id="{E8C93E4C-4DB4-8166-64D7-84D076519955}"/>
              </a:ext>
            </a:extLst>
          </p:cNvPr>
          <p:cNvSpPr txBox="1">
            <a:spLocks/>
          </p:cNvSpPr>
          <p:nvPr/>
        </p:nvSpPr>
        <p:spPr>
          <a:xfrm>
            <a:off x="564385" y="4898166"/>
            <a:ext cx="2543290" cy="615553"/>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Tx/>
              <a:buNone/>
              <a:tabLst/>
              <a:defRPr sz="1600" kern="1200" spc="0" baseline="0">
                <a:solidFill>
                  <a:schemeClr val="bg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fr-FR" sz="1100" b="0" i="0" u="none" strike="noStrike" kern="1200" cap="none" spc="0" normalizeH="0" baseline="0" noProof="0">
                <a:ln>
                  <a:noFill/>
                </a:ln>
                <a:solidFill>
                  <a:prstClr val="white"/>
                </a:solidFill>
                <a:effectLst/>
                <a:uLnTx/>
                <a:uFillTx/>
                <a:latin typeface="Segoe Sans Display"/>
                <a:ea typeface="+mn-ea"/>
                <a:cs typeface="Segoe Sans Display" pitchFamily="2" charset="0"/>
              </a:rPr>
              <a:t>Gouvernance &amp; administration des Agents</a:t>
            </a:r>
            <a:endParaRPr kumimoji="0" lang="fr-fr" sz="1100" b="0" i="0" u="none" strike="noStrike" kern="1200" cap="none" spc="0" normalizeH="0" baseline="0" noProof="0">
              <a:ln>
                <a:noFill/>
              </a:ln>
              <a:solidFill>
                <a:prstClr val="white"/>
              </a:solidFill>
              <a:effectLst/>
              <a:uLnTx/>
              <a:uFillTx/>
              <a:latin typeface="Segoe Sans Display"/>
              <a:ea typeface="+mn-ea"/>
              <a:cs typeface="Segoe Sans Display" pitchFamily="2" charset="0"/>
            </a:endParaRPr>
          </a:p>
        </p:txBody>
      </p:sp>
    </p:spTree>
    <p:extLst>
      <p:ext uri="{BB962C8B-B14F-4D97-AF65-F5344CB8AC3E}">
        <p14:creationId xmlns:p14="http://schemas.microsoft.com/office/powerpoint/2010/main" val="3152245639"/>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951121-1D4C-791C-4F5A-371E412F531D}"/>
            </a:ext>
          </a:extLst>
        </p:cNvPr>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3C69F6D4-D2D0-01A4-410B-B72D218C33B8}"/>
              </a:ext>
            </a:extLst>
          </p:cNvPr>
          <p:cNvSpPr/>
          <p:nvPr/>
        </p:nvSpPr>
        <p:spPr bwMode="auto">
          <a:xfrm rot="5400000">
            <a:off x="7802228" y="2452113"/>
            <a:ext cx="3909527" cy="3521317"/>
          </a:xfrm>
          <a:prstGeom prst="roundRect">
            <a:avLst>
              <a:gd name="adj" fmla="val 14295"/>
            </a:avLst>
          </a:prstGeom>
          <a:solidFill>
            <a:schemeClr val="tx1">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12" name="Text Placeholder 11">
            <a:extLst>
              <a:ext uri="{FF2B5EF4-FFF2-40B4-BE49-F238E27FC236}">
                <a16:creationId xmlns:a16="http://schemas.microsoft.com/office/drawing/2014/main" id="{4CDE0B7A-8A5F-1F6D-45DB-066A7C44CEF4}"/>
              </a:ext>
            </a:extLst>
          </p:cNvPr>
          <p:cNvSpPr txBox="1">
            <a:spLocks/>
          </p:cNvSpPr>
          <p:nvPr/>
        </p:nvSpPr>
        <p:spPr>
          <a:xfrm>
            <a:off x="8447812" y="2740524"/>
            <a:ext cx="2414260" cy="584775"/>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SzPct val="100000"/>
              <a:buNone/>
            </a:pPr>
            <a:r>
              <a:rPr lang="fr-fr" sz="1600">
                <a:solidFill>
                  <a:schemeClr val="bg1"/>
                </a:solidFill>
                <a:cs typeface="Segoe UI Light" panose="020B0502040204020203" pitchFamily="34" charset="0"/>
              </a:rPr>
              <a:t>Tirez le meilleur parti de Copilot et Microsoft 365</a:t>
            </a:r>
          </a:p>
        </p:txBody>
      </p:sp>
      <p:sp>
        <p:nvSpPr>
          <p:cNvPr id="13" name="Text Placeholder 11">
            <a:extLst>
              <a:ext uri="{FF2B5EF4-FFF2-40B4-BE49-F238E27FC236}">
                <a16:creationId xmlns:a16="http://schemas.microsoft.com/office/drawing/2014/main" id="{83645DB9-C3AA-828A-AF3A-C882454D4474}"/>
              </a:ext>
            </a:extLst>
          </p:cNvPr>
          <p:cNvSpPr txBox="1">
            <a:spLocks/>
          </p:cNvSpPr>
          <p:nvPr/>
        </p:nvSpPr>
        <p:spPr>
          <a:xfrm>
            <a:off x="8447812" y="3571527"/>
            <a:ext cx="3119934" cy="338554"/>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SzPct val="100000"/>
              <a:buNone/>
            </a:pPr>
            <a:r>
              <a:rPr lang="fr-fr" sz="1600">
                <a:solidFill>
                  <a:schemeClr val="bg1"/>
                </a:solidFill>
                <a:cs typeface="Segoe UI Light" panose="020B0502040204020203" pitchFamily="34" charset="0"/>
              </a:rPr>
              <a:t>Aidez les autres à faire de même</a:t>
            </a:r>
          </a:p>
        </p:txBody>
      </p:sp>
      <p:sp>
        <p:nvSpPr>
          <p:cNvPr id="14" name="Text Placeholder 11">
            <a:extLst>
              <a:ext uri="{FF2B5EF4-FFF2-40B4-BE49-F238E27FC236}">
                <a16:creationId xmlns:a16="http://schemas.microsoft.com/office/drawing/2014/main" id="{926B550B-0BE4-8BB9-2A6B-5C4652412844}"/>
              </a:ext>
            </a:extLst>
          </p:cNvPr>
          <p:cNvSpPr txBox="1">
            <a:spLocks/>
          </p:cNvSpPr>
          <p:nvPr/>
        </p:nvSpPr>
        <p:spPr>
          <a:xfrm>
            <a:off x="8447812" y="4156309"/>
            <a:ext cx="2832899" cy="584775"/>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SzPct val="100000"/>
              <a:buNone/>
            </a:pPr>
            <a:r>
              <a:rPr lang="fr-fr" sz="1600">
                <a:solidFill>
                  <a:schemeClr val="bg1"/>
                </a:solidFill>
                <a:cs typeface="Segoe UI Light" panose="020B0502040204020203" pitchFamily="34" charset="0"/>
              </a:rPr>
              <a:t>Élargissez vos connaissances et boostez votre carrière</a:t>
            </a:r>
          </a:p>
        </p:txBody>
      </p:sp>
      <p:grpSp>
        <p:nvGrpSpPr>
          <p:cNvPr id="2" name="Group 1">
            <a:extLst>
              <a:ext uri="{FF2B5EF4-FFF2-40B4-BE49-F238E27FC236}">
                <a16:creationId xmlns:a16="http://schemas.microsoft.com/office/drawing/2014/main" id="{C3AB5E3B-FCBC-3AB6-0A88-83D37C3F2291}"/>
              </a:ext>
            </a:extLst>
          </p:cNvPr>
          <p:cNvGrpSpPr/>
          <p:nvPr/>
        </p:nvGrpSpPr>
        <p:grpSpPr>
          <a:xfrm>
            <a:off x="6973207" y="5397648"/>
            <a:ext cx="6080320" cy="844463"/>
            <a:chOff x="5607459" y="5376024"/>
            <a:chExt cx="5795892" cy="844463"/>
          </a:xfrm>
        </p:grpSpPr>
        <p:sp>
          <p:nvSpPr>
            <p:cNvPr id="3" name="Rectangle: Rounded Corners 11">
              <a:extLst>
                <a:ext uri="{FF2B5EF4-FFF2-40B4-BE49-F238E27FC236}">
                  <a16:creationId xmlns:a16="http://schemas.microsoft.com/office/drawing/2014/main" id="{E78C4E7F-9DD8-E6F1-FE84-5EFC623D3590}"/>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11">
              <a:extLst>
                <a:ext uri="{FF2B5EF4-FFF2-40B4-BE49-F238E27FC236}">
                  <a16:creationId xmlns:a16="http://schemas.microsoft.com/office/drawing/2014/main" id="{76CFF2BE-0A1F-7BED-5D3B-9C47887A08BB}"/>
                </a:ext>
              </a:extLst>
            </p:cNvPr>
            <p:cNvSpPr/>
            <p:nvPr/>
          </p:nvSpPr>
          <p:spPr>
            <a:xfrm>
              <a:off x="5711416" y="5460239"/>
              <a:ext cx="558797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 name="Picture 4">
            <a:extLst>
              <a:ext uri="{FF2B5EF4-FFF2-40B4-BE49-F238E27FC236}">
                <a16:creationId xmlns:a16="http://schemas.microsoft.com/office/drawing/2014/main" id="{E78E4B0B-6BFD-E406-725E-538C4E07F71E}"/>
              </a:ext>
              <a:ext uri="{C183D7F6-B498-43B3-948B-1728B52AA6E4}">
                <adec:decorative xmlns:adec="http://schemas.microsoft.com/office/drawing/2017/decorative" val="1"/>
              </a:ext>
            </a:extLst>
          </p:cNvPr>
          <p:cNvPicPr>
            <a:picLocks noChangeAspect="1"/>
          </p:cNvPicPr>
          <p:nvPr/>
        </p:nvPicPr>
        <p:blipFill rotWithShape="1">
          <a:blip r:embed="rId3"/>
          <a:srcRect l="370" t="1" r="531" b="29523"/>
          <a:stretch>
            <a:fillRect/>
          </a:stretch>
        </p:blipFill>
        <p:spPr>
          <a:xfrm rot="10800000" flipV="1">
            <a:off x="-9331" y="6675119"/>
            <a:ext cx="12201331" cy="182880"/>
          </a:xfrm>
          <a:prstGeom prst="rect">
            <a:avLst/>
          </a:prstGeom>
          <a:ln>
            <a:noFill/>
          </a:ln>
          <a:effectLst/>
        </p:spPr>
      </p:pic>
      <p:sp>
        <p:nvSpPr>
          <p:cNvPr id="6" name="TextBox 5">
            <a:extLst>
              <a:ext uri="{FF2B5EF4-FFF2-40B4-BE49-F238E27FC236}">
                <a16:creationId xmlns:a16="http://schemas.microsoft.com/office/drawing/2014/main" id="{735E65A0-22E6-878F-9F35-4ABDCF9F5FA4}"/>
              </a:ext>
            </a:extLst>
          </p:cNvPr>
          <p:cNvSpPr txBox="1"/>
          <p:nvPr/>
        </p:nvSpPr>
        <p:spPr>
          <a:xfrm>
            <a:off x="7359578" y="5656660"/>
            <a:ext cx="4103703" cy="30777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algn="ctr" defTabSz="932472" fontAlgn="base">
              <a:spcBef>
                <a:spcPct val="0"/>
              </a:spcBef>
              <a:spcAft>
                <a:spcPct val="0"/>
              </a:spcAft>
              <a:defRPr sz="2000">
                <a:solidFill>
                  <a:srgbClr val="FFFFFF"/>
                </a:solidFill>
                <a:latin typeface="Segoe UI Semibold"/>
              </a:defRPr>
            </a:lvl1pPr>
            <a:lvl2pPr marL="457200" defTabSz="914400">
              <a:defRPr sz="1800">
                <a:solidFill>
                  <a:schemeClr val="lt1"/>
                </a:solidFill>
              </a:defRPr>
            </a:lvl2pPr>
            <a:lvl3pPr marL="914400" defTabSz="914400">
              <a:defRPr sz="1800">
                <a:solidFill>
                  <a:schemeClr val="lt1"/>
                </a:solidFill>
              </a:defRPr>
            </a:lvl3pPr>
            <a:lvl4pPr marL="1371600" defTabSz="914400">
              <a:defRPr sz="1800">
                <a:solidFill>
                  <a:schemeClr val="lt1"/>
                </a:solidFill>
              </a:defRPr>
            </a:lvl4pPr>
            <a:lvl5pPr marL="1828800" defTabSz="914400">
              <a:defRPr sz="1800">
                <a:solidFill>
                  <a:schemeClr val="lt1"/>
                </a:solidFill>
              </a:defRPr>
            </a:lvl5pPr>
            <a:lvl6pPr marL="2286000" defTabSz="914400">
              <a:defRPr sz="1800">
                <a:solidFill>
                  <a:schemeClr val="lt1"/>
                </a:solidFill>
              </a:defRPr>
            </a:lvl6pPr>
            <a:lvl7pPr marL="2743200" defTabSz="914400">
              <a:defRPr sz="1800">
                <a:solidFill>
                  <a:schemeClr val="lt1"/>
                </a:solidFill>
              </a:defRPr>
            </a:lvl7pPr>
            <a:lvl8pPr marL="3200400" defTabSz="914400">
              <a:defRPr sz="1800">
                <a:solidFill>
                  <a:schemeClr val="lt1"/>
                </a:solidFill>
              </a:defRPr>
            </a:lvl8pPr>
            <a:lvl9pPr marL="3657600" defTabSz="914400">
              <a:defRPr sz="1800">
                <a:solidFill>
                  <a:schemeClr val="lt1"/>
                </a:solidFill>
              </a:defRPr>
            </a:lvl9pPr>
          </a:lstStyle>
          <a:p>
            <a:pPr algn="l"/>
            <a:r>
              <a:rPr lang="fr-fr" sz="1400">
                <a:solidFill>
                  <a:srgbClr val="454142"/>
                </a:solidFill>
                <a:latin typeface="+mn-lt"/>
                <a:cs typeface="Segoe UI Light" panose="020B0502040204020203" pitchFamily="34" charset="0"/>
              </a:rPr>
              <a:t>Inscrivez-vous au programme gratuit à l’adresse </a:t>
            </a:r>
            <a:r>
              <a:rPr lang="fr-fr" sz="1400">
                <a:solidFill>
                  <a:srgbClr val="454142"/>
                </a:solidFill>
                <a:latin typeface="+mn-lt"/>
                <a:cs typeface="Segoe UI Light" panose="020B0502040204020203" pitchFamily="34" charset="0"/>
                <a:hlinkClick r:id="rId4">
                  <a:extLst>
                    <a:ext uri="{A12FA001-AC4F-418D-AE19-62706E023703}">
                      <ahyp:hlinkClr xmlns:ahyp="http://schemas.microsoft.com/office/drawing/2018/hyperlinkcolor" val="tx"/>
                    </a:ext>
                  </a:extLst>
                </a:hlinkClick>
              </a:rPr>
              <a:t>aka.ms/M365Champions</a:t>
            </a:r>
            <a:endParaRPr lang="en-US" sz="1400">
              <a:solidFill>
                <a:srgbClr val="454142"/>
              </a:solidFill>
              <a:latin typeface="+mn-lt"/>
              <a:cs typeface="Segoe UI Light" panose="020B0502040204020203" pitchFamily="34" charset="0"/>
            </a:endParaRPr>
          </a:p>
        </p:txBody>
      </p:sp>
      <p:pic>
        <p:nvPicPr>
          <p:cNvPr id="7" name="Graphic 6">
            <a:extLst>
              <a:ext uri="{FF2B5EF4-FFF2-40B4-BE49-F238E27FC236}">
                <a16:creationId xmlns:a16="http://schemas.microsoft.com/office/drawing/2014/main" id="{787FC857-AD76-E5DB-7117-6E41F8168ACB}"/>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1567746" y="5669679"/>
            <a:ext cx="300404" cy="300400"/>
          </a:xfrm>
          <a:prstGeom prst="rect">
            <a:avLst/>
          </a:prstGeom>
        </p:spPr>
      </p:pic>
      <p:sp>
        <p:nvSpPr>
          <p:cNvPr id="11" name="Text Placeholder 11">
            <a:extLst>
              <a:ext uri="{FF2B5EF4-FFF2-40B4-BE49-F238E27FC236}">
                <a16:creationId xmlns:a16="http://schemas.microsoft.com/office/drawing/2014/main" id="{44C0E704-E7FD-3B7B-5543-6928E83C8734}"/>
              </a:ext>
            </a:extLst>
          </p:cNvPr>
          <p:cNvSpPr txBox="1">
            <a:spLocks/>
          </p:cNvSpPr>
          <p:nvPr/>
        </p:nvSpPr>
        <p:spPr>
          <a:xfrm>
            <a:off x="501162" y="4462312"/>
            <a:ext cx="4456320" cy="866904"/>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500"/>
              </a:spcAft>
              <a:buSzPct val="100000"/>
              <a:buNone/>
            </a:pPr>
            <a:r>
              <a:rPr lang="fr-fr" sz="1400">
                <a:solidFill>
                  <a:schemeClr val="bg1"/>
                </a:solidFill>
                <a:cs typeface="Segoe UI Light" panose="020B0502040204020203" pitchFamily="34" charset="0"/>
              </a:rPr>
              <a:t>Tirez le meilleur parti de Copilot et Microsoft 365</a:t>
            </a:r>
          </a:p>
          <a:p>
            <a:pPr marL="0" indent="0">
              <a:spcBef>
                <a:spcPts val="0"/>
              </a:spcBef>
              <a:spcAft>
                <a:spcPts val="500"/>
              </a:spcAft>
              <a:buSzPct val="100000"/>
              <a:buNone/>
            </a:pPr>
            <a:r>
              <a:rPr lang="fr-fr" sz="1400">
                <a:solidFill>
                  <a:schemeClr val="bg1"/>
                </a:solidFill>
                <a:cs typeface="Segoe UI Light" panose="020B0502040204020203" pitchFamily="34" charset="0"/>
              </a:rPr>
              <a:t>Aidez les autres à faire de même</a:t>
            </a:r>
          </a:p>
          <a:p>
            <a:pPr marL="0" indent="0">
              <a:spcBef>
                <a:spcPts val="0"/>
              </a:spcBef>
              <a:spcAft>
                <a:spcPts val="500"/>
              </a:spcAft>
              <a:buSzPct val="100000"/>
              <a:buNone/>
            </a:pPr>
            <a:r>
              <a:rPr lang="fr-fr" sz="1400">
                <a:solidFill>
                  <a:schemeClr val="bg1"/>
                </a:solidFill>
                <a:cs typeface="Segoe UI Light" panose="020B0502040204020203" pitchFamily="34" charset="0"/>
              </a:rPr>
              <a:t>Élargissez vos connaissances et boostez votre carrière</a:t>
            </a:r>
          </a:p>
        </p:txBody>
      </p:sp>
      <p:sp>
        <p:nvSpPr>
          <p:cNvPr id="15" name="TextBox 14">
            <a:extLst>
              <a:ext uri="{FF2B5EF4-FFF2-40B4-BE49-F238E27FC236}">
                <a16:creationId xmlns:a16="http://schemas.microsoft.com/office/drawing/2014/main" id="{69FF5A09-9F9A-5F67-1766-596598E165CF}"/>
              </a:ext>
            </a:extLst>
          </p:cNvPr>
          <p:cNvSpPr txBox="1"/>
          <p:nvPr/>
        </p:nvSpPr>
        <p:spPr>
          <a:xfrm>
            <a:off x="455769" y="1153569"/>
            <a:ext cx="7336465" cy="3157788"/>
          </a:xfrm>
          <a:prstGeom prst="rect">
            <a:avLst/>
          </a:prstGeom>
          <a:noFill/>
          <a:ln>
            <a:noFill/>
            <a:prstDash/>
          </a:ln>
          <a:effectLst/>
        </p:spPr>
        <p:txBody>
          <a:bodyPr wrap="square">
            <a:spAutoFit/>
          </a:bodyPr>
          <a:lstStyle/>
          <a:p>
            <a:pPr>
              <a:lnSpc>
                <a:spcPct val="80000"/>
              </a:lnSpc>
              <a:spcAft>
                <a:spcPts val="1800"/>
              </a:spcAft>
            </a:pPr>
            <a:r>
              <a:rPr lang="fr-fr" sz="36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Faites la différence</a:t>
            </a:r>
          </a:p>
          <a:p>
            <a:pPr marL="800100">
              <a:lnSpc>
                <a:spcPct val="80000"/>
              </a:lnSpc>
              <a:spcAft>
                <a:spcPts val="600"/>
              </a:spcAft>
            </a:pPr>
            <a:r>
              <a:rPr lang="fr-fr" sz="94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Devenez un champion</a:t>
            </a:r>
          </a:p>
        </p:txBody>
      </p:sp>
    </p:spTree>
    <p:extLst>
      <p:ext uri="{BB962C8B-B14F-4D97-AF65-F5344CB8AC3E}">
        <p14:creationId xmlns:p14="http://schemas.microsoft.com/office/powerpoint/2010/main" val="1775929607"/>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F253785-7DCD-212A-A12B-62EF604F673E}"/>
              </a:ext>
            </a:extLst>
          </p:cNvPr>
          <p:cNvSpPr txBox="1"/>
          <p:nvPr/>
        </p:nvSpPr>
        <p:spPr>
          <a:xfrm>
            <a:off x="134008" y="2521649"/>
            <a:ext cx="7812338" cy="784830"/>
          </a:xfrm>
          <a:prstGeom prst="rect">
            <a:avLst/>
          </a:prstGeom>
          <a:noFill/>
          <a:ln>
            <a:noFill/>
            <a:prstDash/>
          </a:ln>
          <a:effectLst/>
        </p:spPr>
        <p:txBody>
          <a:bodyPr wrap="square" lIns="0" rIns="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fr-fr" sz="48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Questions</a:t>
            </a:r>
            <a:r>
              <a:rPr kumimoji="0" lang="fr-fr" sz="20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 </a:t>
            </a:r>
            <a:r>
              <a:rPr kumimoji="0" lang="fr-fr" sz="30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et</a:t>
            </a:r>
            <a:r>
              <a:rPr kumimoji="0" lang="fr-fr" sz="20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 </a:t>
            </a:r>
            <a:r>
              <a:rPr kumimoji="0" lang="fr-fr" sz="48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réponses</a:t>
            </a:r>
          </a:p>
        </p:txBody>
      </p:sp>
      <p:sp>
        <p:nvSpPr>
          <p:cNvPr id="4" name="Text Placeholder 4">
            <a:extLst>
              <a:ext uri="{FF2B5EF4-FFF2-40B4-BE49-F238E27FC236}">
                <a16:creationId xmlns:a16="http://schemas.microsoft.com/office/drawing/2014/main" id="{4C5BCC02-F254-165A-B419-7E09F13385A9}"/>
              </a:ext>
            </a:extLst>
          </p:cNvPr>
          <p:cNvSpPr txBox="1">
            <a:spLocks/>
          </p:cNvSpPr>
          <p:nvPr/>
        </p:nvSpPr>
        <p:spPr>
          <a:xfrm>
            <a:off x="1876335" y="3336405"/>
            <a:ext cx="4003766" cy="738664"/>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0" i="0" kern="1200" spc="0" baseline="0">
                <a:solidFill>
                  <a:schemeClr val="tx1"/>
                </a:solidFill>
                <a:latin typeface="Segoe UI" panose="020B0502040204020203" pitchFamily="34" charset="0"/>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UI" panose="020B0502040204020203" pitchFamily="34" charset="0"/>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UI" panose="020B0502040204020203" pitchFamily="34" charset="0"/>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UI" panose="020B0502040204020203" pitchFamily="34" charset="0"/>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fr-fr" sz="24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Veuillez lever la main et activer votre micro lorsque vous êtes appelé(e)</a:t>
            </a:r>
          </a:p>
        </p:txBody>
      </p:sp>
      <p:sp>
        <p:nvSpPr>
          <p:cNvPr id="5" name="Rectangle: Rounded Corners 4">
            <a:extLst>
              <a:ext uri="{FF2B5EF4-FFF2-40B4-BE49-F238E27FC236}">
                <a16:creationId xmlns:a16="http://schemas.microsoft.com/office/drawing/2014/main" id="{790C1B4C-D324-4FDC-5CED-9EDCC9C2BD37}"/>
              </a:ext>
            </a:extLst>
          </p:cNvPr>
          <p:cNvSpPr/>
          <p:nvPr/>
        </p:nvSpPr>
        <p:spPr bwMode="auto">
          <a:xfrm rot="5400000">
            <a:off x="7699054" y="439533"/>
            <a:ext cx="3452506" cy="6565900"/>
          </a:xfrm>
          <a:prstGeom prst="roundRect">
            <a:avLst>
              <a:gd name="adj" fmla="val 14295"/>
            </a:avLst>
          </a:prstGeom>
          <a:solidFill>
            <a:schemeClr val="bg1">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6" name="Picture 5">
            <a:extLst>
              <a:ext uri="{FF2B5EF4-FFF2-40B4-BE49-F238E27FC236}">
                <a16:creationId xmlns:a16="http://schemas.microsoft.com/office/drawing/2014/main" id="{E8755E77-6AF4-FE9D-57AB-73980E358AB4}"/>
              </a:ext>
            </a:extLst>
          </p:cNvPr>
          <p:cNvPicPr>
            <a:picLocks noChangeAspect="1"/>
          </p:cNvPicPr>
          <p:nvPr/>
        </p:nvPicPr>
        <p:blipFill>
          <a:blip r:embed="rId3"/>
          <a:stretch>
            <a:fillRect/>
          </a:stretch>
        </p:blipFill>
        <p:spPr>
          <a:xfrm>
            <a:off x="6762842" y="3067289"/>
            <a:ext cx="5048158" cy="1286114"/>
          </a:xfrm>
          <a:prstGeom prst="roundRect">
            <a:avLst>
              <a:gd name="adj" fmla="val 12717"/>
            </a:avLst>
          </a:prstGeom>
          <a:effectLst/>
        </p:spPr>
      </p:pic>
      <p:sp>
        <p:nvSpPr>
          <p:cNvPr id="7" name="Freeform: Shape 6">
            <a:extLst>
              <a:ext uri="{FF2B5EF4-FFF2-40B4-BE49-F238E27FC236}">
                <a16:creationId xmlns:a16="http://schemas.microsoft.com/office/drawing/2014/main" id="{6760E164-D3B4-D288-E0C7-CBED5F9FEAD4}"/>
              </a:ext>
            </a:extLst>
          </p:cNvPr>
          <p:cNvSpPr/>
          <p:nvPr/>
        </p:nvSpPr>
        <p:spPr bwMode="auto">
          <a:xfrm>
            <a:off x="9020969" y="2542893"/>
            <a:ext cx="364331" cy="876300"/>
          </a:xfrm>
          <a:custGeom>
            <a:avLst/>
            <a:gdLst>
              <a:gd name="connsiteX0" fmla="*/ 0 w 731520"/>
              <a:gd name="connsiteY0" fmla="*/ 1158240 h 1158240"/>
              <a:gd name="connsiteX1" fmla="*/ 0 w 731520"/>
              <a:gd name="connsiteY1" fmla="*/ 0 h 1158240"/>
              <a:gd name="connsiteX2" fmla="*/ 731520 w 731520"/>
              <a:gd name="connsiteY2" fmla="*/ 0 h 1158240"/>
            </a:gdLst>
            <a:ahLst/>
            <a:cxnLst>
              <a:cxn ang="0">
                <a:pos x="connsiteX0" y="connsiteY0"/>
              </a:cxn>
              <a:cxn ang="0">
                <a:pos x="connsiteX1" y="connsiteY1"/>
              </a:cxn>
              <a:cxn ang="0">
                <a:pos x="connsiteX2" y="connsiteY2"/>
              </a:cxn>
            </a:cxnLst>
            <a:rect l="l" t="t" r="r" b="b"/>
            <a:pathLst>
              <a:path w="731520" h="1158240">
                <a:moveTo>
                  <a:pt x="0" y="1158240"/>
                </a:moveTo>
                <a:lnTo>
                  <a:pt x="0" y="0"/>
                </a:lnTo>
                <a:lnTo>
                  <a:pt x="731520" y="0"/>
                </a:lnTo>
              </a:path>
            </a:pathLst>
          </a:custGeom>
          <a:noFill/>
          <a:ln>
            <a:solidFill>
              <a:schemeClr val="bg1">
                <a:lumMod val="9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8" name="Oval 7">
            <a:extLst>
              <a:ext uri="{FF2B5EF4-FFF2-40B4-BE49-F238E27FC236}">
                <a16:creationId xmlns:a16="http://schemas.microsoft.com/office/drawing/2014/main" id="{535A04CC-0F12-6126-ABD6-D3414DC1D1EF}"/>
              </a:ext>
              <a:ext uri="{C183D7F6-B498-43B3-948B-1728B52AA6E4}">
                <adec:decorative xmlns:adec="http://schemas.microsoft.com/office/drawing/2017/decorative" val="1"/>
              </a:ext>
            </a:extLst>
          </p:cNvPr>
          <p:cNvSpPr/>
          <p:nvPr/>
        </p:nvSpPr>
        <p:spPr bwMode="auto">
          <a:xfrm>
            <a:off x="9385557" y="2327210"/>
            <a:ext cx="425540" cy="425540"/>
          </a:xfrm>
          <a:prstGeom prst="ellipse">
            <a:avLst/>
          </a:prstGeom>
          <a:gradFill>
            <a:gsLst>
              <a:gs pos="27000">
                <a:schemeClr val="bg1">
                  <a:alpha val="80000"/>
                </a:schemeClr>
              </a:gs>
              <a:gs pos="100000">
                <a:schemeClr val="bg1">
                  <a:alpha val="50000"/>
                </a:schemeClr>
              </a:gs>
            </a:gsLst>
            <a:lin ang="2400000" scaled="0"/>
          </a:gradFill>
          <a:ln>
            <a:gradFill>
              <a:gsLst>
                <a:gs pos="0">
                  <a:schemeClr val="accent1">
                    <a:alpha val="80000"/>
                    <a:lumMod val="7000"/>
                    <a:lumOff val="93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a:ln>
                  <a:noFill/>
                </a:ln>
                <a:solidFill>
                  <a:srgbClr val="000000"/>
                </a:solidFill>
                <a:effectLst/>
                <a:uLnTx/>
                <a:uFillTx/>
                <a:latin typeface="Segoe Sans Display Semibold"/>
                <a:ea typeface="+mn-ea"/>
                <a:cs typeface="+mn-cs"/>
              </a:rPr>
              <a:t>1</a:t>
            </a:r>
          </a:p>
        </p:txBody>
      </p:sp>
      <p:sp>
        <p:nvSpPr>
          <p:cNvPr id="9" name="Freeform: Shape 8">
            <a:extLst>
              <a:ext uri="{FF2B5EF4-FFF2-40B4-BE49-F238E27FC236}">
                <a16:creationId xmlns:a16="http://schemas.microsoft.com/office/drawing/2014/main" id="{7D15C4CB-F9D7-B775-BD2B-36FA94563851}"/>
              </a:ext>
            </a:extLst>
          </p:cNvPr>
          <p:cNvSpPr/>
          <p:nvPr/>
        </p:nvSpPr>
        <p:spPr bwMode="auto">
          <a:xfrm rot="10800000">
            <a:off x="8398926" y="4166791"/>
            <a:ext cx="364331" cy="757352"/>
          </a:xfrm>
          <a:custGeom>
            <a:avLst/>
            <a:gdLst>
              <a:gd name="connsiteX0" fmla="*/ 0 w 731520"/>
              <a:gd name="connsiteY0" fmla="*/ 1158240 h 1158240"/>
              <a:gd name="connsiteX1" fmla="*/ 0 w 731520"/>
              <a:gd name="connsiteY1" fmla="*/ 0 h 1158240"/>
              <a:gd name="connsiteX2" fmla="*/ 731520 w 731520"/>
              <a:gd name="connsiteY2" fmla="*/ 0 h 1158240"/>
            </a:gdLst>
            <a:ahLst/>
            <a:cxnLst>
              <a:cxn ang="0">
                <a:pos x="connsiteX0" y="connsiteY0"/>
              </a:cxn>
              <a:cxn ang="0">
                <a:pos x="connsiteX1" y="connsiteY1"/>
              </a:cxn>
              <a:cxn ang="0">
                <a:pos x="connsiteX2" y="connsiteY2"/>
              </a:cxn>
            </a:cxnLst>
            <a:rect l="l" t="t" r="r" b="b"/>
            <a:pathLst>
              <a:path w="731520" h="1158240">
                <a:moveTo>
                  <a:pt x="0" y="1158240"/>
                </a:moveTo>
                <a:lnTo>
                  <a:pt x="0" y="0"/>
                </a:lnTo>
                <a:lnTo>
                  <a:pt x="731520" y="0"/>
                </a:lnTo>
              </a:path>
            </a:pathLst>
          </a:custGeom>
          <a:noFill/>
          <a:ln>
            <a:solidFill>
              <a:schemeClr val="bg1">
                <a:lumMod val="9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10" name="Oval 9">
            <a:extLst>
              <a:ext uri="{FF2B5EF4-FFF2-40B4-BE49-F238E27FC236}">
                <a16:creationId xmlns:a16="http://schemas.microsoft.com/office/drawing/2014/main" id="{2746385E-65F4-A2A7-2271-8D47D24FFE0A}"/>
              </a:ext>
              <a:ext uri="{C183D7F6-B498-43B3-948B-1728B52AA6E4}">
                <adec:decorative xmlns:adec="http://schemas.microsoft.com/office/drawing/2017/decorative" val="1"/>
              </a:ext>
            </a:extLst>
          </p:cNvPr>
          <p:cNvSpPr/>
          <p:nvPr/>
        </p:nvSpPr>
        <p:spPr bwMode="auto">
          <a:xfrm>
            <a:off x="7970750" y="4711269"/>
            <a:ext cx="425540" cy="425540"/>
          </a:xfrm>
          <a:prstGeom prst="ellipse">
            <a:avLst/>
          </a:prstGeom>
          <a:gradFill>
            <a:gsLst>
              <a:gs pos="27000">
                <a:schemeClr val="bg1">
                  <a:alpha val="80000"/>
                </a:schemeClr>
              </a:gs>
              <a:gs pos="100000">
                <a:schemeClr val="bg1">
                  <a:alpha val="50000"/>
                </a:schemeClr>
              </a:gs>
            </a:gsLst>
            <a:lin ang="2400000" scaled="0"/>
          </a:gradFill>
          <a:ln>
            <a:gradFill>
              <a:gsLst>
                <a:gs pos="0">
                  <a:schemeClr val="accent1">
                    <a:alpha val="80000"/>
                    <a:lumMod val="7000"/>
                    <a:lumOff val="93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a:ln>
                  <a:noFill/>
                </a:ln>
                <a:solidFill>
                  <a:srgbClr val="000000"/>
                </a:solidFill>
                <a:effectLst/>
                <a:uLnTx/>
                <a:uFillTx/>
                <a:latin typeface="Segoe Sans Display Semibold"/>
                <a:ea typeface="+mn-ea"/>
                <a:cs typeface="+mn-cs"/>
              </a:rPr>
              <a:t>2</a:t>
            </a:r>
          </a:p>
        </p:txBody>
      </p:sp>
    </p:spTree>
    <p:extLst>
      <p:ext uri="{BB962C8B-B14F-4D97-AF65-F5344CB8AC3E}">
        <p14:creationId xmlns:p14="http://schemas.microsoft.com/office/powerpoint/2010/main" val="423012709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073207-F634-A645-5C68-25BFBC188C7B}"/>
            </a:ext>
          </a:extLst>
        </p:cNvPr>
        <p:cNvGrpSpPr/>
        <p:nvPr/>
      </p:nvGrpSpPr>
      <p:grpSpPr>
        <a:xfrm>
          <a:off x="0" y="0"/>
          <a:ext cx="0" cy="0"/>
          <a:chOff x="0" y="0"/>
          <a:chExt cx="0" cy="0"/>
        </a:xfrm>
      </p:grpSpPr>
      <p:sp>
        <p:nvSpPr>
          <p:cNvPr id="29" name="Title 3">
            <a:extLst>
              <a:ext uri="{FF2B5EF4-FFF2-40B4-BE49-F238E27FC236}">
                <a16:creationId xmlns:a16="http://schemas.microsoft.com/office/drawing/2014/main" id="{A0049E00-18ED-485F-1779-58412F4D4A35}"/>
              </a:ext>
            </a:extLst>
          </p:cNvPr>
          <p:cNvSpPr>
            <a:spLocks noGrp="1"/>
          </p:cNvSpPr>
          <p:nvPr>
            <p:ph type="title"/>
          </p:nvPr>
        </p:nvSpPr>
        <p:spPr>
          <a:xfrm>
            <a:off x="588263" y="485481"/>
            <a:ext cx="11018520" cy="498598"/>
          </a:xfrm>
        </p:spPr>
        <p:txBody>
          <a:bodyPr>
            <a:noAutofit/>
          </a:bodyPr>
          <a:lstStyle/>
          <a:p>
            <a:r>
              <a:rPr lang="fr-fr"/>
              <a:t>Les agents avancés nécessitent une gouvernance </a:t>
            </a:r>
            <a:br>
              <a:rPr lang="fr-fr"/>
            </a:br>
            <a:r>
              <a:rPr lang="fr-fr"/>
              <a:t>et une sécurité plus avancées</a:t>
            </a:r>
            <a:br>
              <a:rPr/>
            </a:br>
            <a:endParaRPr lang="en-US"/>
          </a:p>
        </p:txBody>
      </p:sp>
      <p:sp>
        <p:nvSpPr>
          <p:cNvPr id="3" name="Rectangle: Rounded Corners 2">
            <a:extLst>
              <a:ext uri="{FF2B5EF4-FFF2-40B4-BE49-F238E27FC236}">
                <a16:creationId xmlns:a16="http://schemas.microsoft.com/office/drawing/2014/main" id="{63C8D357-D8BB-0AD4-CDC9-F6CD0506324E}"/>
              </a:ext>
              <a:ext uri="{C183D7F6-B498-43B3-948B-1728B52AA6E4}">
                <adec:decorative xmlns:adec="http://schemas.microsoft.com/office/drawing/2017/decorative" val="1"/>
              </a:ext>
            </a:extLst>
          </p:cNvPr>
          <p:cNvSpPr>
            <a:spLocks/>
          </p:cNvSpPr>
          <p:nvPr/>
        </p:nvSpPr>
        <p:spPr bwMode="auto">
          <a:xfrm>
            <a:off x="533829" y="1749031"/>
            <a:ext cx="11383851" cy="4706197"/>
          </a:xfrm>
          <a:prstGeom prst="roundRect">
            <a:avLst>
              <a:gd name="adj" fmla="val 5361"/>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Segoe UI"/>
            </a:endParaRPr>
          </a:p>
        </p:txBody>
      </p:sp>
      <p:sp>
        <p:nvSpPr>
          <p:cNvPr id="4" name="Rectangle: Rounded Corners 3">
            <a:extLst>
              <a:ext uri="{FF2B5EF4-FFF2-40B4-BE49-F238E27FC236}">
                <a16:creationId xmlns:a16="http://schemas.microsoft.com/office/drawing/2014/main" id="{9AE0AF3A-4C81-10DA-9F5B-DAD9F61A11C3}"/>
              </a:ext>
            </a:extLst>
          </p:cNvPr>
          <p:cNvSpPr/>
          <p:nvPr/>
        </p:nvSpPr>
        <p:spPr bwMode="auto">
          <a:xfrm>
            <a:off x="705852" y="3308568"/>
            <a:ext cx="11049399" cy="523220"/>
          </a:xfrm>
          <a:prstGeom prst="roundRect">
            <a:avLst>
              <a:gd name="adj" fmla="val 50000"/>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spcAft>
                <a:spcPts val="600"/>
              </a:spcAft>
            </a:pPr>
            <a:endParaRPr lang="en-US" sz="1600" kern="0">
              <a:solidFill>
                <a:srgbClr val="FFFFFF"/>
              </a:solidFill>
              <a:latin typeface="Segoe UI Semibold"/>
            </a:endParaRPr>
          </a:p>
        </p:txBody>
      </p:sp>
      <p:grpSp>
        <p:nvGrpSpPr>
          <p:cNvPr id="5" name="Group 4">
            <a:extLst>
              <a:ext uri="{FF2B5EF4-FFF2-40B4-BE49-F238E27FC236}">
                <a16:creationId xmlns:a16="http://schemas.microsoft.com/office/drawing/2014/main" id="{AA61E4AE-18FE-663D-B82B-B5E0CA9772B1}"/>
              </a:ext>
            </a:extLst>
          </p:cNvPr>
          <p:cNvGrpSpPr/>
          <p:nvPr/>
        </p:nvGrpSpPr>
        <p:grpSpPr>
          <a:xfrm>
            <a:off x="2329990" y="3074507"/>
            <a:ext cx="991344" cy="991341"/>
            <a:chOff x="3031090" y="2734209"/>
            <a:chExt cx="752625" cy="752623"/>
          </a:xfrm>
        </p:grpSpPr>
        <p:sp>
          <p:nvSpPr>
            <p:cNvPr id="6" name="Oval 5">
              <a:extLst>
                <a:ext uri="{FF2B5EF4-FFF2-40B4-BE49-F238E27FC236}">
                  <a16:creationId xmlns:a16="http://schemas.microsoft.com/office/drawing/2014/main" id="{21951D6A-937A-360E-0333-D0C5D65B929C}"/>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D474BE1F-80E7-4657-A771-1585D9389463}"/>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sp>
        <p:nvSpPr>
          <p:cNvPr id="8" name="Oval 7">
            <a:extLst>
              <a:ext uri="{FF2B5EF4-FFF2-40B4-BE49-F238E27FC236}">
                <a16:creationId xmlns:a16="http://schemas.microsoft.com/office/drawing/2014/main" id="{56B6FA0C-7080-3BCD-D81B-99B7A6ADA827}"/>
              </a:ext>
            </a:extLst>
          </p:cNvPr>
          <p:cNvSpPr/>
          <p:nvPr/>
        </p:nvSpPr>
        <p:spPr bwMode="auto">
          <a:xfrm>
            <a:off x="8557588" y="3046530"/>
            <a:ext cx="991344" cy="991341"/>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50F95F90-9649-6D72-ADFC-D48FE80441D2}"/>
              </a:ext>
            </a:extLst>
          </p:cNvPr>
          <p:cNvSpPr/>
          <p:nvPr/>
        </p:nvSpPr>
        <p:spPr bwMode="auto">
          <a:xfrm>
            <a:off x="8654917" y="3156312"/>
            <a:ext cx="796686" cy="796680"/>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10" name="TextBox 9">
            <a:extLst>
              <a:ext uri="{FF2B5EF4-FFF2-40B4-BE49-F238E27FC236}">
                <a16:creationId xmlns:a16="http://schemas.microsoft.com/office/drawing/2014/main" id="{6BE857ED-32BD-0526-3694-FA81421695D1}"/>
              </a:ext>
            </a:extLst>
          </p:cNvPr>
          <p:cNvSpPr txBox="1"/>
          <p:nvPr/>
        </p:nvSpPr>
        <p:spPr>
          <a:xfrm>
            <a:off x="854512" y="3449008"/>
            <a:ext cx="1536655" cy="215444"/>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Segoe UI Semibold"/>
                <a:ea typeface="+mn-ea"/>
                <a:cs typeface="+mn-cs"/>
              </a:rPr>
              <a:t>Conversationnel</a:t>
            </a:r>
          </a:p>
        </p:txBody>
      </p:sp>
      <p:sp>
        <p:nvSpPr>
          <p:cNvPr id="11" name="TextBox 10">
            <a:extLst>
              <a:ext uri="{FF2B5EF4-FFF2-40B4-BE49-F238E27FC236}">
                <a16:creationId xmlns:a16="http://schemas.microsoft.com/office/drawing/2014/main" id="{C358D14A-30D0-14D5-7F65-46EEAC1A8A0A}"/>
              </a:ext>
            </a:extLst>
          </p:cNvPr>
          <p:cNvSpPr txBox="1"/>
          <p:nvPr/>
        </p:nvSpPr>
        <p:spPr>
          <a:xfrm>
            <a:off x="10338537" y="3466555"/>
            <a:ext cx="1229181" cy="215444"/>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fr" sz="1400">
                <a:solidFill>
                  <a:srgbClr val="FFFFFF"/>
                </a:solidFill>
                <a:latin typeface="Segoe UI Semibold"/>
              </a:rPr>
              <a:t>Avancé</a:t>
            </a: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pic>
        <p:nvPicPr>
          <p:cNvPr id="12" name="Picture 11" descr="Logo d’Azure">
            <a:extLst>
              <a:ext uri="{FF2B5EF4-FFF2-40B4-BE49-F238E27FC236}">
                <a16:creationId xmlns:a16="http://schemas.microsoft.com/office/drawing/2014/main" id="{8668C51F-2178-1227-FCF8-89C3428A8D7E}"/>
              </a:ext>
            </a:extLst>
          </p:cNvPr>
          <p:cNvPicPr>
            <a:picLocks noChangeAspect="1"/>
          </p:cNvPicPr>
          <p:nvPr/>
        </p:nvPicPr>
        <p:blipFill>
          <a:blip r:embed="rId3"/>
          <a:stretch>
            <a:fillRect/>
          </a:stretch>
        </p:blipFill>
        <p:spPr>
          <a:xfrm>
            <a:off x="8812172" y="3315642"/>
            <a:ext cx="482176" cy="482176"/>
          </a:xfrm>
          <a:prstGeom prst="rect">
            <a:avLst/>
          </a:prstGeom>
          <a:ln w="7441" cap="flat">
            <a:noFill/>
            <a:prstDash val="solid"/>
            <a:miter/>
          </a:ln>
          <a:effectLst>
            <a:outerShdw blurRad="50800" dist="38100" dir="5400000" algn="t" rotWithShape="0">
              <a:prstClr val="black">
                <a:alpha val="40000"/>
              </a:prstClr>
            </a:outerShdw>
          </a:effectLst>
        </p:spPr>
      </p:pic>
      <p:pic>
        <p:nvPicPr>
          <p:cNvPr id="13" name="Picture 12">
            <a:extLst>
              <a:ext uri="{FF2B5EF4-FFF2-40B4-BE49-F238E27FC236}">
                <a16:creationId xmlns:a16="http://schemas.microsoft.com/office/drawing/2014/main" id="{35DD5CB4-1861-1FFF-62F8-8784F422BC2B}"/>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t="2923" b="2923"/>
          <a:stretch/>
        </p:blipFill>
        <p:spPr>
          <a:xfrm>
            <a:off x="2552891" y="3315216"/>
            <a:ext cx="538849" cy="507350"/>
          </a:xfrm>
          <a:prstGeom prst="rect">
            <a:avLst/>
          </a:prstGeom>
          <a:ln w="7441" cap="flat">
            <a:noFill/>
            <a:prstDash val="solid"/>
            <a:miter/>
          </a:ln>
          <a:effectLst>
            <a:outerShdw blurRad="50800" dist="38100" dir="5400000" algn="t" rotWithShape="0">
              <a:prstClr val="black">
                <a:alpha val="40000"/>
              </a:prstClr>
            </a:outerShdw>
          </a:effectLst>
        </p:spPr>
      </p:pic>
      <p:grpSp>
        <p:nvGrpSpPr>
          <p:cNvPr id="14" name="Group 13">
            <a:extLst>
              <a:ext uri="{FF2B5EF4-FFF2-40B4-BE49-F238E27FC236}">
                <a16:creationId xmlns:a16="http://schemas.microsoft.com/office/drawing/2014/main" id="{81E485E2-8A24-8DCB-2C9F-26157077A42C}"/>
              </a:ext>
            </a:extLst>
          </p:cNvPr>
          <p:cNvGrpSpPr/>
          <p:nvPr/>
        </p:nvGrpSpPr>
        <p:grpSpPr>
          <a:xfrm>
            <a:off x="5736589" y="3090089"/>
            <a:ext cx="991344" cy="991341"/>
            <a:chOff x="5600328" y="2260733"/>
            <a:chExt cx="991344" cy="991341"/>
          </a:xfrm>
        </p:grpSpPr>
        <p:grpSp>
          <p:nvGrpSpPr>
            <p:cNvPr id="15" name="Group 14">
              <a:extLst>
                <a:ext uri="{FF2B5EF4-FFF2-40B4-BE49-F238E27FC236}">
                  <a16:creationId xmlns:a16="http://schemas.microsoft.com/office/drawing/2014/main" id="{2DDDC223-72D8-37E7-D15E-9122B6E3D87E}"/>
                </a:ext>
              </a:extLst>
            </p:cNvPr>
            <p:cNvGrpSpPr/>
            <p:nvPr/>
          </p:nvGrpSpPr>
          <p:grpSpPr>
            <a:xfrm>
              <a:off x="5600328" y="2260733"/>
              <a:ext cx="991344" cy="991341"/>
              <a:chOff x="3031090" y="2734209"/>
              <a:chExt cx="752625" cy="752623"/>
            </a:xfrm>
          </p:grpSpPr>
          <p:sp>
            <p:nvSpPr>
              <p:cNvPr id="19" name="Oval 18">
                <a:extLst>
                  <a:ext uri="{FF2B5EF4-FFF2-40B4-BE49-F238E27FC236}">
                    <a16:creationId xmlns:a16="http://schemas.microsoft.com/office/drawing/2014/main" id="{9CD85609-F532-098F-FCAD-6516AD25A7E4}"/>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3B6291A0-CB95-344E-B1D7-791333384B37}"/>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16" name="Graphic 15">
              <a:extLst>
                <a:ext uri="{FF2B5EF4-FFF2-40B4-BE49-F238E27FC236}">
                  <a16:creationId xmlns:a16="http://schemas.microsoft.com/office/drawing/2014/main" id="{4242179E-FEE7-EB57-4A3F-779C7BFED5E0}"/>
                </a:ext>
                <a:ext uri="{C183D7F6-B498-43B3-948B-1728B52AA6E4}">
                  <adec:decorative xmlns:adec="http://schemas.microsoft.com/office/drawing/2017/decorative" val="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35399" y="2488972"/>
              <a:ext cx="521199" cy="521199"/>
            </a:xfrm>
            <a:prstGeom prst="rect">
              <a:avLst/>
            </a:prstGeom>
            <a:effectLst>
              <a:outerShdw blurRad="50800" dist="38100" dir="5400000" algn="t" rotWithShape="0">
                <a:prstClr val="black">
                  <a:alpha val="40000"/>
                </a:prstClr>
              </a:outerShdw>
            </a:effectLst>
          </p:spPr>
        </p:pic>
      </p:grpSp>
      <p:sp>
        <p:nvSpPr>
          <p:cNvPr id="21" name="Rectangle: Rounded Corners 20">
            <a:extLst>
              <a:ext uri="{FF2B5EF4-FFF2-40B4-BE49-F238E27FC236}">
                <a16:creationId xmlns:a16="http://schemas.microsoft.com/office/drawing/2014/main" id="{621C890E-8933-F7C1-6488-F976D5686A50}"/>
              </a:ext>
            </a:extLst>
          </p:cNvPr>
          <p:cNvSpPr/>
          <p:nvPr/>
        </p:nvSpPr>
        <p:spPr bwMode="auto">
          <a:xfrm>
            <a:off x="2635624" y="4361184"/>
            <a:ext cx="1573585" cy="222587"/>
          </a:xfrm>
          <a:prstGeom prst="roundRect">
            <a:avLst>
              <a:gd name="adj" fmla="val 50000"/>
            </a:avLst>
          </a:prstGeom>
          <a:solidFill>
            <a:srgbClr val="FF5C39"/>
          </a:solidFill>
          <a:ln>
            <a:noFill/>
            <a:headEnd type="none" w="med" len="med"/>
            <a:tailEnd type="none" w="med" len="med"/>
          </a:ln>
          <a:effectLst>
            <a:outerShdw blurRad="76200" sx="102000" sy="1020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Utilisateurs</a:t>
            </a:r>
            <a:r>
              <a:rPr lang="fr-fr" sz="1100">
                <a:solidFill>
                  <a:srgbClr val="FFFFFF"/>
                </a:solidFill>
                <a:latin typeface="Segoe UI Semibold"/>
                <a:ea typeface="Segoe UI" pitchFamily="34" charset="0"/>
                <a:cs typeface="Segoe UI" pitchFamily="34" charset="0"/>
              </a:rPr>
              <a:t>/Créateurs</a:t>
            </a:r>
            <a:endPar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nvGrpSpPr>
          <p:cNvPr id="22" name="Group 21">
            <a:extLst>
              <a:ext uri="{FF2B5EF4-FFF2-40B4-BE49-F238E27FC236}">
                <a16:creationId xmlns:a16="http://schemas.microsoft.com/office/drawing/2014/main" id="{B1D82F86-5335-67D2-D0E7-9FD2B36B6D55}"/>
              </a:ext>
            </a:extLst>
          </p:cNvPr>
          <p:cNvGrpSpPr/>
          <p:nvPr/>
        </p:nvGrpSpPr>
        <p:grpSpPr>
          <a:xfrm>
            <a:off x="2333150" y="1749032"/>
            <a:ext cx="2208302" cy="2618367"/>
            <a:chOff x="2261415" y="596145"/>
            <a:chExt cx="2208302" cy="2478935"/>
          </a:xfrm>
        </p:grpSpPr>
        <p:pic>
          <p:nvPicPr>
            <p:cNvPr id="24" name="Picture 23" descr="Capture d’écran d’un ordinateur  Description générée automatiquement">
              <a:extLst>
                <a:ext uri="{FF2B5EF4-FFF2-40B4-BE49-F238E27FC236}">
                  <a16:creationId xmlns:a16="http://schemas.microsoft.com/office/drawing/2014/main" id="{8D41969E-E424-A316-6B32-BB677F4F131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61415" y="596145"/>
              <a:ext cx="2208302" cy="1372988"/>
            </a:xfrm>
            <a:prstGeom prst="rect">
              <a:avLst/>
            </a:prstGeom>
          </p:spPr>
        </p:pic>
        <p:sp>
          <p:nvSpPr>
            <p:cNvPr id="23" name="TextBox 22">
              <a:extLst>
                <a:ext uri="{FF2B5EF4-FFF2-40B4-BE49-F238E27FC236}">
                  <a16:creationId xmlns:a16="http://schemas.microsoft.com/office/drawing/2014/main" id="{0B641BBA-28BF-16DC-655E-350FB1486334}"/>
                </a:ext>
              </a:extLst>
            </p:cNvPr>
            <p:cNvSpPr txBox="1"/>
            <p:nvPr/>
          </p:nvSpPr>
          <p:spPr>
            <a:xfrm>
              <a:off x="2274706" y="2739985"/>
              <a:ext cx="2186573" cy="335095"/>
            </a:xfrm>
            <a:prstGeom prst="rect">
              <a:avLst/>
            </a:prstGeom>
            <a:noFill/>
          </p:spPr>
          <p:txBody>
            <a:bodyPr wrap="square" lIns="91440" tIns="45720" rIns="91440" bIns="4572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gent Builder/SPO</a:t>
              </a:r>
            </a:p>
          </p:txBody>
        </p:sp>
      </p:grpSp>
      <p:grpSp>
        <p:nvGrpSpPr>
          <p:cNvPr id="25" name="Group 24">
            <a:extLst>
              <a:ext uri="{FF2B5EF4-FFF2-40B4-BE49-F238E27FC236}">
                <a16:creationId xmlns:a16="http://schemas.microsoft.com/office/drawing/2014/main" id="{A5455298-6AC4-2751-6989-41E283D65F2C}"/>
              </a:ext>
            </a:extLst>
          </p:cNvPr>
          <p:cNvGrpSpPr/>
          <p:nvPr/>
        </p:nvGrpSpPr>
        <p:grpSpPr>
          <a:xfrm>
            <a:off x="7350605" y="1892643"/>
            <a:ext cx="3415235" cy="2700040"/>
            <a:chOff x="7306963" y="747411"/>
            <a:chExt cx="3415235" cy="2700040"/>
          </a:xfrm>
        </p:grpSpPr>
        <p:sp>
          <p:nvSpPr>
            <p:cNvPr id="26" name="Rectangle: Rounded Corners 25">
              <a:extLst>
                <a:ext uri="{FF2B5EF4-FFF2-40B4-BE49-F238E27FC236}">
                  <a16:creationId xmlns:a16="http://schemas.microsoft.com/office/drawing/2014/main" id="{34349BD6-52FD-A83A-1AEB-F26A03DCE170}"/>
                </a:ext>
              </a:extLst>
            </p:cNvPr>
            <p:cNvSpPr/>
            <p:nvPr/>
          </p:nvSpPr>
          <p:spPr bwMode="auto">
            <a:xfrm>
              <a:off x="8319518" y="3224864"/>
              <a:ext cx="1397863" cy="222587"/>
            </a:xfrm>
            <a:prstGeom prst="roundRect">
              <a:avLst>
                <a:gd name="adj" fmla="val 50000"/>
              </a:avLst>
            </a:prstGeom>
            <a:solidFill>
              <a:srgbClr val="2CC6C3"/>
            </a:solidFill>
            <a:ln>
              <a:noFill/>
              <a:headEnd type="none" w="med" len="med"/>
              <a:tailEnd type="none" w="med" len="med"/>
            </a:ln>
            <a:effectLst>
              <a:outerShdw blurRad="76200" sx="102000" sy="1020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Segoe UI Semibold"/>
                  <a:ea typeface="+mn-ea"/>
                  <a:cs typeface="Segoe UI" pitchFamily="34" charset="0"/>
                </a:rPr>
                <a:t>Développeurs</a:t>
              </a:r>
            </a:p>
          </p:txBody>
        </p:sp>
        <p:grpSp>
          <p:nvGrpSpPr>
            <p:cNvPr id="27" name="Group 26">
              <a:extLst>
                <a:ext uri="{FF2B5EF4-FFF2-40B4-BE49-F238E27FC236}">
                  <a16:creationId xmlns:a16="http://schemas.microsoft.com/office/drawing/2014/main" id="{299CFEBA-6243-492F-97C5-FDC7271EAFC3}"/>
                </a:ext>
              </a:extLst>
            </p:cNvPr>
            <p:cNvGrpSpPr/>
            <p:nvPr/>
          </p:nvGrpSpPr>
          <p:grpSpPr>
            <a:xfrm>
              <a:off x="7306963" y="747411"/>
              <a:ext cx="3415235" cy="2470571"/>
              <a:chOff x="7306963" y="732171"/>
              <a:chExt cx="3415235" cy="2470571"/>
            </a:xfrm>
          </p:grpSpPr>
          <p:sp>
            <p:nvSpPr>
              <p:cNvPr id="28" name="TextBox 27">
                <a:extLst>
                  <a:ext uri="{FF2B5EF4-FFF2-40B4-BE49-F238E27FC236}">
                    <a16:creationId xmlns:a16="http://schemas.microsoft.com/office/drawing/2014/main" id="{E4EFA5F7-5D06-54E7-8AB8-0CA9B14C24A5}"/>
                  </a:ext>
                </a:extLst>
              </p:cNvPr>
              <p:cNvSpPr txBox="1"/>
              <p:nvPr/>
            </p:nvSpPr>
            <p:spPr>
              <a:xfrm>
                <a:off x="7306963" y="2848799"/>
                <a:ext cx="3415235" cy="353943"/>
              </a:xfrm>
              <a:prstGeom prst="rect">
                <a:avLst/>
              </a:prstGeom>
              <a:noFill/>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zure AI + Microsoft Foundry</a:t>
                </a:r>
              </a:p>
            </p:txBody>
          </p:sp>
          <p:pic>
            <p:nvPicPr>
              <p:cNvPr id="30" name="Picture 29">
                <a:extLst>
                  <a:ext uri="{FF2B5EF4-FFF2-40B4-BE49-F238E27FC236}">
                    <a16:creationId xmlns:a16="http://schemas.microsoft.com/office/drawing/2014/main" id="{D291505B-552D-3392-E3E2-38A19F80C7D8}"/>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8081158" y="732171"/>
                <a:ext cx="1874581" cy="1162977"/>
              </a:xfrm>
              <a:prstGeom prst="rect">
                <a:avLst/>
              </a:prstGeom>
            </p:spPr>
          </p:pic>
        </p:grpSp>
      </p:grpSp>
      <p:grpSp>
        <p:nvGrpSpPr>
          <p:cNvPr id="31" name="Group 30">
            <a:extLst>
              <a:ext uri="{FF2B5EF4-FFF2-40B4-BE49-F238E27FC236}">
                <a16:creationId xmlns:a16="http://schemas.microsoft.com/office/drawing/2014/main" id="{AD3B9A4D-2620-A48A-A52E-53AA1F82B217}"/>
              </a:ext>
            </a:extLst>
          </p:cNvPr>
          <p:cNvGrpSpPr/>
          <p:nvPr/>
        </p:nvGrpSpPr>
        <p:grpSpPr>
          <a:xfrm>
            <a:off x="5256164" y="1898328"/>
            <a:ext cx="1911203" cy="2708995"/>
            <a:chOff x="5125532" y="780830"/>
            <a:chExt cx="1911203" cy="2708995"/>
          </a:xfrm>
        </p:grpSpPr>
        <p:grpSp>
          <p:nvGrpSpPr>
            <p:cNvPr id="32" name="Group 31">
              <a:extLst>
                <a:ext uri="{FF2B5EF4-FFF2-40B4-BE49-F238E27FC236}">
                  <a16:creationId xmlns:a16="http://schemas.microsoft.com/office/drawing/2014/main" id="{07EE94E2-6116-0FBA-621A-EF430473D0C2}"/>
                </a:ext>
              </a:extLst>
            </p:cNvPr>
            <p:cNvGrpSpPr/>
            <p:nvPr/>
          </p:nvGrpSpPr>
          <p:grpSpPr>
            <a:xfrm>
              <a:off x="5125532" y="780830"/>
              <a:ext cx="1911203" cy="2479506"/>
              <a:chOff x="4845007" y="962538"/>
              <a:chExt cx="2377195" cy="2712508"/>
            </a:xfrm>
          </p:grpSpPr>
          <p:pic>
            <p:nvPicPr>
              <p:cNvPr id="35" name="Picture 34" descr="Capture d’écran montrant l’expérience produit de Copilot Studio">
                <a:extLst>
                  <a:ext uri="{FF2B5EF4-FFF2-40B4-BE49-F238E27FC236}">
                    <a16:creationId xmlns:a16="http://schemas.microsoft.com/office/drawing/2014/main" id="{0E6828BB-C0E4-39B0-E58F-8A119F3279A9}"/>
                  </a:ext>
                  <a:ext uri="{C183D7F6-B498-43B3-948B-1728B52AA6E4}">
                    <adec:decorative xmlns:adec="http://schemas.microsoft.com/office/drawing/2017/decorative" val="0"/>
                  </a:ext>
                </a:extLst>
              </p:cNvPr>
              <p:cNvPicPr>
                <a:picLocks/>
              </p:cNvPicPr>
              <p:nvPr/>
            </p:nvPicPr>
            <p:blipFill rotWithShape="1">
              <a:blip r:embed="rId8">
                <a:extLst>
                  <a:ext uri="{28A0092B-C50C-407E-A947-70E740481C1C}">
                    <a14:useLocalDpi xmlns:a14="http://schemas.microsoft.com/office/drawing/2010/main" val="0"/>
                  </a:ext>
                </a:extLst>
              </a:blip>
              <a:srcRect/>
              <a:stretch/>
            </p:blipFill>
            <p:spPr>
              <a:xfrm>
                <a:off x="4845007" y="962538"/>
                <a:ext cx="2377195" cy="1252072"/>
              </a:xfrm>
              <a:prstGeom prst="roundRect">
                <a:avLst>
                  <a:gd name="adj" fmla="val 2856"/>
                </a:avLst>
              </a:prstGeom>
              <a:noFill/>
              <a:effectLst>
                <a:outerShdw blurRad="279400" algn="ctr" rotWithShape="0">
                  <a:prstClr val="black">
                    <a:alpha val="20000"/>
                  </a:prstClr>
                </a:outerShdw>
              </a:effectLst>
            </p:spPr>
          </p:pic>
          <p:sp>
            <p:nvSpPr>
              <p:cNvPr id="34" name="TextBox 33">
                <a:extLst>
                  <a:ext uri="{FF2B5EF4-FFF2-40B4-BE49-F238E27FC236}">
                    <a16:creationId xmlns:a16="http://schemas.microsoft.com/office/drawing/2014/main" id="{053B64FC-F753-B3E9-C676-CED537D4EB15}"/>
                  </a:ext>
                </a:extLst>
              </p:cNvPr>
              <p:cNvSpPr txBox="1"/>
              <p:nvPr/>
            </p:nvSpPr>
            <p:spPr>
              <a:xfrm>
                <a:off x="4975465" y="3287842"/>
                <a:ext cx="2241070" cy="387204"/>
              </a:xfrm>
              <a:prstGeom prst="rect">
                <a:avLst/>
              </a:prstGeom>
              <a:noFill/>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Studio</a:t>
                </a:r>
              </a:p>
            </p:txBody>
          </p:sp>
        </p:grpSp>
        <p:sp>
          <p:nvSpPr>
            <p:cNvPr id="33" name="Rectangle: Rounded Corners 32">
              <a:extLst>
                <a:ext uri="{FF2B5EF4-FFF2-40B4-BE49-F238E27FC236}">
                  <a16:creationId xmlns:a16="http://schemas.microsoft.com/office/drawing/2014/main" id="{9691F5D1-F737-0090-E34C-228B4CC5CAE3}"/>
                </a:ext>
              </a:extLst>
            </p:cNvPr>
            <p:cNvSpPr/>
            <p:nvPr/>
          </p:nvSpPr>
          <p:spPr bwMode="auto">
            <a:xfrm>
              <a:off x="5379603" y="3269100"/>
              <a:ext cx="1432793" cy="220725"/>
            </a:xfrm>
            <a:prstGeom prst="roundRect">
              <a:avLst>
                <a:gd name="adj" fmla="val 50000"/>
              </a:avLst>
            </a:prstGeom>
            <a:solidFill>
              <a:srgbClr val="0078D4"/>
            </a:solidFill>
            <a:ln>
              <a:noFill/>
              <a:headEnd type="none" w="med" len="med"/>
              <a:tailEnd type="none" w="med" len="med"/>
            </a:ln>
            <a:effectLst>
              <a:outerShdw blurRad="76200" sx="102000" sy="1020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Segoe UI Semibold"/>
                  <a:ea typeface="+mn-ea"/>
                  <a:cs typeface="Segoe UI" pitchFamily="34" charset="0"/>
                </a:rPr>
                <a:t>Créateurs</a:t>
              </a:r>
            </a:p>
          </p:txBody>
        </p:sp>
      </p:grpSp>
      <p:sp>
        <p:nvSpPr>
          <p:cNvPr id="36" name="TextBox 35">
            <a:extLst>
              <a:ext uri="{FF2B5EF4-FFF2-40B4-BE49-F238E27FC236}">
                <a16:creationId xmlns:a16="http://schemas.microsoft.com/office/drawing/2014/main" id="{9DDCC6AC-EF4F-DA4A-AC60-56670A4975FA}"/>
              </a:ext>
            </a:extLst>
          </p:cNvPr>
          <p:cNvSpPr txBox="1"/>
          <p:nvPr/>
        </p:nvSpPr>
        <p:spPr>
          <a:xfrm>
            <a:off x="346034" y="4645644"/>
            <a:ext cx="1801554" cy="307777"/>
          </a:xfrm>
          <a:prstGeom prst="rect">
            <a:avLst/>
          </a:prstGeom>
          <a:noFill/>
        </p:spPr>
        <p:txBody>
          <a:bodyPr wrap="square" lIns="91440" tIns="45720" rIns="91440" bIns="45720" anchor="t">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nnaissances</a:t>
            </a:r>
          </a:p>
        </p:txBody>
      </p:sp>
      <p:cxnSp>
        <p:nvCxnSpPr>
          <p:cNvPr id="37" name="Straight Arrow Connector 36">
            <a:extLst>
              <a:ext uri="{FF2B5EF4-FFF2-40B4-BE49-F238E27FC236}">
                <a16:creationId xmlns:a16="http://schemas.microsoft.com/office/drawing/2014/main" id="{8FCA4755-64DC-FAC2-B31A-DC373BCDFF6D}"/>
              </a:ext>
            </a:extLst>
          </p:cNvPr>
          <p:cNvCxnSpPr>
            <a:cxnSpLocks/>
          </p:cNvCxnSpPr>
          <p:nvPr/>
        </p:nvCxnSpPr>
        <p:spPr>
          <a:xfrm flipH="1">
            <a:off x="2523606" y="4822616"/>
            <a:ext cx="7814931" cy="0"/>
          </a:xfrm>
          <a:prstGeom prst="straightConnector1">
            <a:avLst/>
          </a:prstGeom>
          <a:ln w="22225">
            <a:solidFill>
              <a:schemeClr val="tx1"/>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1CB57A5A-8D31-0B37-EB6B-8F443386E490}"/>
              </a:ext>
            </a:extLst>
          </p:cNvPr>
          <p:cNvSpPr txBox="1"/>
          <p:nvPr/>
        </p:nvSpPr>
        <p:spPr>
          <a:xfrm>
            <a:off x="2781519" y="4733111"/>
            <a:ext cx="1254363" cy="169277"/>
          </a:xfrm>
          <a:prstGeom prst="rect">
            <a:avLst/>
          </a:prstGeom>
          <a:solidFill>
            <a:srgbClr val="F8F8F8"/>
          </a:solidFill>
        </p:spPr>
        <p:txBody>
          <a:bodyPr wrap="none" lIns="91440" tIns="0" rIns="9144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0000"/>
                </a:solidFill>
                <a:effectLst/>
                <a:uLnTx/>
                <a:uFillTx/>
                <a:latin typeface="Segoe UI Semibold"/>
                <a:ea typeface="+mn-ea"/>
                <a:cs typeface="+mn-cs"/>
              </a:rPr>
              <a:t>Microsoft Graph</a:t>
            </a:r>
          </a:p>
        </p:txBody>
      </p:sp>
      <p:sp>
        <p:nvSpPr>
          <p:cNvPr id="39" name="TextBox 38">
            <a:extLst>
              <a:ext uri="{FF2B5EF4-FFF2-40B4-BE49-F238E27FC236}">
                <a16:creationId xmlns:a16="http://schemas.microsoft.com/office/drawing/2014/main" id="{26C72292-3242-C674-3B4D-4396EFF8CDEC}"/>
              </a:ext>
            </a:extLst>
          </p:cNvPr>
          <p:cNvSpPr txBox="1"/>
          <p:nvPr/>
        </p:nvSpPr>
        <p:spPr>
          <a:xfrm>
            <a:off x="8156120" y="4726073"/>
            <a:ext cx="1955565" cy="208670"/>
          </a:xfrm>
          <a:prstGeom prst="rect">
            <a:avLst/>
          </a:prstGeom>
          <a:solidFill>
            <a:srgbClr val="F8F8F8"/>
          </a:solidFill>
        </p:spPr>
        <p:txBody>
          <a:bodyPr wrap="square" lIns="91440" tIns="0" rIns="9144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0000"/>
                </a:solidFill>
                <a:effectLst/>
                <a:uLnTx/>
                <a:uFillTx/>
                <a:latin typeface="Segoe UI Semibold"/>
                <a:ea typeface="+mn-ea"/>
                <a:cs typeface="+mn-cs"/>
              </a:rPr>
              <a:t>Vos données d’entreprise </a:t>
            </a:r>
          </a:p>
        </p:txBody>
      </p:sp>
      <p:sp>
        <p:nvSpPr>
          <p:cNvPr id="40" name="TextBox 39">
            <a:extLst>
              <a:ext uri="{FF2B5EF4-FFF2-40B4-BE49-F238E27FC236}">
                <a16:creationId xmlns:a16="http://schemas.microsoft.com/office/drawing/2014/main" id="{6CF81FBA-DA66-9BE8-BC3E-F32597AAE4E1}"/>
              </a:ext>
            </a:extLst>
          </p:cNvPr>
          <p:cNvSpPr txBox="1"/>
          <p:nvPr/>
        </p:nvSpPr>
        <p:spPr>
          <a:xfrm>
            <a:off x="346034" y="4959084"/>
            <a:ext cx="1801554" cy="307777"/>
          </a:xfrm>
          <a:prstGeom prst="rect">
            <a:avLst/>
          </a:prstGeom>
          <a:noFill/>
        </p:spPr>
        <p:txBody>
          <a:bodyPr wrap="square" lIns="91440" tIns="45720" rIns="91440" bIns="45720" anchor="t">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ctions</a:t>
            </a:r>
          </a:p>
        </p:txBody>
      </p:sp>
      <p:cxnSp>
        <p:nvCxnSpPr>
          <p:cNvPr id="41" name="Straight Arrow Connector 40">
            <a:extLst>
              <a:ext uri="{FF2B5EF4-FFF2-40B4-BE49-F238E27FC236}">
                <a16:creationId xmlns:a16="http://schemas.microsoft.com/office/drawing/2014/main" id="{DD8A3772-D5D0-C168-3D7E-AC0945A558BF}"/>
              </a:ext>
            </a:extLst>
          </p:cNvPr>
          <p:cNvCxnSpPr>
            <a:cxnSpLocks/>
          </p:cNvCxnSpPr>
          <p:nvPr/>
        </p:nvCxnSpPr>
        <p:spPr>
          <a:xfrm flipH="1">
            <a:off x="2523606" y="5136056"/>
            <a:ext cx="7814931" cy="0"/>
          </a:xfrm>
          <a:prstGeom prst="straightConnector1">
            <a:avLst/>
          </a:prstGeom>
          <a:ln w="22225">
            <a:solidFill>
              <a:schemeClr val="tx1"/>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36816BFF-1D1E-AED1-3F4E-F4A119738524}"/>
              </a:ext>
            </a:extLst>
          </p:cNvPr>
          <p:cNvSpPr txBox="1"/>
          <p:nvPr/>
        </p:nvSpPr>
        <p:spPr>
          <a:xfrm>
            <a:off x="2803657" y="5025693"/>
            <a:ext cx="1801554" cy="239514"/>
          </a:xfrm>
          <a:prstGeom prst="rect">
            <a:avLst/>
          </a:prstGeom>
          <a:solidFill>
            <a:srgbClr val="F8F8F8"/>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0000"/>
                </a:solidFill>
                <a:effectLst/>
                <a:uLnTx/>
                <a:uFillTx/>
                <a:latin typeface="Segoe UI Semibold"/>
                <a:ea typeface="+mn-ea"/>
                <a:cs typeface="+mn-cs"/>
              </a:rPr>
              <a:t>Récupération uniquement</a:t>
            </a:r>
          </a:p>
        </p:txBody>
      </p:sp>
      <p:sp>
        <p:nvSpPr>
          <p:cNvPr id="43" name="TextBox 42">
            <a:extLst>
              <a:ext uri="{FF2B5EF4-FFF2-40B4-BE49-F238E27FC236}">
                <a16:creationId xmlns:a16="http://schemas.microsoft.com/office/drawing/2014/main" id="{1FFBEAA6-3F3A-B586-BD2F-83DB6690B3D3}"/>
              </a:ext>
            </a:extLst>
          </p:cNvPr>
          <p:cNvSpPr txBox="1"/>
          <p:nvPr/>
        </p:nvSpPr>
        <p:spPr>
          <a:xfrm>
            <a:off x="8673471" y="5039513"/>
            <a:ext cx="1438214" cy="169277"/>
          </a:xfrm>
          <a:prstGeom prst="rect">
            <a:avLst/>
          </a:prstGeom>
          <a:solidFill>
            <a:srgbClr val="F8F8F8"/>
          </a:solidFill>
        </p:spPr>
        <p:txBody>
          <a:bodyPr wrap="none" lIns="91440" tIns="0" rIns="9144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0000"/>
                </a:solidFill>
                <a:effectLst/>
                <a:uLnTx/>
                <a:uFillTx/>
                <a:latin typeface="Segoe UI Semibold"/>
                <a:ea typeface="+mn-ea"/>
                <a:cs typeface="+mn-cs"/>
              </a:rPr>
              <a:t>Tâche/Autonome</a:t>
            </a:r>
          </a:p>
        </p:txBody>
      </p:sp>
      <p:sp>
        <p:nvSpPr>
          <p:cNvPr id="44" name="TextBox 43">
            <a:extLst>
              <a:ext uri="{FF2B5EF4-FFF2-40B4-BE49-F238E27FC236}">
                <a16:creationId xmlns:a16="http://schemas.microsoft.com/office/drawing/2014/main" id="{95E84C00-5529-80F9-D7CB-162653FEC4D7}"/>
              </a:ext>
            </a:extLst>
          </p:cNvPr>
          <p:cNvSpPr txBox="1"/>
          <p:nvPr/>
        </p:nvSpPr>
        <p:spPr>
          <a:xfrm>
            <a:off x="346034" y="5272524"/>
            <a:ext cx="1801554" cy="307777"/>
          </a:xfrm>
          <a:prstGeom prst="rect">
            <a:avLst/>
          </a:prstGeom>
          <a:noFill/>
        </p:spPr>
        <p:txBody>
          <a:bodyPr wrap="square" lIns="91440" tIns="45720" rIns="91440" bIns="45720" anchor="t">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anaux</a:t>
            </a:r>
          </a:p>
        </p:txBody>
      </p:sp>
      <p:cxnSp>
        <p:nvCxnSpPr>
          <p:cNvPr id="45" name="Straight Arrow Connector 44">
            <a:extLst>
              <a:ext uri="{FF2B5EF4-FFF2-40B4-BE49-F238E27FC236}">
                <a16:creationId xmlns:a16="http://schemas.microsoft.com/office/drawing/2014/main" id="{93E840DD-4E3E-44E1-5F32-C498558EA119}"/>
              </a:ext>
            </a:extLst>
          </p:cNvPr>
          <p:cNvCxnSpPr>
            <a:cxnSpLocks/>
          </p:cNvCxnSpPr>
          <p:nvPr/>
        </p:nvCxnSpPr>
        <p:spPr>
          <a:xfrm flipH="1">
            <a:off x="2523606" y="5449496"/>
            <a:ext cx="7814931" cy="0"/>
          </a:xfrm>
          <a:prstGeom prst="straightConnector1">
            <a:avLst/>
          </a:prstGeom>
          <a:ln w="22225">
            <a:solidFill>
              <a:schemeClr val="tx1"/>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4A672E94-7954-B94B-E480-D36ACFC619CA}"/>
              </a:ext>
            </a:extLst>
          </p:cNvPr>
          <p:cNvSpPr txBox="1"/>
          <p:nvPr/>
        </p:nvSpPr>
        <p:spPr>
          <a:xfrm>
            <a:off x="2844274" y="5363833"/>
            <a:ext cx="1751495" cy="184285"/>
          </a:xfrm>
          <a:prstGeom prst="rect">
            <a:avLst/>
          </a:prstGeom>
          <a:solidFill>
            <a:srgbClr val="F8F8F8"/>
          </a:solidFill>
        </p:spPr>
        <p:txBody>
          <a:bodyPr wrap="none" lIns="91440" tIns="0" rIns="9144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0000"/>
                </a:solidFill>
                <a:effectLst/>
                <a:uLnTx/>
                <a:uFillTx/>
                <a:latin typeface="Segoe UI Semibold"/>
                <a:ea typeface="+mn-ea"/>
                <a:cs typeface="+mn-cs"/>
              </a:rPr>
              <a:t>Microsoft 365 uniquement</a:t>
            </a:r>
          </a:p>
        </p:txBody>
      </p:sp>
      <p:sp>
        <p:nvSpPr>
          <p:cNvPr id="47" name="TextBox 46">
            <a:extLst>
              <a:ext uri="{FF2B5EF4-FFF2-40B4-BE49-F238E27FC236}">
                <a16:creationId xmlns:a16="http://schemas.microsoft.com/office/drawing/2014/main" id="{8A7BF198-8F71-A6C9-B55B-7C2B1282BAB9}"/>
              </a:ext>
            </a:extLst>
          </p:cNvPr>
          <p:cNvSpPr txBox="1"/>
          <p:nvPr/>
        </p:nvSpPr>
        <p:spPr>
          <a:xfrm>
            <a:off x="7546559" y="5309482"/>
            <a:ext cx="2565126" cy="169277"/>
          </a:xfrm>
          <a:prstGeom prst="rect">
            <a:avLst/>
          </a:prstGeom>
          <a:solidFill>
            <a:srgbClr val="F8F8F8"/>
          </a:solidFill>
        </p:spPr>
        <p:txBody>
          <a:bodyPr wrap="none" lIns="91440" tIns="0" rIns="9144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0000"/>
                </a:solidFill>
                <a:effectLst/>
                <a:uLnTx/>
                <a:uFillTx/>
                <a:latin typeface="Segoe UI Semibold"/>
                <a:ea typeface="+mn-ea"/>
                <a:cs typeface="+mn-cs"/>
              </a:rPr>
              <a:t>Plusieurs canaux internes et externes</a:t>
            </a:r>
          </a:p>
        </p:txBody>
      </p:sp>
      <p:cxnSp>
        <p:nvCxnSpPr>
          <p:cNvPr id="48" name="Straight Arrow Connector 47">
            <a:extLst>
              <a:ext uri="{FF2B5EF4-FFF2-40B4-BE49-F238E27FC236}">
                <a16:creationId xmlns:a16="http://schemas.microsoft.com/office/drawing/2014/main" id="{B30B4679-E7B5-9805-4401-87103929730C}"/>
              </a:ext>
            </a:extLst>
          </p:cNvPr>
          <p:cNvCxnSpPr>
            <a:cxnSpLocks/>
          </p:cNvCxnSpPr>
          <p:nvPr/>
        </p:nvCxnSpPr>
        <p:spPr>
          <a:xfrm>
            <a:off x="2468587" y="5791826"/>
            <a:ext cx="7869950" cy="0"/>
          </a:xfrm>
          <a:prstGeom prst="straightConnector1">
            <a:avLst/>
          </a:prstGeom>
          <a:ln w="38100">
            <a:solidFill>
              <a:srgbClr val="C00000"/>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A44016C-17B6-085C-8DEA-2274ACF8AD2D}"/>
              </a:ext>
            </a:extLst>
          </p:cNvPr>
          <p:cNvSpPr txBox="1"/>
          <p:nvPr/>
        </p:nvSpPr>
        <p:spPr>
          <a:xfrm>
            <a:off x="3899647" y="5632001"/>
            <a:ext cx="4407408" cy="429768"/>
          </a:xfrm>
          <a:prstGeom prst="rect">
            <a:avLst/>
          </a:prstGeom>
          <a:solidFill>
            <a:srgbClr val="F8F8F8"/>
          </a:solidFill>
        </p:spPr>
        <p:txBody>
          <a:bodyPr wrap="none" lIns="91440" tIns="0" rIns="9144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effectLst/>
                <a:uLnTx/>
                <a:uFillTx/>
                <a:latin typeface="Segoe UI Semibold"/>
                <a:ea typeface="+mn-ea"/>
                <a:cs typeface="+mn-cs"/>
              </a:rPr>
              <a:t>Besoins croissants en gouvernance avancée </a:t>
            </a:r>
            <a:br>
              <a:rPr kumimoji="0" lang="fr-fr" sz="1400" b="0" i="0" u="none" strike="noStrike" kern="1200" cap="none" spc="0" normalizeH="0" baseline="0" noProof="0">
                <a:ln>
                  <a:noFill/>
                </a:ln>
                <a:effectLst/>
                <a:uLnTx/>
                <a:uFillTx/>
                <a:latin typeface="Segoe UI Semibold"/>
                <a:ea typeface="+mn-ea"/>
                <a:cs typeface="+mn-cs"/>
              </a:rPr>
            </a:br>
            <a:r>
              <a:rPr kumimoji="0" lang="fr-fr" sz="1400" b="0" i="0" u="none" strike="noStrike" kern="1200" cap="none" spc="0" normalizeH="0" baseline="0" noProof="0">
                <a:ln>
                  <a:noFill/>
                </a:ln>
                <a:effectLst/>
                <a:uLnTx/>
                <a:uFillTx/>
                <a:latin typeface="Segoe UI Semibold"/>
                <a:ea typeface="+mn-ea"/>
                <a:cs typeface="+mn-cs"/>
              </a:rPr>
              <a:t>et en sécurité</a:t>
            </a:r>
            <a:r>
              <a:rPr kumimoji="0" lang="fr-fr" sz="1400" b="0" i="0" u="none" strike="noStrike" kern="1200" cap="none" spc="0" normalizeH="0" baseline="0" noProof="0">
                <a:ln>
                  <a:noFill/>
                </a:ln>
                <a:solidFill>
                  <a:srgbClr val="C00000"/>
                </a:solidFill>
                <a:effectLst/>
                <a:uLnTx/>
                <a:uFillTx/>
                <a:latin typeface="Segoe UI Semibold"/>
                <a:ea typeface="+mn-ea"/>
                <a:cs typeface="+mn-cs"/>
              </a:rPr>
              <a:t> </a:t>
            </a:r>
            <a:r>
              <a:rPr kumimoji="0" lang="fr-fr" sz="1400" b="0" i="0" u="none" strike="noStrike" kern="1200" cap="none" spc="0" normalizeH="0" baseline="0" noProof="0">
                <a:ln>
                  <a:noFill/>
                </a:ln>
                <a:solidFill>
                  <a:srgbClr val="000000"/>
                </a:solidFill>
                <a:effectLst/>
                <a:uLnTx/>
                <a:uFillTx/>
                <a:latin typeface="Segoe UI Semibold"/>
                <a:ea typeface="+mn-ea"/>
                <a:cs typeface="+mn-cs"/>
              </a:rPr>
              <a:t>tout au long du cycle de vie des agents</a:t>
            </a:r>
          </a:p>
        </p:txBody>
      </p:sp>
      <p:grpSp>
        <p:nvGrpSpPr>
          <p:cNvPr id="50" name="Group 49">
            <a:extLst>
              <a:ext uri="{FF2B5EF4-FFF2-40B4-BE49-F238E27FC236}">
                <a16:creationId xmlns:a16="http://schemas.microsoft.com/office/drawing/2014/main" id="{1338663B-4306-B45D-3A8B-AC086583955F}"/>
              </a:ext>
            </a:extLst>
          </p:cNvPr>
          <p:cNvGrpSpPr/>
          <p:nvPr/>
        </p:nvGrpSpPr>
        <p:grpSpPr>
          <a:xfrm>
            <a:off x="2290153" y="6116684"/>
            <a:ext cx="7611694" cy="222587"/>
            <a:chOff x="2290152" y="6039307"/>
            <a:chExt cx="7611694" cy="222587"/>
          </a:xfrm>
        </p:grpSpPr>
        <p:sp>
          <p:nvSpPr>
            <p:cNvPr id="51" name="Rectangle: Rounded Corners 50">
              <a:extLst>
                <a:ext uri="{FF2B5EF4-FFF2-40B4-BE49-F238E27FC236}">
                  <a16:creationId xmlns:a16="http://schemas.microsoft.com/office/drawing/2014/main" id="{009EB1D6-3986-2C0F-ED92-E2F1F5F4DE1D}"/>
                </a:ext>
              </a:extLst>
            </p:cNvPr>
            <p:cNvSpPr/>
            <p:nvPr/>
          </p:nvSpPr>
          <p:spPr bwMode="auto">
            <a:xfrm>
              <a:off x="2290152" y="6039307"/>
              <a:ext cx="2194560" cy="222587"/>
            </a:xfrm>
            <a:prstGeom prst="roundRect">
              <a:avLst>
                <a:gd name="adj" fmla="val 50000"/>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spcAft>
                  <a:spcPts val="600"/>
                </a:spcAft>
              </a:pPr>
              <a:r>
                <a:rPr lang="fr-fr" sz="1000" kern="0">
                  <a:solidFill>
                    <a:srgbClr val="FFFFFF"/>
                  </a:solidFill>
                  <a:latin typeface="Segoe UI Semibold"/>
                </a:rPr>
                <a:t>1. Développement et tests</a:t>
              </a:r>
            </a:p>
          </p:txBody>
        </p:sp>
        <p:sp>
          <p:nvSpPr>
            <p:cNvPr id="52" name="Rectangle: Rounded Corners 51">
              <a:extLst>
                <a:ext uri="{FF2B5EF4-FFF2-40B4-BE49-F238E27FC236}">
                  <a16:creationId xmlns:a16="http://schemas.microsoft.com/office/drawing/2014/main" id="{CA1AFC51-7576-69FF-354F-D4E9D1288089}"/>
                </a:ext>
              </a:extLst>
            </p:cNvPr>
            <p:cNvSpPr/>
            <p:nvPr/>
          </p:nvSpPr>
          <p:spPr bwMode="auto">
            <a:xfrm>
              <a:off x="4998719" y="6039307"/>
              <a:ext cx="2194560" cy="222587"/>
            </a:xfrm>
            <a:prstGeom prst="roundRect">
              <a:avLst>
                <a:gd name="adj" fmla="val 50000"/>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spcAft>
                  <a:spcPts val="600"/>
                </a:spcAft>
              </a:pPr>
              <a:r>
                <a:rPr lang="fr-fr" sz="1000" kern="0">
                  <a:solidFill>
                    <a:srgbClr val="FFFFFF"/>
                  </a:solidFill>
                  <a:latin typeface="Segoe UI Semibold"/>
                </a:rPr>
                <a:t>2. Déploiement</a:t>
              </a:r>
            </a:p>
          </p:txBody>
        </p:sp>
        <p:sp>
          <p:nvSpPr>
            <p:cNvPr id="53" name="Rectangle: Rounded Corners 52">
              <a:extLst>
                <a:ext uri="{FF2B5EF4-FFF2-40B4-BE49-F238E27FC236}">
                  <a16:creationId xmlns:a16="http://schemas.microsoft.com/office/drawing/2014/main" id="{164253F0-6DD0-54BC-7345-A7BA988C2F8B}"/>
                </a:ext>
              </a:extLst>
            </p:cNvPr>
            <p:cNvSpPr/>
            <p:nvPr/>
          </p:nvSpPr>
          <p:spPr bwMode="auto">
            <a:xfrm>
              <a:off x="7707286" y="6039307"/>
              <a:ext cx="2194560" cy="222587"/>
            </a:xfrm>
            <a:prstGeom prst="roundRect">
              <a:avLst>
                <a:gd name="adj" fmla="val 50000"/>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spcAft>
                  <a:spcPts val="600"/>
                </a:spcAft>
              </a:pPr>
              <a:r>
                <a:rPr lang="fr-fr" sz="1000" kern="0">
                  <a:solidFill>
                    <a:srgbClr val="FFFFFF"/>
                  </a:solidFill>
                  <a:latin typeface="Segoe UI Semibold"/>
                </a:rPr>
                <a:t>3. Optimisation</a:t>
              </a:r>
            </a:p>
          </p:txBody>
        </p:sp>
        <p:cxnSp>
          <p:nvCxnSpPr>
            <p:cNvPr id="54" name="Straight Arrow Connector 53">
              <a:extLst>
                <a:ext uri="{FF2B5EF4-FFF2-40B4-BE49-F238E27FC236}">
                  <a16:creationId xmlns:a16="http://schemas.microsoft.com/office/drawing/2014/main" id="{1653F495-B94A-C89F-ADDA-4FF64D445C02}"/>
                </a:ext>
              </a:extLst>
            </p:cNvPr>
            <p:cNvCxnSpPr>
              <a:stCxn id="51" idx="3"/>
              <a:endCxn id="52" idx="1"/>
            </p:cNvCxnSpPr>
            <p:nvPr/>
          </p:nvCxnSpPr>
          <p:spPr>
            <a:xfrm>
              <a:off x="4484712" y="6150601"/>
              <a:ext cx="514007" cy="0"/>
            </a:xfrm>
            <a:prstGeom prst="straightConnector1">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cxnSp>
        <p:cxnSp>
          <p:nvCxnSpPr>
            <p:cNvPr id="55" name="Straight Arrow Connector 54">
              <a:extLst>
                <a:ext uri="{FF2B5EF4-FFF2-40B4-BE49-F238E27FC236}">
                  <a16:creationId xmlns:a16="http://schemas.microsoft.com/office/drawing/2014/main" id="{3D2B651F-5A7D-1C09-B44A-BF453E3F5D15}"/>
                </a:ext>
              </a:extLst>
            </p:cNvPr>
            <p:cNvCxnSpPr>
              <a:cxnSpLocks/>
              <a:stCxn id="52" idx="3"/>
              <a:endCxn id="53" idx="1"/>
            </p:cNvCxnSpPr>
            <p:nvPr/>
          </p:nvCxnSpPr>
          <p:spPr>
            <a:xfrm>
              <a:off x="7193279" y="6150601"/>
              <a:ext cx="514007" cy="0"/>
            </a:xfrm>
            <a:prstGeom prst="straightConnector1">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cxnSp>
      </p:grpSp>
      <p:grpSp>
        <p:nvGrpSpPr>
          <p:cNvPr id="80" name="Group 79">
            <a:extLst>
              <a:ext uri="{FF2B5EF4-FFF2-40B4-BE49-F238E27FC236}">
                <a16:creationId xmlns:a16="http://schemas.microsoft.com/office/drawing/2014/main" id="{1E7662B9-9124-7841-6282-85856E5E8DDA}"/>
              </a:ext>
            </a:extLst>
          </p:cNvPr>
          <p:cNvGrpSpPr/>
          <p:nvPr/>
        </p:nvGrpSpPr>
        <p:grpSpPr>
          <a:xfrm>
            <a:off x="3510745" y="3094590"/>
            <a:ext cx="991344" cy="991341"/>
            <a:chOff x="3031090" y="2734209"/>
            <a:chExt cx="752625" cy="752623"/>
          </a:xfrm>
        </p:grpSpPr>
        <p:sp>
          <p:nvSpPr>
            <p:cNvPr id="81" name="Oval 80">
              <a:extLst>
                <a:ext uri="{FF2B5EF4-FFF2-40B4-BE49-F238E27FC236}">
                  <a16:creationId xmlns:a16="http://schemas.microsoft.com/office/drawing/2014/main" id="{BF5675CD-ED52-07B3-D3D1-677ACA536A2B}"/>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2" name="Oval 81">
              <a:extLst>
                <a:ext uri="{FF2B5EF4-FFF2-40B4-BE49-F238E27FC236}">
                  <a16:creationId xmlns:a16="http://schemas.microsoft.com/office/drawing/2014/main" id="{1D2F4D2E-6599-648B-FB92-440BC12902B4}"/>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83" name="Picture 82" descr="Logo sur fond noir  Le contenu généré par IA peut être incorrect.">
            <a:extLst>
              <a:ext uri="{FF2B5EF4-FFF2-40B4-BE49-F238E27FC236}">
                <a16:creationId xmlns:a16="http://schemas.microsoft.com/office/drawing/2014/main" id="{97C435B8-4B6D-8960-AF36-C682E99AC67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446793" y="2995236"/>
            <a:ext cx="1167382" cy="1167382"/>
          </a:xfrm>
          <a:prstGeom prst="rect">
            <a:avLst/>
          </a:prstGeom>
        </p:spPr>
      </p:pic>
    </p:spTree>
    <p:extLst>
      <p:ext uri="{BB962C8B-B14F-4D97-AF65-F5344CB8AC3E}">
        <p14:creationId xmlns:p14="http://schemas.microsoft.com/office/powerpoint/2010/main" val="3513448420"/>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64969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SMARTNOTES-DATA-SMARTSLIDE" val="{&quot;Animations&quot;:[],&quot;HasNotesSynced&quot;:false,&quot;Id&quot;:332,&quot;Index&quot;:56,&quot;IsHidden&quot;:false,&quot;Name&quot;:&quot;Slide77&quot;,&quot;SmartNote&quot;:{&quot;NoteText&quot;:&quot;&lt;Section xmlns=\&quot;http://schemas.microsoft.com/winfx/2006/xaml/presentation\&quot; xml:space=\&quot;preserve\&quot; TextAlignment=\&quot;Justify\&quot; LineHeight=\&quot;Auto\&quot; IsHyphenationEnabled=\&quot;False\&quot; xml:lang=\&quot;en-us\&quot; FlowDirection=\&quot;LeftToRight\&quot; NumberSubstitution.CultureSource=\&quot;Text\&quot; NumberSubstitution.Substitution=\&quot;AsCulture\&quot; FontFamily=\&quot;Georgia\&quot; FontStyle=\&quot;Normal\&quot; FontWeight=\&quot;Normal\&quot; FontStretch=\&quot;Normal\&quot; FontSize=\&quot;16\&quot; Foreground=\&quot;#FF000000\&quot; Typography.StandardLigatures=\&quot;True\&quot; Typography.ContextualLigatures=\&quot;True\&quot; Typography.DiscretionaryLigatures=\&quot;False\&quot; Typography.HistoricalLigatures=\&quot;False\&quot; Typography.AnnotationAlternates=\&quot;0\&quot; Typography.ContextualAlternates=\&quot;True\&quot; Typography.HistoricalForms=\&quot;False\&quot; Typography.Kerning=\&quot;True\&quot; Typography.CapitalSpacing=\&quot;False\&quot; Typography.CaseSensitiveForms=\&quot;False\&quot; Typography.StylisticSet1=\&quot;False\&quot; Typography.StylisticSet2=\&quot;False\&quot; Typography.StylisticSet3=\&quot;False\&quot; Typography.StylisticSet4=\&quot;False\&quot; Typography.StylisticSet5=\&quot;False\&quot; Typography.StylisticSet6=\&quot;False\&quot; Typography.StylisticSet7=\&quot;False\&quot; Typography.StylisticSet8=\&quot;False\&quot; Typography.StylisticSet9=\&quot;False\&quot; Typography.StylisticSet10=\&quot;False\&quot; Typography.StylisticSet11=\&quot;False\&quot; Typography.StylisticSet12=\&quot;False\&quot; Typography.StylisticSet13=\&quot;False\&quot; Typography.StylisticSet14=\&quot;False\&quot; Typography.StylisticSet15=\&quot;False\&quot; Typography.StylisticSet16=\&quot;False\&quot; Typography.StylisticSet17=\&quot;False\&quot; Typography.StylisticSet18=\&quot;False\&quot; Typography.StylisticSet19=\&quot;False\&quot; Typography.StylisticSet20=\&quot;False\&quot; Typography.Fraction=\&quot;Normal\&quot; Typography.SlashedZero=\&quot;False\&quot; Typography.MathematicalGreek=\&quot;False\&quot; Typography.EastAsianExpertForms=\&quot;False\&quot; Typography.Variants=\&quot;Normal\&quot; Typography.Capitals=\&quot;Normal\&quot; Typography.NumeralStyle=\&quot;Normal\&quot; Typography.NumeralAlignment=\&quot;Normal\&quot; Typography.EastAsianWidths=\&quot;Normal\&quot; Typography.EastAsianLanguage=\&quot;Normal\&quot; Typography.StandardSwashes=\&quot;0\&quot; Typography.ContextualSwashes=\&quot;0\&quot; Typography.StylisticAlternates=\&quot;0\&quot;&gt;&lt;Paragraph TextAlignment=\&quot;Left\&quot;&gt;&lt;Run FontFamily=\&quot;Calibri\&quot; FontSize=\&quot;21.333333333333332\&quot; Foreground=\&quot;#FFFFFFFF\&quot;&gt;&lt;/Run&gt;&lt;/Paragraph&gt;&lt;/Section&gt;&quot;,&quot;ParentSlideId&quot;:2147483638,&quot;PagesHistory&quot;:[{&quot;Id&quot;:1,&quot;Index&quot;:0,&quot;TriggerType&quot;:2,&quot;HasChildren&quot;:false}],&quot;Pages&quot;:[{&quot;Id&quot;:1,&quot;Index&quot;:0,&quot;TriggerType&quot;:2,&quot;HasChildren&quot;:false}]}}"/>
</p:tagLst>
</file>

<file path=ppt/tags/tag10.xml><?xml version="1.0" encoding="utf-8"?>
<p:tagLst xmlns:a="http://schemas.openxmlformats.org/drawingml/2006/main" xmlns:r="http://schemas.openxmlformats.org/officeDocument/2006/relationships" xmlns:p="http://schemas.openxmlformats.org/presentationml/2006/main">
  <p:tag name="SMARTNOTES-DATA-SMARTSLIDE" val="{&quot;Animations&quot;:[],&quot;HasNotesSynced&quot;:false,&quot;Id&quot;:332,&quot;Index&quot;:56,&quot;IsHidden&quot;:false,&quot;Name&quot;:&quot;Slide77&quot;,&quot;SmartNote&quot;:{&quot;NoteText&quot;:&quot;&lt;Section xmlns=\&quot;http://schemas.microsoft.com/winfx/2006/xaml/presentation\&quot; xml:space=\&quot;preserve\&quot; TextAlignment=\&quot;Justify\&quot; LineHeight=\&quot;Auto\&quot; IsHyphenationEnabled=\&quot;False\&quot; xml:lang=\&quot;en-us\&quot; FlowDirection=\&quot;LeftToRight\&quot; NumberSubstitution.CultureSource=\&quot;Text\&quot; NumberSubstitution.Substitution=\&quot;AsCulture\&quot; FontFamily=\&quot;Georgia\&quot; FontStyle=\&quot;Normal\&quot; FontWeight=\&quot;Normal\&quot; FontStretch=\&quot;Normal\&quot; FontSize=\&quot;16\&quot; Foreground=\&quot;#FF000000\&quot; Typography.StandardLigatures=\&quot;True\&quot; Typography.ContextualLigatures=\&quot;True\&quot; Typography.DiscretionaryLigatures=\&quot;False\&quot; Typography.HistoricalLigatures=\&quot;False\&quot; Typography.AnnotationAlternates=\&quot;0\&quot; Typography.ContextualAlternates=\&quot;True\&quot; Typography.HistoricalForms=\&quot;False\&quot; Typography.Kerning=\&quot;True\&quot; Typography.CapitalSpacing=\&quot;False\&quot; Typography.CaseSensitiveForms=\&quot;False\&quot; Typography.StylisticSet1=\&quot;False\&quot; Typography.StylisticSet2=\&quot;False\&quot; Typography.StylisticSet3=\&quot;False\&quot; Typography.StylisticSet4=\&quot;False\&quot; Typography.StylisticSet5=\&quot;False\&quot; Typography.StylisticSet6=\&quot;False\&quot; Typography.StylisticSet7=\&quot;False\&quot; Typography.StylisticSet8=\&quot;False\&quot; Typography.StylisticSet9=\&quot;False\&quot; Typography.StylisticSet10=\&quot;False\&quot; Typography.StylisticSet11=\&quot;False\&quot; Typography.StylisticSet12=\&quot;False\&quot; Typography.StylisticSet13=\&quot;False\&quot; Typography.StylisticSet14=\&quot;False\&quot; Typography.StylisticSet15=\&quot;False\&quot; Typography.StylisticSet16=\&quot;False\&quot; Typography.StylisticSet17=\&quot;False\&quot; Typography.StylisticSet18=\&quot;False\&quot; Typography.StylisticSet19=\&quot;False\&quot; Typography.StylisticSet20=\&quot;False\&quot; Typography.Fraction=\&quot;Normal\&quot; Typography.SlashedZero=\&quot;False\&quot; Typography.MathematicalGreek=\&quot;False\&quot; Typography.EastAsianExpertForms=\&quot;False\&quot; Typography.Variants=\&quot;Normal\&quot; Typography.Capitals=\&quot;Normal\&quot; Typography.NumeralStyle=\&quot;Normal\&quot; Typography.NumeralAlignment=\&quot;Normal\&quot; Typography.EastAsianWidths=\&quot;Normal\&quot; Typography.EastAsianLanguage=\&quot;Normal\&quot; Typography.StandardSwashes=\&quot;0\&quot; Typography.ContextualSwashes=\&quot;0\&quot; Typography.StylisticAlternates=\&quot;0\&quot;&gt;&lt;Paragraph TextAlignment=\&quot;Left\&quot;&gt;&lt;Run FontFamily=\&quot;Calibri\&quot; FontSize=\&quot;21.333333333333332\&quot; Foreground=\&quot;#FFFFFFFF\&quot;&gt;&lt;/Run&gt;&lt;/Paragraph&gt;&lt;/Section&gt;&quot;,&quot;ParentSlideId&quot;:2147483638,&quot;PagesHistory&quot;:[{&quot;Id&quot;:1,&quot;Index&quot;:0,&quot;TriggerType&quot;:2,&quot;HasChildren&quot;:false}],&quot;Pages&quot;:[{&quot;Id&quot;:1,&quot;Index&quot;:0,&quot;TriggerType&quot;:2,&quot;HasChildren&quot;:fals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MARTNOTES-DATA-SMARTSLIDE" val="{&quot;Animations&quot;:[],&quot;HasNotesSynced&quot;:false,&quot;Id&quot;:332,&quot;Index&quot;:56,&quot;IsHidden&quot;:false,&quot;Name&quot;:&quot;Slide77&quot;,&quot;SmartNote&quot;:{&quot;NoteText&quot;:&quot;&lt;Section xmlns=\&quot;http://schemas.microsoft.com/winfx/2006/xaml/presentation\&quot; xml:space=\&quot;preserve\&quot; TextAlignment=\&quot;Justify\&quot; LineHeight=\&quot;Auto\&quot; IsHyphenationEnabled=\&quot;False\&quot; xml:lang=\&quot;en-us\&quot; FlowDirection=\&quot;LeftToRight\&quot; NumberSubstitution.CultureSource=\&quot;Text\&quot; NumberSubstitution.Substitution=\&quot;AsCulture\&quot; FontFamily=\&quot;Georgia\&quot; FontStyle=\&quot;Normal\&quot; FontWeight=\&quot;Normal\&quot; FontStretch=\&quot;Normal\&quot; FontSize=\&quot;16\&quot; Foreground=\&quot;#FF000000\&quot; Typography.StandardLigatures=\&quot;True\&quot; Typography.ContextualLigatures=\&quot;True\&quot; Typography.DiscretionaryLigatures=\&quot;False\&quot; Typography.HistoricalLigatures=\&quot;False\&quot; Typography.AnnotationAlternates=\&quot;0\&quot; Typography.ContextualAlternates=\&quot;True\&quot; Typography.HistoricalForms=\&quot;False\&quot; Typography.Kerning=\&quot;True\&quot; Typography.CapitalSpacing=\&quot;False\&quot; Typography.CaseSensitiveForms=\&quot;False\&quot; Typography.StylisticSet1=\&quot;False\&quot; Typography.StylisticSet2=\&quot;False\&quot; Typography.StylisticSet3=\&quot;False\&quot; Typography.StylisticSet4=\&quot;False\&quot; Typography.StylisticSet5=\&quot;False\&quot; Typography.StylisticSet6=\&quot;False\&quot; Typography.StylisticSet7=\&quot;False\&quot; Typography.StylisticSet8=\&quot;False\&quot; Typography.StylisticSet9=\&quot;False\&quot; Typography.StylisticSet10=\&quot;False\&quot; Typography.StylisticSet11=\&quot;False\&quot; Typography.StylisticSet12=\&quot;False\&quot; Typography.StylisticSet13=\&quot;False\&quot; Typography.StylisticSet14=\&quot;False\&quot; Typography.StylisticSet15=\&quot;False\&quot; Typography.StylisticSet16=\&quot;False\&quot; Typography.StylisticSet17=\&quot;False\&quot; Typography.StylisticSet18=\&quot;False\&quot; Typography.StylisticSet19=\&quot;False\&quot; Typography.StylisticSet20=\&quot;False\&quot; Typography.Fraction=\&quot;Normal\&quot; Typography.SlashedZero=\&quot;False\&quot; Typography.MathematicalGreek=\&quot;False\&quot; Typography.EastAsianExpertForms=\&quot;False\&quot; Typography.Variants=\&quot;Normal\&quot; Typography.Capitals=\&quot;Normal\&quot; Typography.NumeralStyle=\&quot;Normal\&quot; Typography.NumeralAlignment=\&quot;Normal\&quot; Typography.EastAsianWidths=\&quot;Normal\&quot; Typography.EastAsianLanguage=\&quot;Normal\&quot; Typography.StandardSwashes=\&quot;0\&quot; Typography.ContextualSwashes=\&quot;0\&quot; Typography.StylisticAlternates=\&quot;0\&quot;&gt;&lt;Paragraph TextAlignment=\&quot;Left\&quot;&gt;&lt;Run FontFamily=\&quot;Calibri\&quot; FontSize=\&quot;21.333333333333332\&quot; Foreground=\&quot;#FFFFFFFF\&quot;&gt;&lt;/Run&gt;&lt;/Paragraph&gt;&lt;/Section&gt;&quot;,&quot;ParentSlideId&quot;:2147483638,&quot;PagesHistory&quot;:[{&quot;Id&quot;:1,&quot;Index&quot;:0,&quot;TriggerType&quot;:2,&quot;HasChildren&quot;:false}],&quot;Pages&quot;:[{&quot;Id&quot;:1,&quot;Index&quot;:0,&quot;TriggerType&quot;:2,&quot;HasChildren&quot;:fals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MARTNOTES-DATA-SMARTSLIDE" val="{&quot;Animations&quot;:[],&quot;HasNotesSynced&quot;:false,&quot;Id&quot;:332,&quot;Index&quot;:56,&quot;IsHidden&quot;:false,&quot;Name&quot;:&quot;Slide77&quot;,&quot;SmartNote&quot;:{&quot;NoteText&quot;:&quot;&lt;Section xmlns=\&quot;http://schemas.microsoft.com/winfx/2006/xaml/presentation\&quot; xml:space=\&quot;preserve\&quot; TextAlignment=\&quot;Justify\&quot; LineHeight=\&quot;Auto\&quot; IsHyphenationEnabled=\&quot;False\&quot; xml:lang=\&quot;en-us\&quot; FlowDirection=\&quot;LeftToRight\&quot; NumberSubstitution.CultureSource=\&quot;Text\&quot; NumberSubstitution.Substitution=\&quot;AsCulture\&quot; FontFamily=\&quot;Georgia\&quot; FontStyle=\&quot;Normal\&quot; FontWeight=\&quot;Normal\&quot; FontStretch=\&quot;Normal\&quot; FontSize=\&quot;16\&quot; Foreground=\&quot;#FF000000\&quot; Typography.StandardLigatures=\&quot;True\&quot; Typography.ContextualLigatures=\&quot;True\&quot; Typography.DiscretionaryLigatures=\&quot;False\&quot; Typography.HistoricalLigatures=\&quot;False\&quot; Typography.AnnotationAlternates=\&quot;0\&quot; Typography.ContextualAlternates=\&quot;True\&quot; Typography.HistoricalForms=\&quot;False\&quot; Typography.Kerning=\&quot;True\&quot; Typography.CapitalSpacing=\&quot;False\&quot; Typography.CaseSensitiveForms=\&quot;False\&quot; Typography.StylisticSet1=\&quot;False\&quot; Typography.StylisticSet2=\&quot;False\&quot; Typography.StylisticSet3=\&quot;False\&quot; Typography.StylisticSet4=\&quot;False\&quot; Typography.StylisticSet5=\&quot;False\&quot; Typography.StylisticSet6=\&quot;False\&quot; Typography.StylisticSet7=\&quot;False\&quot; Typography.StylisticSet8=\&quot;False\&quot; Typography.StylisticSet9=\&quot;False\&quot; Typography.StylisticSet10=\&quot;False\&quot; Typography.StylisticSet11=\&quot;False\&quot; Typography.StylisticSet12=\&quot;False\&quot; Typography.StylisticSet13=\&quot;False\&quot; Typography.StylisticSet14=\&quot;False\&quot; Typography.StylisticSet15=\&quot;False\&quot; Typography.StylisticSet16=\&quot;False\&quot; Typography.StylisticSet17=\&quot;False\&quot; Typography.StylisticSet18=\&quot;False\&quot; Typography.StylisticSet19=\&quot;False\&quot; Typography.StylisticSet20=\&quot;False\&quot; Typography.Fraction=\&quot;Normal\&quot; Typography.SlashedZero=\&quot;False\&quot; Typography.MathematicalGreek=\&quot;False\&quot; Typography.EastAsianExpertForms=\&quot;False\&quot; Typography.Variants=\&quot;Normal\&quot; Typography.Capitals=\&quot;Normal\&quot; Typography.NumeralStyle=\&quot;Normal\&quot; Typography.NumeralAlignment=\&quot;Normal\&quot; Typography.EastAsianWidths=\&quot;Normal\&quot; Typography.EastAsianLanguage=\&quot;Normal\&quot; Typography.StandardSwashes=\&quot;0\&quot; Typography.ContextualSwashes=\&quot;0\&quot; Typography.StylisticAlternates=\&quot;0\&quot;&gt;&lt;Paragraph TextAlignment=\&quot;Left\&quot;&gt;&lt;Run FontFamily=\&quot;Calibri\&quot; FontSize=\&quot;21.333333333333332\&quot; Foreground=\&quot;#FFFFFFFF\&quot;&gt;&lt;/Run&gt;&lt;/Paragraph&gt;&lt;/Section&gt;&quot;,&quot;ParentSlideId&quot;:2147483638,&quot;PagesHistory&quot;:[{&quot;Id&quot;:1,&quot;Index&quot;:0,&quot;TriggerType&quot;:2,&quot;HasChildren&quot;:false}],&quot;Pages&quot;:[{&quot;Id&quot;:1,&quot;Index&quot;:0,&quot;TriggerType&quot;:2,&quot;HasChildren&quot;:false}]}}"/>
</p:tagLst>
</file>

<file path=ppt/tags/tag2.xml><?xml version="1.0" encoding="utf-8"?>
<p:tagLst xmlns:a="http://schemas.openxmlformats.org/drawingml/2006/main" xmlns:r="http://schemas.openxmlformats.org/officeDocument/2006/relationships" xmlns:p="http://schemas.openxmlformats.org/presentationml/2006/main">
  <p:tag name="SMARTNOTES-DATA-SMARTSLIDE" val="{&quot;Animations&quot;:[],&quot;HasNotesSynced&quot;:false,&quot;Id&quot;:332,&quot;Index&quot;:56,&quot;IsHidden&quot;:false,&quot;Name&quot;:&quot;Slide77&quot;,&quot;SmartNote&quot;:{&quot;NoteText&quot;:&quot;&lt;Section xmlns=\&quot;http://schemas.microsoft.com/winfx/2006/xaml/presentation\&quot; xml:space=\&quot;preserve\&quot; TextAlignment=\&quot;Justify\&quot; LineHeight=\&quot;Auto\&quot; IsHyphenationEnabled=\&quot;False\&quot; xml:lang=\&quot;en-us\&quot; FlowDirection=\&quot;LeftToRight\&quot; NumberSubstitution.CultureSource=\&quot;Text\&quot; NumberSubstitution.Substitution=\&quot;AsCulture\&quot; FontFamily=\&quot;Georgia\&quot; FontStyle=\&quot;Normal\&quot; FontWeight=\&quot;Normal\&quot; FontStretch=\&quot;Normal\&quot; FontSize=\&quot;16\&quot; Foreground=\&quot;#FF000000\&quot; Typography.StandardLigatures=\&quot;True\&quot; Typography.ContextualLigatures=\&quot;True\&quot; Typography.DiscretionaryLigatures=\&quot;False\&quot; Typography.HistoricalLigatures=\&quot;False\&quot; Typography.AnnotationAlternates=\&quot;0\&quot; Typography.ContextualAlternates=\&quot;True\&quot; Typography.HistoricalForms=\&quot;False\&quot; Typography.Kerning=\&quot;True\&quot; Typography.CapitalSpacing=\&quot;False\&quot; Typography.CaseSensitiveForms=\&quot;False\&quot; Typography.StylisticSet1=\&quot;False\&quot; Typography.StylisticSet2=\&quot;False\&quot; Typography.StylisticSet3=\&quot;False\&quot; Typography.StylisticSet4=\&quot;False\&quot; Typography.StylisticSet5=\&quot;False\&quot; Typography.StylisticSet6=\&quot;False\&quot; Typography.StylisticSet7=\&quot;False\&quot; Typography.StylisticSet8=\&quot;False\&quot; Typography.StylisticSet9=\&quot;False\&quot; Typography.StylisticSet10=\&quot;False\&quot; Typography.StylisticSet11=\&quot;False\&quot; Typography.StylisticSet12=\&quot;False\&quot; Typography.StylisticSet13=\&quot;False\&quot; Typography.StylisticSet14=\&quot;False\&quot; Typography.StylisticSet15=\&quot;False\&quot; Typography.StylisticSet16=\&quot;False\&quot; Typography.StylisticSet17=\&quot;False\&quot; Typography.StylisticSet18=\&quot;False\&quot; Typography.StylisticSet19=\&quot;False\&quot; Typography.StylisticSet20=\&quot;False\&quot; Typography.Fraction=\&quot;Normal\&quot; Typography.SlashedZero=\&quot;False\&quot; Typography.MathematicalGreek=\&quot;False\&quot; Typography.EastAsianExpertForms=\&quot;False\&quot; Typography.Variants=\&quot;Normal\&quot; Typography.Capitals=\&quot;Normal\&quot; Typography.NumeralStyle=\&quot;Normal\&quot; Typography.NumeralAlignment=\&quot;Normal\&quot; Typography.EastAsianWidths=\&quot;Normal\&quot; Typography.EastAsianLanguage=\&quot;Normal\&quot; Typography.StandardSwashes=\&quot;0\&quot; Typography.ContextualSwashes=\&quot;0\&quot; Typography.StylisticAlternates=\&quot;0\&quot;&gt;&lt;Paragraph TextAlignment=\&quot;Left\&quot;&gt;&lt;Run FontFamily=\&quot;Calibri\&quot; FontSize=\&quot;21.333333333333332\&quot; Foreground=\&quot;#FFFFFFFF\&quot;&gt;&lt;/Run&gt;&lt;/Paragraph&gt;&lt;/Section&gt;&quot;,&quot;ParentSlideId&quot;:2147483638,&quot;PagesHistory&quot;:[{&quot;Id&quot;:1,&quot;Index&quot;:0,&quot;TriggerType&quot;:2,&quot;HasChildren&quot;:false}],&quot;Pages&quot;:[{&quot;Id&quot;:1,&quot;Index&quot;:0,&quot;TriggerType&quot;:2,&quot;HasChildren&quot;:fals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MARTNOTES-DATA-SMARTSLIDE" val="{&quot;Animations&quot;:[],&quot;HasNotesSynced&quot;:false,&quot;Id&quot;:332,&quot;Index&quot;:56,&quot;IsHidden&quot;:false,&quot;Name&quot;:&quot;Slide77&quot;,&quot;SmartNote&quot;:{&quot;NoteText&quot;:&quot;&lt;Section xmlns=\&quot;http://schemas.microsoft.com/winfx/2006/xaml/presentation\&quot; xml:space=\&quot;preserve\&quot; TextAlignment=\&quot;Justify\&quot; LineHeight=\&quot;Auto\&quot; IsHyphenationEnabled=\&quot;False\&quot; xml:lang=\&quot;en-us\&quot; FlowDirection=\&quot;LeftToRight\&quot; NumberSubstitution.CultureSource=\&quot;Text\&quot; NumberSubstitution.Substitution=\&quot;AsCulture\&quot; FontFamily=\&quot;Georgia\&quot; FontStyle=\&quot;Normal\&quot; FontWeight=\&quot;Normal\&quot; FontStretch=\&quot;Normal\&quot; FontSize=\&quot;16\&quot; Foreground=\&quot;#FF000000\&quot; Typography.StandardLigatures=\&quot;True\&quot; Typography.ContextualLigatures=\&quot;True\&quot; Typography.DiscretionaryLigatures=\&quot;False\&quot; Typography.HistoricalLigatures=\&quot;False\&quot; Typography.AnnotationAlternates=\&quot;0\&quot; Typography.ContextualAlternates=\&quot;True\&quot; Typography.HistoricalForms=\&quot;False\&quot; Typography.Kerning=\&quot;True\&quot; Typography.CapitalSpacing=\&quot;False\&quot; Typography.CaseSensitiveForms=\&quot;False\&quot; Typography.StylisticSet1=\&quot;False\&quot; Typography.StylisticSet2=\&quot;False\&quot; Typography.StylisticSet3=\&quot;False\&quot; Typography.StylisticSet4=\&quot;False\&quot; Typography.StylisticSet5=\&quot;False\&quot; Typography.StylisticSet6=\&quot;False\&quot; Typography.StylisticSet7=\&quot;False\&quot; Typography.StylisticSet8=\&quot;False\&quot; Typography.StylisticSet9=\&quot;False\&quot; Typography.StylisticSet10=\&quot;False\&quot; Typography.StylisticSet11=\&quot;False\&quot; Typography.StylisticSet12=\&quot;False\&quot; Typography.StylisticSet13=\&quot;False\&quot; Typography.StylisticSet14=\&quot;False\&quot; Typography.StylisticSet15=\&quot;False\&quot; Typography.StylisticSet16=\&quot;False\&quot; Typography.StylisticSet17=\&quot;False\&quot; Typography.StylisticSet18=\&quot;False\&quot; Typography.StylisticSet19=\&quot;False\&quot; Typography.StylisticSet20=\&quot;False\&quot; Typography.Fraction=\&quot;Normal\&quot; Typography.SlashedZero=\&quot;False\&quot; Typography.MathematicalGreek=\&quot;False\&quot; Typography.EastAsianExpertForms=\&quot;False\&quot; Typography.Variants=\&quot;Normal\&quot; Typography.Capitals=\&quot;Normal\&quot; Typography.NumeralStyle=\&quot;Normal\&quot; Typography.NumeralAlignment=\&quot;Normal\&quot; Typography.EastAsianWidths=\&quot;Normal\&quot; Typography.EastAsianLanguage=\&quot;Normal\&quot; Typography.StandardSwashes=\&quot;0\&quot; Typography.ContextualSwashes=\&quot;0\&quot; Typography.StylisticAlternates=\&quot;0\&quot;&gt;&lt;Paragraph TextAlignment=\&quot;Left\&quot;&gt;&lt;Run FontFamily=\&quot;Calibri\&quot; FontSize=\&quot;21.333333333333332\&quot; Foreground=\&quot;#FFFFFFFF\&quot;&gt;&lt;/Run&gt;&lt;/Paragraph&gt;&lt;/Section&gt;&quot;,&quot;ParentSlideId&quot;:2147483638,&quot;PagesHistory&quot;:[{&quot;Id&quot;:1,&quot;Index&quot;:0,&quot;TriggerType&quot;:2,&quot;HasChildren&quot;:false}],&quot;Pages&quot;:[{&quot;Id&quot;:1,&quot;Index&quot;:0,&quot;TriggerType&quot;:2,&quot;HasChildren&quot;:fals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MARTNOTES-DATA-SMARTSLIDE" val="{&quot;Animations&quot;:[],&quot;HasNotesSynced&quot;:false,&quot;Id&quot;:332,&quot;Index&quot;:56,&quot;IsHidden&quot;:false,&quot;Name&quot;:&quot;Slide77&quot;,&quot;SmartNote&quot;:{&quot;NoteText&quot;:&quot;&lt;Section xmlns=\&quot;http://schemas.microsoft.com/winfx/2006/xaml/presentation\&quot; xml:space=\&quot;preserve\&quot; TextAlignment=\&quot;Justify\&quot; LineHeight=\&quot;Auto\&quot; IsHyphenationEnabled=\&quot;False\&quot; xml:lang=\&quot;en-us\&quot; FlowDirection=\&quot;LeftToRight\&quot; NumberSubstitution.CultureSource=\&quot;Text\&quot; NumberSubstitution.Substitution=\&quot;AsCulture\&quot; FontFamily=\&quot;Georgia\&quot; FontStyle=\&quot;Normal\&quot; FontWeight=\&quot;Normal\&quot; FontStretch=\&quot;Normal\&quot; FontSize=\&quot;16\&quot; Foreground=\&quot;#FF000000\&quot; Typography.StandardLigatures=\&quot;True\&quot; Typography.ContextualLigatures=\&quot;True\&quot; Typography.DiscretionaryLigatures=\&quot;False\&quot; Typography.HistoricalLigatures=\&quot;False\&quot; Typography.AnnotationAlternates=\&quot;0\&quot; Typography.ContextualAlternates=\&quot;True\&quot; Typography.HistoricalForms=\&quot;False\&quot; Typography.Kerning=\&quot;True\&quot; Typography.CapitalSpacing=\&quot;False\&quot; Typography.CaseSensitiveForms=\&quot;False\&quot; Typography.StylisticSet1=\&quot;False\&quot; Typography.StylisticSet2=\&quot;False\&quot; Typography.StylisticSet3=\&quot;False\&quot; Typography.StylisticSet4=\&quot;False\&quot; Typography.StylisticSet5=\&quot;False\&quot; Typography.StylisticSet6=\&quot;False\&quot; Typography.StylisticSet7=\&quot;False\&quot; Typography.StylisticSet8=\&quot;False\&quot; Typography.StylisticSet9=\&quot;False\&quot; Typography.StylisticSet10=\&quot;False\&quot; Typography.StylisticSet11=\&quot;False\&quot; Typography.StylisticSet12=\&quot;False\&quot; Typography.StylisticSet13=\&quot;False\&quot; Typography.StylisticSet14=\&quot;False\&quot; Typography.StylisticSet15=\&quot;False\&quot; Typography.StylisticSet16=\&quot;False\&quot; Typography.StylisticSet17=\&quot;False\&quot; Typography.StylisticSet18=\&quot;False\&quot; Typography.StylisticSet19=\&quot;False\&quot; Typography.StylisticSet20=\&quot;False\&quot; Typography.Fraction=\&quot;Normal\&quot; Typography.SlashedZero=\&quot;False\&quot; Typography.MathematicalGreek=\&quot;False\&quot; Typography.EastAsianExpertForms=\&quot;False\&quot; Typography.Variants=\&quot;Normal\&quot; Typography.Capitals=\&quot;Normal\&quot; Typography.NumeralStyle=\&quot;Normal\&quot; Typography.NumeralAlignment=\&quot;Normal\&quot; Typography.EastAsianWidths=\&quot;Normal\&quot; Typography.EastAsianLanguage=\&quot;Normal\&quot; Typography.StandardSwashes=\&quot;0\&quot; Typography.ContextualSwashes=\&quot;0\&quot; Typography.StylisticAlternates=\&quot;0\&quot;&gt;&lt;Paragraph TextAlignment=\&quot;Left\&quot;&gt;&lt;Run FontFamily=\&quot;Calibri\&quot; FontSize=\&quot;21.333333333333332\&quot; Foreground=\&quot;#FFFFFFFF\&quot;&gt;&lt;/Run&gt;&lt;/Paragraph&gt;&lt;/Section&gt;&quot;,&quot;ParentSlideId&quot;:2147483638,&quot;PagesHistory&quot;:[{&quot;Id&quot;:1,&quot;Index&quot;:0,&quot;TriggerType&quot;:2,&quot;HasChildren&quot;:false}],&quot;Pages&quot;:[{&quot;Id&quot;:1,&quot;Index&quot;:0,&quot;TriggerType&quot;:2,&quot;HasChildren&quot;:fals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MARTNOTES-DATA-SMARTSLIDE" val="{&quot;Animations&quot;:[],&quot;HasNotesSynced&quot;:false,&quot;Id&quot;:332,&quot;Index&quot;:56,&quot;IsHidden&quot;:false,&quot;Name&quot;:&quot;Slide77&quot;,&quot;SmartNote&quot;:{&quot;NoteText&quot;:&quot;&lt;Section xmlns=\&quot;http://schemas.microsoft.com/winfx/2006/xaml/presentation\&quot; xml:space=\&quot;preserve\&quot; TextAlignment=\&quot;Justify\&quot; LineHeight=\&quot;Auto\&quot; IsHyphenationEnabled=\&quot;False\&quot; xml:lang=\&quot;en-us\&quot; FlowDirection=\&quot;LeftToRight\&quot; NumberSubstitution.CultureSource=\&quot;Text\&quot; NumberSubstitution.Substitution=\&quot;AsCulture\&quot; FontFamily=\&quot;Georgia\&quot; FontStyle=\&quot;Normal\&quot; FontWeight=\&quot;Normal\&quot; FontStretch=\&quot;Normal\&quot; FontSize=\&quot;16\&quot; Foreground=\&quot;#FF000000\&quot; Typography.StandardLigatures=\&quot;True\&quot; Typography.ContextualLigatures=\&quot;True\&quot; Typography.DiscretionaryLigatures=\&quot;False\&quot; Typography.HistoricalLigatures=\&quot;False\&quot; Typography.AnnotationAlternates=\&quot;0\&quot; Typography.ContextualAlternates=\&quot;True\&quot; Typography.HistoricalForms=\&quot;False\&quot; Typography.Kerning=\&quot;True\&quot; Typography.CapitalSpacing=\&quot;False\&quot; Typography.CaseSensitiveForms=\&quot;False\&quot; Typography.StylisticSet1=\&quot;False\&quot; Typography.StylisticSet2=\&quot;False\&quot; Typography.StylisticSet3=\&quot;False\&quot; Typography.StylisticSet4=\&quot;False\&quot; Typography.StylisticSet5=\&quot;False\&quot; Typography.StylisticSet6=\&quot;False\&quot; Typography.StylisticSet7=\&quot;False\&quot; Typography.StylisticSet8=\&quot;False\&quot; Typography.StylisticSet9=\&quot;False\&quot; Typography.StylisticSet10=\&quot;False\&quot; Typography.StylisticSet11=\&quot;False\&quot; Typography.StylisticSet12=\&quot;False\&quot; Typography.StylisticSet13=\&quot;False\&quot; Typography.StylisticSet14=\&quot;False\&quot; Typography.StylisticSet15=\&quot;False\&quot; Typography.StylisticSet16=\&quot;False\&quot; Typography.StylisticSet17=\&quot;False\&quot; Typography.StylisticSet18=\&quot;False\&quot; Typography.StylisticSet19=\&quot;False\&quot; Typography.StylisticSet20=\&quot;False\&quot; Typography.Fraction=\&quot;Normal\&quot; Typography.SlashedZero=\&quot;False\&quot; Typography.MathematicalGreek=\&quot;False\&quot; Typography.EastAsianExpertForms=\&quot;False\&quot; Typography.Variants=\&quot;Normal\&quot; Typography.Capitals=\&quot;Normal\&quot; Typography.NumeralStyle=\&quot;Normal\&quot; Typography.NumeralAlignment=\&quot;Normal\&quot; Typography.EastAsianWidths=\&quot;Normal\&quot; Typography.EastAsianLanguage=\&quot;Normal\&quot; Typography.StandardSwashes=\&quot;0\&quot; Typography.ContextualSwashes=\&quot;0\&quot; Typography.StylisticAlternates=\&quot;0\&quot;&gt;&lt;Paragraph TextAlignment=\&quot;Left\&quot;&gt;&lt;Run FontFamily=\&quot;Calibri\&quot; FontSize=\&quot;21.333333333333332\&quot; Foreground=\&quot;#FFFFFFFF\&quot;&gt;&lt;/Run&gt;&lt;/Paragraph&gt;&lt;/Section&gt;&quot;,&quot;ParentSlideId&quot;:2147483638,&quot;PagesHistory&quot;:[{&quot;Id&quot;:1,&quot;Index&quot;:0,&quot;TriggerType&quot;:2,&quot;HasChildren&quot;:false}],&quot;Pages&quot;:[{&quot;Id&quot;:1,&quot;Index&quot;:0,&quot;TriggerType&quot;:2,&quot;HasChildren&quot;:fals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er Hub Template">
  <a:themeElements>
    <a:clrScheme name="Customer Hub">
      <a:dk1>
        <a:srgbClr val="091F2C"/>
      </a:dk1>
      <a:lt1>
        <a:sysClr val="window" lastClr="FFFFFF"/>
      </a:lt1>
      <a:dk2>
        <a:srgbClr val="091F2C"/>
      </a:dk2>
      <a:lt2>
        <a:srgbClr val="EFF8FF"/>
      </a:lt2>
      <a:accent1>
        <a:srgbClr val="8DC8E8"/>
      </a:accent1>
      <a:accent2>
        <a:srgbClr val="0078D4"/>
      </a:accent2>
      <a:accent3>
        <a:srgbClr val="D59ED7"/>
      </a:accent3>
      <a:accent4>
        <a:srgbClr val="C03BC4"/>
      </a:accent4>
      <a:accent5>
        <a:srgbClr val="FFA38B"/>
      </a:accent5>
      <a:accent6>
        <a:srgbClr val="702573"/>
      </a:accent6>
      <a:hlink>
        <a:srgbClr val="006ECC"/>
      </a:hlink>
      <a:folHlink>
        <a:srgbClr val="3399F0"/>
      </a:folHlink>
    </a:clrScheme>
    <a:fontScheme name="Customer Hub">
      <a:majorFont>
        <a:latin typeface="Segoe Sans Display"/>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2.xml><?xml version="1.0" encoding="utf-8"?>
<a:theme xmlns:a="http://schemas.openxmlformats.org/drawingml/2006/main" name="MS Tech Connect 16:9 Template Light">
  <a:themeElements>
    <a:clrScheme name="Custom 1">
      <a:dk1>
        <a:srgbClr val="000000"/>
      </a:dk1>
      <a:lt1>
        <a:srgbClr val="FFFFFF"/>
      </a:lt1>
      <a:dk2>
        <a:srgbClr val="2A446F"/>
      </a:dk2>
      <a:lt2>
        <a:srgbClr val="E8E6DF"/>
      </a:lt2>
      <a:accent1>
        <a:srgbClr val="0078D4"/>
      </a:accent1>
      <a:accent2>
        <a:srgbClr val="49C5B1"/>
      </a:accent2>
      <a:accent3>
        <a:srgbClr val="8661C5"/>
      </a:accent3>
      <a:accent4>
        <a:srgbClr val="8C8279"/>
      </a:accent4>
      <a:accent5>
        <a:srgbClr val="8DE971"/>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RK 475 - Empowering and managing agentic innovation with Agent 365_Backup" id="{1A9315A3-2A77-48E4-A093-CD066DB3D2A1}" vid="{383AC6E2-527E-4744-8682-5D477EA62E0C}"/>
    </a:ext>
  </a:extLst>
</a:theme>
</file>

<file path=ppt/theme/theme3.xml><?xml version="1.0" encoding="utf-8"?>
<a:theme xmlns:a="http://schemas.openxmlformats.org/drawingml/2006/main" name="Microsoft 365 Copilot Template">
  <a:themeElements>
    <a:clrScheme name="Custom 1">
      <a:dk1>
        <a:srgbClr val="1B44B1"/>
      </a:dk1>
      <a:lt1>
        <a:srgbClr val="FFFFFF"/>
      </a:lt1>
      <a:dk2>
        <a:srgbClr val="002060"/>
      </a:dk2>
      <a:lt2>
        <a:srgbClr val="BABAFF"/>
      </a:lt2>
      <a:accent1>
        <a:srgbClr val="2764E7"/>
      </a:accent1>
      <a:accent2>
        <a:srgbClr val="4894FE"/>
      </a:accent2>
      <a:accent3>
        <a:srgbClr val="58AAFE"/>
      </a:accent3>
      <a:accent4>
        <a:srgbClr val="BABAFF"/>
      </a:accent4>
      <a:accent5>
        <a:srgbClr val="FECBE6"/>
      </a:accent5>
      <a:accent6>
        <a:srgbClr val="EEAD4F"/>
      </a:accent6>
      <a:hlink>
        <a:srgbClr val="C7899E"/>
      </a:hlink>
      <a:folHlink>
        <a:srgbClr val="5B5DCA"/>
      </a:folHlink>
    </a:clrScheme>
    <a:fontScheme name="Custom 1">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RK 475 - Empowering and managing agentic innovation with Agent 365_Backup" id="{1A9315A3-2A77-48E4-A093-CD066DB3D2A1}" vid="{BD6139A9-5BC7-4EB4-95F7-5707FFB1372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D2BB8FCA7FEB347BAC36A8D039FB81C" ma:contentTypeVersion="14" ma:contentTypeDescription="Create a new document." ma:contentTypeScope="" ma:versionID="f2a0b8957ab5fa9de4fbd953ee5e964c">
  <xsd:schema xmlns:xsd="http://www.w3.org/2001/XMLSchema" xmlns:xs="http://www.w3.org/2001/XMLSchema" xmlns:p="http://schemas.microsoft.com/office/2006/metadata/properties" xmlns:ns1="http://schemas.microsoft.com/sharepoint/v3" xmlns:ns2="6adfd4c8-54de-4fa2-b73e-b86369895801" targetNamespace="http://schemas.microsoft.com/office/2006/metadata/properties" ma:root="true" ma:fieldsID="6ffd9ea1e3518e6e0782accd3cd1fd75" ns1:_="" ns2:_="">
    <xsd:import namespace="http://schemas.microsoft.com/sharepoint/v3"/>
    <xsd:import namespace="6adfd4c8-54de-4fa2-b73e-b8636989580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element ref="ns2:MediaServiceOCR" minOccurs="0"/>
                <xsd:element ref="ns2:lcf76f155ced4ddcb4097134ff3c332f"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adfd4c8-54de-4fa2-b73e-b863698958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BillingMetadata" ma:index="21" nillable="true" ma:displayName="MediaServiceBillingMetadata" ma:hidden="true" ma:internalName="MediaServiceBillingMetadata"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adfd4c8-54de-4fa2-b73e-b86369895801">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7EFD5FF-C387-4B9D-BAC4-4B6A4615DEC0}">
  <ds:schemaRefs>
    <ds:schemaRef ds:uri="6adfd4c8-54de-4fa2-b73e-b8636989580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990F116-B58F-4255-B05B-DA3808E0E5C6}">
  <ds:schemaRefs>
    <ds:schemaRef ds:uri="http://schemas.openxmlformats.org/package/2006/metadata/core-properties"/>
    <ds:schemaRef ds:uri="6adfd4c8-54de-4fa2-b73e-b86369895801"/>
    <ds:schemaRef ds:uri="http://www.w3.org/XML/1998/namespace"/>
    <ds:schemaRef ds:uri="http://purl.org/dc/dcmitype/"/>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purl.org/dc/elements/1.1/"/>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12717</Words>
  <Application>Microsoft Office PowerPoint</Application>
  <PresentationFormat>Widescreen</PresentationFormat>
  <Paragraphs>998</Paragraphs>
  <Slides>90</Slides>
  <Notes>90</Notes>
  <HiddenSlides>0</HiddenSlides>
  <MMClips>1</MMClips>
  <ScaleCrop>false</ScaleCrop>
  <HeadingPairs>
    <vt:vector size="4" baseType="variant">
      <vt:variant>
        <vt:lpstr>Theme</vt:lpstr>
      </vt:variant>
      <vt:variant>
        <vt:i4>3</vt:i4>
      </vt:variant>
      <vt:variant>
        <vt:lpstr>Slide Titles</vt:lpstr>
      </vt:variant>
      <vt:variant>
        <vt:i4>90</vt:i4>
      </vt:variant>
    </vt:vector>
  </HeadingPairs>
  <TitlesOfParts>
    <vt:vector size="93" baseType="lpstr">
      <vt:lpstr>Customer Hub Template</vt:lpstr>
      <vt:lpstr>MS Tech Connect 16:9 Template Light</vt:lpstr>
      <vt:lpstr>Microsoft 365 Copilot Template</vt:lpstr>
      <vt:lpstr>Bonjour et bienvenue sur le Hub client</vt:lpstr>
      <vt:lpstr>Gouvernance  des agents</vt:lpstr>
      <vt:lpstr>PowerPoint Presentation</vt:lpstr>
      <vt:lpstr>PowerPoint Presentation</vt:lpstr>
      <vt:lpstr>Programme</vt:lpstr>
      <vt:lpstr>Gamme d’agents</vt:lpstr>
      <vt:lpstr>Gamme d’agents</vt:lpstr>
      <vt:lpstr>Types d’agents</vt:lpstr>
      <vt:lpstr>Les agents avancés nécessitent une gouvernance  et une sécurité plus avancées </vt:lpstr>
      <vt:lpstr>Licences Copilot Studio</vt:lpstr>
      <vt:lpstr>Tarifs de facturation (crédits Copilot)</vt:lpstr>
      <vt:lpstr>Tarifs de facturation (crédits Copilot)</vt:lpstr>
      <vt:lpstr>Outil de calcul des coû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ous vos agents peuvent être activés pour Agent 365</vt:lpstr>
      <vt:lpstr>Agent 365 n’est pas…</vt:lpstr>
      <vt:lpstr>Agent 365 est…</vt:lpstr>
      <vt:lpstr>PowerPoint Presentation</vt:lpstr>
      <vt:lpstr>Permettre à vos équipes de sécurité de gérer les risques liés aux agents</vt:lpstr>
      <vt:lpstr>PowerPoint Presentation</vt:lpstr>
      <vt:lpstr>Permettre à vos équipes de sécurité de gérer les risques liés aux agents</vt:lpstr>
      <vt:lpstr>Protégez les services d’IA agentique, du développement à l’exécution, grâce à Defender</vt:lpstr>
      <vt:lpstr>Permettre à vos équipes de sécurité de gérer les risques liés aux agents</vt:lpstr>
      <vt:lpstr>Microsoft Entra pour Agent 365</vt:lpstr>
      <vt:lpstr>Système de contrôle Copilot</vt:lpstr>
      <vt:lpstr>Contrôles de gestion</vt:lpstr>
      <vt:lpstr>Registre des agents</vt:lpstr>
      <vt:lpstr>Approbation des administrateurs pour les agents</vt:lpstr>
      <vt:lpstr>Registre des agents - Métadonnées des agents</vt:lpstr>
      <vt:lpstr>Registre des agents - Contrôles administrateur</vt:lpstr>
      <vt:lpstr>Gérer qui peut utiliser les agents dans Copilot Chat</vt:lpstr>
      <vt:lpstr>Contrôler les types d’agents autorisés</vt:lpstr>
      <vt:lpstr>Contrôler le partage des agents dans Agent Builder</vt:lpstr>
      <vt:lpstr>Agent Recherche - Configuration de l’utilisation  de l’ordinateur</vt:lpstr>
      <vt:lpstr>Agents connectés</vt:lpstr>
      <vt:lpstr>Outils</vt:lpstr>
      <vt:lpstr>Gérer l’épinglage des agents</vt:lpstr>
      <vt:lpstr>Politiques de facturation à l’utilisation</vt:lpstr>
      <vt:lpstr>Utiliser la capacité de crédits Copilot dans les politiques de facturation</vt:lpstr>
      <vt:lpstr>Limites budgétaires des forfaits de facturation dans le MAC</vt:lpstr>
      <vt:lpstr>Politiques de facturation à l’utilisation (PPAC)</vt:lpstr>
      <vt:lpstr>Environnements Power Platform</vt:lpstr>
      <vt:lpstr>Bloquer et limiter le partage des agents Copilot Studio</vt:lpstr>
      <vt:lpstr>Créateurs Copilot Studio</vt:lpstr>
      <vt:lpstr>Publier des bots avec des fonctionnalités d’IA</vt:lpstr>
      <vt:lpstr>Contrôler la fonctionnalité des requêtes IA</vt:lpstr>
      <vt:lpstr>Paramètres des agents Copilot Studio</vt:lpstr>
      <vt:lpstr>Contrôles des modèles de langage</vt:lpstr>
      <vt:lpstr>Contrôles Copilot Studio</vt:lpstr>
      <vt:lpstr>Définir des limites de capacité au niveau des agents </vt:lpstr>
      <vt:lpstr>Agents en quarantaine</vt:lpstr>
      <vt:lpstr>Gestion avancée de SharePoint (SAM)</vt:lpstr>
      <vt:lpstr>Contrôler la recherche Web de Copilot (ancrage Web)</vt:lpstr>
      <vt:lpstr>Sécurité et gouvernance</vt:lpstr>
      <vt:lpstr>Stratégies de protection contre la perte de données</vt:lpstr>
      <vt:lpstr>Protection contre la perte de données - Contrôles des connecteurs des agents</vt:lpstr>
      <vt:lpstr>Protection contre la perte de données - Blocage  de la publication des agents</vt:lpstr>
      <vt:lpstr>Protection contre la perte de données – Blocage des sources de connaissances SharePoint </vt:lpstr>
      <vt:lpstr>Protection contre la perte de données – Points  de terminaison des connecteurs (préversion)</vt:lpstr>
      <vt:lpstr>Étiquettes de sensibilité </vt:lpstr>
      <vt:lpstr>Protection contre la perte de données</vt:lpstr>
      <vt:lpstr>Modèles d’agents</vt:lpstr>
      <vt:lpstr>Création de rapports  et surveillance</vt:lpstr>
      <vt:lpstr>Utilisation des agents (préversion)</vt:lpstr>
      <vt:lpstr>Consommation de crédits (préversion)</vt:lpstr>
      <vt:lpstr>Consultation de la capacité et de la consommation des crédits (PPAC)</vt:lpstr>
      <vt:lpstr>Rapports des crédits Copilot téléchargeables</vt:lpstr>
      <vt:lpstr>Inventaire des agents Copilot Studio dans le PPAC (préversion) </vt:lpstr>
      <vt:lpstr>Informations sur les agents SharePoint </vt:lpstr>
      <vt:lpstr>Agents Copilot Studio dans Viva Insights (préversion) </vt:lpstr>
      <vt:lpstr>Gestion de la posture de sécurité des données (préversion)</vt:lpstr>
      <vt:lpstr>DSPM – Applications et agents</vt:lpstr>
      <vt:lpstr>DSPM – Observabilité de l’IA (Agent 365)</vt:lpstr>
      <vt:lpstr>DSPM – Explorateur d’activités</vt:lpstr>
      <vt:lpstr>Événements d’audit des activités Copilot Studio </vt:lpstr>
      <vt:lpstr>Kit Copilot Studio</vt:lpstr>
      <vt:lpstr>Étapes suivantes et appel  à l’action</vt:lpstr>
      <vt:lpstr>Gouvernance des agents et contrôle des coûts</vt:lpstr>
      <vt:lpstr>PowerPoint Presentation</vt:lpstr>
      <vt:lpstr>PowerPoint Presentation</vt:lpstr>
      <vt:lpstr>Rejoignez les prochaines sessions de notre Hub client Copilot</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Jignesh.Thakkar@microsoft.com</dc:creator>
  <cp:keywords/>
  <dc:description/>
  <cp:lastModifiedBy>Victoria Blasich (FREEMIND SEATTLE LLC)</cp:lastModifiedBy>
  <cp:revision>2</cp:revision>
  <cp:lastPrinted>2023-02-15T20:48:24Z</cp:lastPrinted>
  <dcterms:created xsi:type="dcterms:W3CDTF">2025-03-03T10:30:40Z</dcterms:created>
  <dcterms:modified xsi:type="dcterms:W3CDTF">2026-06-29T16:38:1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2BB8FCA7FEB347BAC36A8D039FB81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Date">
    <vt:lpwstr>2017-08-29T14:27:20.8568347-07:00</vt:lpwstr>
  </property>
  <property fmtid="{D5CDD505-2E9C-101B-9397-08002B2CF9AE}" pid="15" name="MSIP_Label_f42aa342-8706-4288-bd11-ebb85995028c_Name">
    <vt:lpwstr>General</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y fmtid="{D5CDD505-2E9C-101B-9397-08002B2CF9AE}" pid="18" name="j7ed6b1749d644c580569ee38d7710d7">
    <vt:lpwstr/>
  </property>
  <property fmtid="{D5CDD505-2E9C-101B-9397-08002B2CF9AE}" pid="19" name="e93e2550f0ac4199ae3cf1406d72085e">
    <vt:lpwstr/>
  </property>
  <property fmtid="{D5CDD505-2E9C-101B-9397-08002B2CF9AE}" pid="20" name="o92d4232daec467abb08246282070aa9">
    <vt:lpwstr/>
  </property>
  <property fmtid="{D5CDD505-2E9C-101B-9397-08002B2CF9AE}" pid="21" name="bc8cca776fa8455c8c00307ee3c527ad">
    <vt:lpwstr/>
  </property>
  <property fmtid="{D5CDD505-2E9C-101B-9397-08002B2CF9AE}" pid="22" name="_dlc_DocIdItemGuid">
    <vt:lpwstr>4230617f-e31b-4f22-8a5a-7761a22ded76</vt:lpwstr>
  </property>
  <property fmtid="{D5CDD505-2E9C-101B-9397-08002B2CF9AE}" pid="23" name="o1dbacbd0e564fc293d11b6c4775302e">
    <vt:lpwstr/>
  </property>
  <property fmtid="{D5CDD505-2E9C-101B-9397-08002B2CF9AE}" pid="24" name="MediaServiceImageTags">
    <vt:lpwstr/>
  </property>
  <property fmtid="{D5CDD505-2E9C-101B-9397-08002B2CF9AE}" pid="25" name="epPlatforms">
    <vt:lpwstr/>
  </property>
  <property fmtid="{D5CDD505-2E9C-101B-9397-08002B2CF9AE}" pid="26" name="ClassificationContentMarkingFooterLocations">
    <vt:lpwstr>Customer Hub Template:4\MS Tech Connect 16\:9 Template Light:6\Microsoft 365 Copilot Template:6</vt:lpwstr>
  </property>
  <property fmtid="{D5CDD505-2E9C-101B-9397-08002B2CF9AE}" pid="27" name="ClassificationContentMarkingFooterText">
    <vt:lpwstr>Classified as Microsoft Confidential</vt:lpwstr>
  </property>
</Properties>
</file>